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Ex1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960" r:id="rId5"/>
    <p:sldMasterId id="2147483971" r:id="rId6"/>
  </p:sldMasterIdLst>
  <p:notesMasterIdLst>
    <p:notesMasterId r:id="rId49"/>
  </p:notesMasterIdLst>
  <p:handoutMasterIdLst>
    <p:handoutMasterId r:id="rId50"/>
  </p:handoutMasterIdLst>
  <p:sldIdLst>
    <p:sldId id="2147470329" r:id="rId7"/>
    <p:sldId id="2147470334" r:id="rId8"/>
    <p:sldId id="2147470339" r:id="rId9"/>
    <p:sldId id="2147470259" r:id="rId10"/>
    <p:sldId id="2147470336" r:id="rId11"/>
    <p:sldId id="2147470341" r:id="rId12"/>
    <p:sldId id="2147470255" r:id="rId13"/>
    <p:sldId id="2147470249" r:id="rId14"/>
    <p:sldId id="2147470247" r:id="rId15"/>
    <p:sldId id="2147470280" r:id="rId16"/>
    <p:sldId id="265" r:id="rId17"/>
    <p:sldId id="2147470282" r:id="rId18"/>
    <p:sldId id="2147470250" r:id="rId19"/>
    <p:sldId id="2147470256" r:id="rId20"/>
    <p:sldId id="2147470257" r:id="rId21"/>
    <p:sldId id="2147470276" r:id="rId22"/>
    <p:sldId id="2147470254" r:id="rId23"/>
    <p:sldId id="2147470273" r:id="rId24"/>
    <p:sldId id="574" r:id="rId25"/>
    <p:sldId id="2147470283" r:id="rId26"/>
    <p:sldId id="575" r:id="rId27"/>
    <p:sldId id="2147470274" r:id="rId28"/>
    <p:sldId id="2147470262" r:id="rId29"/>
    <p:sldId id="2147470295" r:id="rId30"/>
    <p:sldId id="2147470277" r:id="rId31"/>
    <p:sldId id="580" r:id="rId32"/>
    <p:sldId id="2147470241" r:id="rId33"/>
    <p:sldId id="584" r:id="rId34"/>
    <p:sldId id="2147470278" r:id="rId35"/>
    <p:sldId id="2147470234" r:id="rId36"/>
    <p:sldId id="2147470238" r:id="rId37"/>
    <p:sldId id="2147470279" r:id="rId38"/>
    <p:sldId id="577" r:id="rId39"/>
    <p:sldId id="2147470289" r:id="rId40"/>
    <p:sldId id="2147470290" r:id="rId41"/>
    <p:sldId id="2147470344" r:id="rId42"/>
    <p:sldId id="2147470296" r:id="rId43"/>
    <p:sldId id="2147470297" r:id="rId44"/>
    <p:sldId id="2147470300" r:id="rId45"/>
    <p:sldId id="2147470301" r:id="rId46"/>
    <p:sldId id="2147470302" r:id="rId47"/>
    <p:sldId id="2147470285" r:id="rId48"/>
  </p:sldIdLst>
  <p:sldSz cx="12192000" cy="6858000"/>
  <p:notesSz cx="6858000" cy="9144000"/>
  <p:defaultTextStyle>
    <a:defPPr>
      <a:defRPr lang="en-US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6" userDrawn="1">
          <p15:clr>
            <a:srgbClr val="A4A3A4"/>
          </p15:clr>
        </p15:guide>
        <p15:guide id="3" orient="horz" pos="2592" userDrawn="1">
          <p15:clr>
            <a:srgbClr val="A4A3A4"/>
          </p15:clr>
        </p15:guide>
        <p15:guide id="4" pos="5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C3590E-4FA4-4182-9761-D4A97D26EB75}" name="Randone, Ariana" initials="RA" userId="S::am185339@ncr.com::68094328-902f-48db-8087-c7222c2f2f79" providerId="AD"/>
  <p188:author id="{0400EA1C-058D-1083-22D5-59F46096A766}" name="Izgi Yapici (Interbrand)" initials="IY" userId="S::izgi.yapici@interbrand.com::735bf0fa-b22e-4f1d-97cb-3b60a3e76f74" providerId="AD"/>
  <p188:author id="{88A47023-F472-9300-E504-7A137B2CEDB0}" name="Chris Armstrong (Interbrand)" initials="" userId="S::chris.armstrong@interbrand.com::ec8f57e5-8b92-416c-bcf2-9095a2825b4f" providerId="AD"/>
  <p188:author id="{FC14D9A4-2AF4-E06B-1DFF-221684EDE73A}" name="Aponte, Andre" initials="AA" userId="S::aa185579@ncratleos.com::84a7ddae-a7ab-4892-80b2-9678698190f6" providerId="AD"/>
  <p188:author id="{9BBE60C1-37FA-593D-FB86-9872A0F26EBD}" name="Cabrera Medrano, Diana Elia" initials="CE" userId="S::dc185384@ncratleos.com::d0ea1c54-cd1c-426e-b638-6e7ac3ba15a5" providerId="AD"/>
  <p188:author id="{D6987DF5-F6D1-88D7-1F56-48BA9382FCF0}" name="Storey, Lloyd A" initials="SLA" userId="S::ls185182@ncr.com::6155a723-4d85-43b1-9839-18939e4b7af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89F90"/>
    <a:srgbClr val="79AB9E"/>
    <a:srgbClr val="00362E"/>
    <a:srgbClr val="13322B"/>
    <a:srgbClr val="212121"/>
    <a:srgbClr val="9AB9AD"/>
    <a:srgbClr val="507F70"/>
    <a:srgbClr val="285C4D"/>
    <a:srgbClr val="9E9E9E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355" autoAdjust="0"/>
    <p:restoredTop sz="94360" autoAdjust="0"/>
  </p:normalViewPr>
  <p:slideViewPr>
    <p:cSldViewPr snapToGrid="0">
      <p:cViewPr varScale="1">
        <p:scale>
          <a:sx n="60" d="100"/>
          <a:sy n="60" d="100"/>
        </p:scale>
        <p:origin x="780" y="48"/>
      </p:cViewPr>
      <p:guideLst>
        <p:guide orient="horz" pos="2160"/>
        <p:guide pos="3816"/>
        <p:guide orient="horz" pos="2592"/>
        <p:guide pos="5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handoutMaster" Target="handoutMasters/handoutMaster1.xml"/><Relationship Id="rId55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microsoft.com/office/2018/10/relationships/authors" Target="authors.xml"/><Relationship Id="rId8" Type="http://schemas.openxmlformats.org/officeDocument/2006/relationships/slide" Target="slides/slide2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orey, Lloyd A" userId="5eca50ca-699c-4dd0-a1f2-d8504b767808" providerId="ADAL" clId="{8FAD3328-3F2A-457D-A104-5BF71265881A}"/>
    <pc:docChg chg="custSel modSld modMainMaster">
      <pc:chgData name="Storey, Lloyd A" userId="5eca50ca-699c-4dd0-a1f2-d8504b767808" providerId="ADAL" clId="{8FAD3328-3F2A-457D-A104-5BF71265881A}" dt="2025-05-14T18:29:43.417" v="19" actId="1076"/>
      <pc:docMkLst>
        <pc:docMk/>
      </pc:docMkLst>
      <pc:sldChg chg="delSp modSp mod modClrScheme chgLayout">
        <pc:chgData name="Storey, Lloyd A" userId="5eca50ca-699c-4dd0-a1f2-d8504b767808" providerId="ADAL" clId="{8FAD3328-3F2A-457D-A104-5BF71265881A}" dt="2025-05-14T18:29:43.417" v="19" actId="1076"/>
        <pc:sldMkLst>
          <pc:docMk/>
          <pc:sldMk cId="1449302430" sldId="2147470255"/>
        </pc:sldMkLst>
        <pc:spChg chg="mod ord">
          <ac:chgData name="Storey, Lloyd A" userId="5eca50ca-699c-4dd0-a1f2-d8504b767808" providerId="ADAL" clId="{8FAD3328-3F2A-457D-A104-5BF71265881A}" dt="2025-05-14T18:26:16.035" v="4" actId="700"/>
          <ac:spMkLst>
            <pc:docMk/>
            <pc:sldMk cId="1449302430" sldId="2147470255"/>
            <ac:spMk id="3" creationId="{511DC43E-2CAC-B9D0-0524-AB805090B3A6}"/>
          </ac:spMkLst>
        </pc:spChg>
        <pc:spChg chg="mod ord">
          <ac:chgData name="Storey, Lloyd A" userId="5eca50ca-699c-4dd0-a1f2-d8504b767808" providerId="ADAL" clId="{8FAD3328-3F2A-457D-A104-5BF71265881A}" dt="2025-05-14T18:26:16.035" v="4" actId="700"/>
          <ac:spMkLst>
            <pc:docMk/>
            <pc:sldMk cId="1449302430" sldId="2147470255"/>
            <ac:spMk id="4" creationId="{B47FD9F8-F85C-ACA0-E306-9ACBF6FDF0CF}"/>
          </ac:spMkLst>
        </pc:spChg>
        <pc:spChg chg="mod">
          <ac:chgData name="Storey, Lloyd A" userId="5eca50ca-699c-4dd0-a1f2-d8504b767808" providerId="ADAL" clId="{8FAD3328-3F2A-457D-A104-5BF71265881A}" dt="2025-05-14T18:29:35.017" v="17" actId="1076"/>
          <ac:spMkLst>
            <pc:docMk/>
            <pc:sldMk cId="1449302430" sldId="2147470255"/>
            <ac:spMk id="185" creationId="{697922D4-4CAD-5A4C-1EA2-62C99188D63F}"/>
          </ac:spMkLst>
        </pc:spChg>
        <pc:spChg chg="mod">
          <ac:chgData name="Storey, Lloyd A" userId="5eca50ca-699c-4dd0-a1f2-d8504b767808" providerId="ADAL" clId="{8FAD3328-3F2A-457D-A104-5BF71265881A}" dt="2025-05-14T18:29:43.417" v="19" actId="1076"/>
          <ac:spMkLst>
            <pc:docMk/>
            <pc:sldMk cId="1449302430" sldId="2147470255"/>
            <ac:spMk id="366" creationId="{442EAE5E-7575-2ACF-9BD9-B78447A21E81}"/>
          </ac:spMkLst>
        </pc:spChg>
        <pc:spChg chg="mod modVis">
          <ac:chgData name="Storey, Lloyd A" userId="5eca50ca-699c-4dd0-a1f2-d8504b767808" providerId="ADAL" clId="{8FAD3328-3F2A-457D-A104-5BF71265881A}" dt="2025-05-14T18:28:43.341" v="7"/>
          <ac:spMkLst>
            <pc:docMk/>
            <pc:sldMk cId="1449302430" sldId="2147470255"/>
            <ac:spMk id="372" creationId="{55E81181-AE6A-4D04-5E63-374C41CD3506}"/>
          </ac:spMkLst>
        </pc:spChg>
      </pc:sldChg>
      <pc:sldMasterChg chg="addSldLayout modSldLayout">
        <pc:chgData name="Storey, Lloyd A" userId="5eca50ca-699c-4dd0-a1f2-d8504b767808" providerId="ADAL" clId="{8FAD3328-3F2A-457D-A104-5BF71265881A}" dt="2025-05-14T18:26:07.480" v="3"/>
        <pc:sldMasterMkLst>
          <pc:docMk/>
          <pc:sldMasterMk cId="3872828084" sldId="2147483648"/>
        </pc:sldMasterMkLst>
        <pc:sldLayoutChg chg="addSp delSp modSp add mod modTransition">
          <pc:chgData name="Storey, Lloyd A" userId="5eca50ca-699c-4dd0-a1f2-d8504b767808" providerId="ADAL" clId="{8FAD3328-3F2A-457D-A104-5BF71265881A}" dt="2025-05-14T18:26:07.480" v="3"/>
          <pc:sldLayoutMkLst>
            <pc:docMk/>
            <pc:sldMasterMk cId="3872828084" sldId="2147483648"/>
            <pc:sldLayoutMk cId="2794974708" sldId="2147484002"/>
          </pc:sldLayoutMkLst>
        </pc:sldLayoutChg>
      </pc:sldMasterChg>
    </pc:docChg>
  </pc:docChgLst>
  <pc:docChgLst>
    <pc:chgData name="Storey, Lloyd A" userId="5eca50ca-699c-4dd0-a1f2-d8504b767808" providerId="ADAL" clId="{8838F0A4-80FB-475D-9C30-89AEC3007B0C}"/>
    <pc:docChg chg="undo custSel addSld modSld modMainMaster">
      <pc:chgData name="Storey, Lloyd A" userId="5eca50ca-699c-4dd0-a1f2-d8504b767808" providerId="ADAL" clId="{8838F0A4-80FB-475D-9C30-89AEC3007B0C}" dt="2025-05-30T16:43:09.421" v="96" actId="700"/>
      <pc:docMkLst>
        <pc:docMk/>
      </pc:docMkLst>
      <pc:sldChg chg="modSp mod">
        <pc:chgData name="Storey, Lloyd A" userId="5eca50ca-699c-4dd0-a1f2-d8504b767808" providerId="ADAL" clId="{8838F0A4-80FB-475D-9C30-89AEC3007B0C}" dt="2025-05-30T16:39:50.449" v="80" actId="207"/>
        <pc:sldMkLst>
          <pc:docMk/>
          <pc:sldMk cId="1449302430" sldId="2147470255"/>
        </pc:sldMkLst>
        <pc:spChg chg="mod">
          <ac:chgData name="Storey, Lloyd A" userId="5eca50ca-699c-4dd0-a1f2-d8504b767808" providerId="ADAL" clId="{8838F0A4-80FB-475D-9C30-89AEC3007B0C}" dt="2025-05-30T16:39:50.449" v="80" actId="207"/>
          <ac:spMkLst>
            <pc:docMk/>
            <pc:sldMk cId="1449302430" sldId="2147470255"/>
            <ac:spMk id="372" creationId="{55E81181-AE6A-4D04-5E63-374C41CD3506}"/>
          </ac:spMkLst>
        </pc:spChg>
      </pc:sldChg>
      <pc:sldChg chg="addSp delSp modSp mod chgLayout">
        <pc:chgData name="Storey, Lloyd A" userId="5eca50ca-699c-4dd0-a1f2-d8504b767808" providerId="ADAL" clId="{8838F0A4-80FB-475D-9C30-89AEC3007B0C}" dt="2025-05-30T16:42:20.945" v="94" actId="403"/>
        <pc:sldMkLst>
          <pc:docMk/>
          <pc:sldMk cId="3536746187" sldId="2147470288"/>
        </pc:sldMkLst>
        <pc:spChg chg="add del mod">
          <ac:chgData name="Storey, Lloyd A" userId="5eca50ca-699c-4dd0-a1f2-d8504b767808" providerId="ADAL" clId="{8838F0A4-80FB-475D-9C30-89AEC3007B0C}" dt="2025-05-30T16:42:13.681" v="88" actId="6264"/>
          <ac:spMkLst>
            <pc:docMk/>
            <pc:sldMk cId="3536746187" sldId="2147470288"/>
            <ac:spMk id="2" creationId="{99C4A84D-0496-E3BC-2D09-9AFC24DD97B3}"/>
          </ac:spMkLst>
        </pc:spChg>
        <pc:spChg chg="mod ord">
          <ac:chgData name="Storey, Lloyd A" userId="5eca50ca-699c-4dd0-a1f2-d8504b767808" providerId="ADAL" clId="{8838F0A4-80FB-475D-9C30-89AEC3007B0C}" dt="2025-05-30T16:42:13.681" v="88" actId="6264"/>
          <ac:spMkLst>
            <pc:docMk/>
            <pc:sldMk cId="3536746187" sldId="2147470288"/>
            <ac:spMk id="3" creationId="{970A3ABF-604C-4B11-82A9-0F8F046D7E41}"/>
          </ac:spMkLst>
        </pc:spChg>
        <pc:spChg chg="mod ord">
          <ac:chgData name="Storey, Lloyd A" userId="5eca50ca-699c-4dd0-a1f2-d8504b767808" providerId="ADAL" clId="{8838F0A4-80FB-475D-9C30-89AEC3007B0C}" dt="2025-05-30T16:42:13.681" v="88" actId="6264"/>
          <ac:spMkLst>
            <pc:docMk/>
            <pc:sldMk cId="3536746187" sldId="2147470288"/>
            <ac:spMk id="4" creationId="{A3E637CC-F5EE-4E6F-A5D0-6A7F4AE1567A}"/>
          </ac:spMkLst>
        </pc:spChg>
        <pc:spChg chg="add del mod">
          <ac:chgData name="Storey, Lloyd A" userId="5eca50ca-699c-4dd0-a1f2-d8504b767808" providerId="ADAL" clId="{8838F0A4-80FB-475D-9C30-89AEC3007B0C}" dt="2025-05-30T16:42:13.681" v="88" actId="6264"/>
          <ac:spMkLst>
            <pc:docMk/>
            <pc:sldMk cId="3536746187" sldId="2147470288"/>
            <ac:spMk id="5" creationId="{C3131F20-FECA-8B6C-66D6-A518F2C91405}"/>
          </ac:spMkLst>
        </pc:spChg>
        <pc:spChg chg="add del mod">
          <ac:chgData name="Storey, Lloyd A" userId="5eca50ca-699c-4dd0-a1f2-d8504b767808" providerId="ADAL" clId="{8838F0A4-80FB-475D-9C30-89AEC3007B0C}" dt="2025-05-30T16:42:13.681" v="88" actId="6264"/>
          <ac:spMkLst>
            <pc:docMk/>
            <pc:sldMk cId="3536746187" sldId="2147470288"/>
            <ac:spMk id="6" creationId="{4A417B7B-143C-CE85-8D96-7EF0344A4062}"/>
          </ac:spMkLst>
        </pc:spChg>
        <pc:spChg chg="mod ord">
          <ac:chgData name="Storey, Lloyd A" userId="5eca50ca-699c-4dd0-a1f2-d8504b767808" providerId="ADAL" clId="{8838F0A4-80FB-475D-9C30-89AEC3007B0C}" dt="2025-05-30T16:42:20.945" v="94" actId="403"/>
          <ac:spMkLst>
            <pc:docMk/>
            <pc:sldMk cId="3536746187" sldId="2147470288"/>
            <ac:spMk id="8" creationId="{7C39EE2B-F56C-4AB4-A748-05ADB807BDCE}"/>
          </ac:spMkLst>
        </pc:spChg>
      </pc:sldChg>
      <pc:sldChg chg="modSp mod chgLayout">
        <pc:chgData name="Storey, Lloyd A" userId="5eca50ca-699c-4dd0-a1f2-d8504b767808" providerId="ADAL" clId="{8838F0A4-80FB-475D-9C30-89AEC3007B0C}" dt="2025-05-30T16:43:05.063" v="95" actId="700"/>
        <pc:sldMkLst>
          <pc:docMk/>
          <pc:sldMk cId="3007453200" sldId="2147470341"/>
        </pc:sldMkLst>
        <pc:spChg chg="mod ord">
          <ac:chgData name="Storey, Lloyd A" userId="5eca50ca-699c-4dd0-a1f2-d8504b767808" providerId="ADAL" clId="{8838F0A4-80FB-475D-9C30-89AEC3007B0C}" dt="2025-05-30T16:43:05.063" v="95" actId="700"/>
          <ac:spMkLst>
            <pc:docMk/>
            <pc:sldMk cId="3007453200" sldId="2147470341"/>
            <ac:spMk id="2" creationId="{7AE9D382-4106-171C-BDD3-10B9AFA35449}"/>
          </ac:spMkLst>
        </pc:spChg>
        <pc:spChg chg="mod ord">
          <ac:chgData name="Storey, Lloyd A" userId="5eca50ca-699c-4dd0-a1f2-d8504b767808" providerId="ADAL" clId="{8838F0A4-80FB-475D-9C30-89AEC3007B0C}" dt="2025-05-30T16:43:05.063" v="95" actId="700"/>
          <ac:spMkLst>
            <pc:docMk/>
            <pc:sldMk cId="3007453200" sldId="2147470341"/>
            <ac:spMk id="8" creationId="{50D5C0E2-06BC-D447-D868-D47847AB5140}"/>
          </ac:spMkLst>
        </pc:spChg>
        <pc:spChg chg="mod ord">
          <ac:chgData name="Storey, Lloyd A" userId="5eca50ca-699c-4dd0-a1f2-d8504b767808" providerId="ADAL" clId="{8838F0A4-80FB-475D-9C30-89AEC3007B0C}" dt="2025-05-30T16:43:05.063" v="95" actId="700"/>
          <ac:spMkLst>
            <pc:docMk/>
            <pc:sldMk cId="3007453200" sldId="2147470341"/>
            <ac:spMk id="9" creationId="{BDF18833-3428-3D49-ECF9-7AD5CF3D32F4}"/>
          </ac:spMkLst>
        </pc:spChg>
      </pc:sldChg>
      <pc:sldChg chg="modSp mod chgLayout">
        <pc:chgData name="Storey, Lloyd A" userId="5eca50ca-699c-4dd0-a1f2-d8504b767808" providerId="ADAL" clId="{8838F0A4-80FB-475D-9C30-89AEC3007B0C}" dt="2025-05-30T16:43:09.421" v="96" actId="700"/>
        <pc:sldMkLst>
          <pc:docMk/>
          <pc:sldMk cId="321773409" sldId="2147470342"/>
        </pc:sldMkLst>
        <pc:spChg chg="mod ord">
          <ac:chgData name="Storey, Lloyd A" userId="5eca50ca-699c-4dd0-a1f2-d8504b767808" providerId="ADAL" clId="{8838F0A4-80FB-475D-9C30-89AEC3007B0C}" dt="2025-05-30T16:43:09.421" v="96" actId="700"/>
          <ac:spMkLst>
            <pc:docMk/>
            <pc:sldMk cId="321773409" sldId="2147470342"/>
            <ac:spMk id="2" creationId="{2F62D5A0-232B-E92E-8476-354AF1B58308}"/>
          </ac:spMkLst>
        </pc:spChg>
        <pc:spChg chg="mod ord">
          <ac:chgData name="Storey, Lloyd A" userId="5eca50ca-699c-4dd0-a1f2-d8504b767808" providerId="ADAL" clId="{8838F0A4-80FB-475D-9C30-89AEC3007B0C}" dt="2025-05-30T16:43:09.421" v="96" actId="700"/>
          <ac:spMkLst>
            <pc:docMk/>
            <pc:sldMk cId="321773409" sldId="2147470342"/>
            <ac:spMk id="8" creationId="{D08853E6-4C71-6051-60AD-BF75DA3C3C09}"/>
          </ac:spMkLst>
        </pc:spChg>
        <pc:spChg chg="mod ord">
          <ac:chgData name="Storey, Lloyd A" userId="5eca50ca-699c-4dd0-a1f2-d8504b767808" providerId="ADAL" clId="{8838F0A4-80FB-475D-9C30-89AEC3007B0C}" dt="2025-05-30T16:43:09.421" v="96" actId="700"/>
          <ac:spMkLst>
            <pc:docMk/>
            <pc:sldMk cId="321773409" sldId="2147470342"/>
            <ac:spMk id="9" creationId="{F208A63E-F790-95BB-68A0-CCF1107E3019}"/>
          </ac:spMkLst>
        </pc:spChg>
      </pc:sldChg>
      <pc:sldChg chg="modSp add mod modClrScheme chgLayout">
        <pc:chgData name="Storey, Lloyd A" userId="5eca50ca-699c-4dd0-a1f2-d8504b767808" providerId="ADAL" clId="{8838F0A4-80FB-475D-9C30-89AEC3007B0C}" dt="2025-05-30T16:41:32.517" v="84" actId="700"/>
        <pc:sldMkLst>
          <pc:docMk/>
          <pc:sldMk cId="1530338304" sldId="2147470344"/>
        </pc:sldMkLst>
        <pc:spChg chg="mod ord">
          <ac:chgData name="Storey, Lloyd A" userId="5eca50ca-699c-4dd0-a1f2-d8504b767808" providerId="ADAL" clId="{8838F0A4-80FB-475D-9C30-89AEC3007B0C}" dt="2025-05-30T16:41:32.517" v="84" actId="700"/>
          <ac:spMkLst>
            <pc:docMk/>
            <pc:sldMk cId="1530338304" sldId="2147470344"/>
            <ac:spMk id="3" creationId="{0AAD4B31-AE87-E838-B195-EE6A7F6322A4}"/>
          </ac:spMkLst>
        </pc:spChg>
        <pc:spChg chg="mod ord">
          <ac:chgData name="Storey, Lloyd A" userId="5eca50ca-699c-4dd0-a1f2-d8504b767808" providerId="ADAL" clId="{8838F0A4-80FB-475D-9C30-89AEC3007B0C}" dt="2025-05-30T16:41:32.517" v="84" actId="700"/>
          <ac:spMkLst>
            <pc:docMk/>
            <pc:sldMk cId="1530338304" sldId="2147470344"/>
            <ac:spMk id="4" creationId="{B30BE7F0-DCF1-804F-0E8F-851E99E06DFD}"/>
          </ac:spMkLst>
        </pc:spChg>
        <pc:spChg chg="mod ord">
          <ac:chgData name="Storey, Lloyd A" userId="5eca50ca-699c-4dd0-a1f2-d8504b767808" providerId="ADAL" clId="{8838F0A4-80FB-475D-9C30-89AEC3007B0C}" dt="2025-05-30T16:41:32.517" v="84" actId="700"/>
          <ac:spMkLst>
            <pc:docMk/>
            <pc:sldMk cId="1530338304" sldId="2147470344"/>
            <ac:spMk id="8" creationId="{2AD9B258-9A54-8D07-AE23-C73CFE94244D}"/>
          </ac:spMkLst>
        </pc:spChg>
      </pc:sldChg>
      <pc:sldMasterChg chg="modSldLayout">
        <pc:chgData name="Storey, Lloyd A" userId="5eca50ca-699c-4dd0-a1f2-d8504b767808" providerId="ADAL" clId="{8838F0A4-80FB-475D-9C30-89AEC3007B0C}" dt="2025-05-30T16:39:16.313" v="79"/>
        <pc:sldMasterMkLst>
          <pc:docMk/>
          <pc:sldMasterMk cId="3872828084" sldId="2147483648"/>
        </pc:sldMasterMkLst>
        <pc:sldLayoutChg chg="addSp delSp modSp mod">
          <pc:chgData name="Storey, Lloyd A" userId="5eca50ca-699c-4dd0-a1f2-d8504b767808" providerId="ADAL" clId="{8838F0A4-80FB-475D-9C30-89AEC3007B0C}" dt="2025-05-30T16:39:16.313" v="79"/>
          <pc:sldLayoutMkLst>
            <pc:docMk/>
            <pc:sldMasterMk cId="3872828084" sldId="2147483648"/>
            <pc:sldLayoutMk cId="2794974708" sldId="2147484002"/>
          </pc:sldLayoutMkLst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13" creationId="{725C27E1-FB13-C8F2-AC8C-2EEAA7EB5D74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14" creationId="{9E0917C9-E32C-BB74-1F3F-0FDA8B11EF1D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28" creationId="{8B6727AB-348A-8D36-ECDF-75B79EB3FD8E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29" creationId="{2FCA5ABF-BC60-B11D-D578-8F53B0B3F3B3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37" creationId="{AA87D420-EAC3-3B13-3380-B85280ECAA5D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44" creationId="{0212CDF0-A30B-F372-90FC-A8ED1EE48694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47" creationId="{389791C2-3596-428E-D782-71F67AEED12A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52" creationId="{AA0D2BAE-C0B7-BB0B-9E88-01ED183AFBC3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61" creationId="{26B55BCC-9235-C1B3-DD47-563FF5DA97AD}"/>
            </ac:spMkLst>
          </pc:spChg>
          <pc:spChg chg="mod">
            <ac:chgData name="Storey, Lloyd A" userId="5eca50ca-699c-4dd0-a1f2-d8504b767808" providerId="ADAL" clId="{8838F0A4-80FB-475D-9C30-89AEC3007B0C}" dt="2025-05-30T16:38:33.514" v="70"/>
            <ac:spMkLst>
              <pc:docMk/>
              <pc:sldMasterMk cId="3872828084" sldId="2147483648"/>
              <pc:sldLayoutMk cId="2794974708" sldId="2147484002"/>
              <ac:spMk id="73" creationId="{1ED55420-C067-F99C-6C63-15CE53298D46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77" creationId="{03E5C8B9-7BD1-0416-B0CB-F5356C62001A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83" creationId="{FD9BC202-960C-9474-707D-F46BCCEA8DD3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93" creationId="{52669248-CC0C-B8F1-52B3-0ED035EFA171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106" creationId="{A6E24004-44B0-C81D-35DB-E3D2BC496726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113" creationId="{C0F1301A-D6FF-6C59-D905-3EE042822381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116" creationId="{57AD72F5-DABC-6922-E313-7FA8A92FB67D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121" creationId="{DA3A504D-D338-0CAD-3037-9FE58AF351BF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126" creationId="{E020F761-58C9-BF30-9871-486A25E2A908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130" creationId="{EF688EE3-A90F-D78F-0F67-54091D36F32C}"/>
            </ac:spMkLst>
          </pc:spChg>
          <pc:spChg chg="mod">
            <ac:chgData name="Storey, Lloyd A" userId="5eca50ca-699c-4dd0-a1f2-d8504b767808" providerId="ADAL" clId="{8838F0A4-80FB-475D-9C30-89AEC3007B0C}" dt="2025-05-30T16:39:00.724" v="73"/>
            <ac:spMkLst>
              <pc:docMk/>
              <pc:sldMasterMk cId="3872828084" sldId="2147483648"/>
              <pc:sldLayoutMk cId="2794974708" sldId="2147484002"/>
              <ac:spMk id="161" creationId="{ADCB730C-5571-4FA4-FF4D-EDB7ECFD7E32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181" creationId="{69C596D1-A2C0-78EE-EB0B-8F2CECCE2F4A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186" creationId="{5E8CCB26-F65B-3DB3-B7C0-8A352FFB655A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203" creationId="{C295CD2C-8609-50E0-1D99-1421FFA6A6C9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208" creationId="{A611DD71-C7A5-1BD0-5F67-58A83FE40950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212" creationId="{74D0D225-355D-B16E-5A86-01EE2F293EE7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215" creationId="{B1B78A07-8CC7-31E4-5E65-20EAA7B69DC1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216" creationId="{C69BDB0B-F090-A413-BDA9-9E72A5769501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220" creationId="{F434066D-B870-A482-C85F-1A6D3DD1C594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225" creationId="{06FEBC9C-8122-8E6F-CE6F-25C1CD91211F}"/>
            </ac:spMkLst>
          </pc:spChg>
          <pc:spChg chg="mod">
            <ac:chgData name="Storey, Lloyd A" userId="5eca50ca-699c-4dd0-a1f2-d8504b767808" providerId="ADAL" clId="{8838F0A4-80FB-475D-9C30-89AEC3007B0C}" dt="2025-05-30T16:39:16.313" v="79"/>
            <ac:spMkLst>
              <pc:docMk/>
              <pc:sldMasterMk cId="3872828084" sldId="2147483648"/>
              <pc:sldLayoutMk cId="2794974708" sldId="2147484002"/>
              <ac:spMk id="231" creationId="{AF27323D-6A1A-CA81-AE97-FAD11650E5AA}"/>
            </ac:spMkLst>
          </pc:spChg>
          <pc:grpChg chg="del">
            <ac:chgData name="Storey, Lloyd A" userId="5eca50ca-699c-4dd0-a1f2-d8504b767808" providerId="ADAL" clId="{8838F0A4-80FB-475D-9C30-89AEC3007B0C}" dt="2025-05-30T16:38:35.251" v="71" actId="478"/>
            <ac:grpSpMkLst>
              <pc:docMk/>
              <pc:sldMasterMk cId="3872828084" sldId="2147483648"/>
              <pc:sldLayoutMk cId="2794974708" sldId="2147484002"/>
              <ac:grpSpMk id="2" creationId="{50B60B5A-E920-E48F-91F1-C2CC103AA569}"/>
            </ac:grpSpMkLst>
          </pc:grpChg>
          <pc:grpChg chg="del mod">
            <ac:chgData name="Storey, Lloyd A" userId="5eca50ca-699c-4dd0-a1f2-d8504b767808" providerId="ADAL" clId="{8838F0A4-80FB-475D-9C30-89AEC3007B0C}" dt="2025-05-30T16:39:13.469" v="77" actId="478"/>
            <ac:grpSpMkLst>
              <pc:docMk/>
              <pc:sldMasterMk cId="3872828084" sldId="2147483648"/>
              <pc:sldLayoutMk cId="2794974708" sldId="2147484002"/>
              <ac:grpSpMk id="100" creationId="{86F347DB-B35A-C90B-5D9F-3A82E68F9A11}"/>
            </ac:grpSpMkLst>
          </pc:grpChg>
          <pc:picChg chg="del">
            <ac:chgData name="Storey, Lloyd A" userId="5eca50ca-699c-4dd0-a1f2-d8504b767808" providerId="ADAL" clId="{8838F0A4-80FB-475D-9C30-89AEC3007B0C}" dt="2025-05-30T16:38:59.371" v="72" actId="478"/>
            <ac:picMkLst>
              <pc:docMk/>
              <pc:sldMasterMk cId="3872828084" sldId="2147483648"/>
              <pc:sldLayoutMk cId="2794974708" sldId="2147484002"/>
              <ac:picMk id="5" creationId="{B9AE116F-6B2F-809F-48C3-9F7665916972}"/>
            </ac:picMkLst>
          </pc:picChg>
          <pc:picChg chg="del">
            <ac:chgData name="Storey, Lloyd A" userId="5eca50ca-699c-4dd0-a1f2-d8504b767808" providerId="ADAL" clId="{8838F0A4-80FB-475D-9C30-89AEC3007B0C}" dt="2025-05-30T16:39:15.464" v="78" actId="478"/>
            <ac:picMkLst>
              <pc:docMk/>
              <pc:sldMasterMk cId="3872828084" sldId="2147483648"/>
              <pc:sldLayoutMk cId="2794974708" sldId="2147484002"/>
              <ac:picMk id="6" creationId="{C1B86F40-0644-7A71-B0D9-B8226D789D50}"/>
            </ac:picMkLst>
          </pc:picChg>
        </pc:sldLayoutChg>
      </pc:sldMasterChg>
      <pc:sldMasterChg chg="modSldLayout">
        <pc:chgData name="Storey, Lloyd A" userId="5eca50ca-699c-4dd0-a1f2-d8504b767808" providerId="ADAL" clId="{8838F0A4-80FB-475D-9C30-89AEC3007B0C}" dt="2025-05-30T16:40:27.270" v="82" actId="14100"/>
        <pc:sldMasterMkLst>
          <pc:docMk/>
          <pc:sldMasterMk cId="4185092539" sldId="2147483960"/>
        </pc:sldMasterMkLst>
        <pc:sldLayoutChg chg="addSp delSp modSp mod">
          <pc:chgData name="Storey, Lloyd A" userId="5eca50ca-699c-4dd0-a1f2-d8504b767808" providerId="ADAL" clId="{8838F0A4-80FB-475D-9C30-89AEC3007B0C}" dt="2025-05-30T16:36:42.381" v="69" actId="207"/>
          <pc:sldLayoutMkLst>
            <pc:docMk/>
            <pc:sldMasterMk cId="4185092539" sldId="2147483960"/>
            <pc:sldLayoutMk cId="2355530484" sldId="2147483989"/>
          </pc:sldLayoutMkLst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14" creationId="{2314A278-6692-31EC-0187-B9478C3F460A}"/>
            </ac:spMkLst>
          </pc:spChg>
          <pc:spChg chg="mod">
            <ac:chgData name="Storey, Lloyd A" userId="5eca50ca-699c-4dd0-a1f2-d8504b767808" providerId="ADAL" clId="{8838F0A4-80FB-475D-9C30-89AEC3007B0C}" dt="2025-05-30T16:36:17.531" v="66" actId="207"/>
            <ac:spMkLst>
              <pc:docMk/>
              <pc:sldMasterMk cId="4185092539" sldId="2147483960"/>
              <pc:sldLayoutMk cId="2355530484" sldId="2147483989"/>
              <ac:spMk id="17" creationId="{A92CFB15-C6CD-9192-A261-931BC62A992F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18" creationId="{842DCB32-4D0D-5A0D-3D37-2BCF479EA113}"/>
            </ac:spMkLst>
          </pc:spChg>
          <pc:spChg chg="mod">
            <ac:chgData name="Storey, Lloyd A" userId="5eca50ca-699c-4dd0-a1f2-d8504b767808" providerId="ADAL" clId="{8838F0A4-80FB-475D-9C30-89AEC3007B0C}" dt="2025-05-30T16:36:32.095" v="68" actId="207"/>
            <ac:spMkLst>
              <pc:docMk/>
              <pc:sldMasterMk cId="4185092539" sldId="2147483960"/>
              <pc:sldLayoutMk cId="2355530484" sldId="2147483989"/>
              <ac:spMk id="20" creationId="{82FFABC6-A550-0721-EE8F-8B259E032846}"/>
            </ac:spMkLst>
          </pc:spChg>
          <pc:spChg chg="mod">
            <ac:chgData name="Storey, Lloyd A" userId="5eca50ca-699c-4dd0-a1f2-d8504b767808" providerId="ADAL" clId="{8838F0A4-80FB-475D-9C30-89AEC3007B0C}" dt="2025-05-30T16:36:32.095" v="68" actId="207"/>
            <ac:spMkLst>
              <pc:docMk/>
              <pc:sldMasterMk cId="4185092539" sldId="2147483960"/>
              <pc:sldLayoutMk cId="2355530484" sldId="2147483989"/>
              <ac:spMk id="21" creationId="{959169ED-9D4D-E612-4726-3C680E0DED6A}"/>
            </ac:spMkLst>
          </pc:spChg>
          <pc:spChg chg="mod">
            <ac:chgData name="Storey, Lloyd A" userId="5eca50ca-699c-4dd0-a1f2-d8504b767808" providerId="ADAL" clId="{8838F0A4-80FB-475D-9C30-89AEC3007B0C}" dt="2025-05-30T16:36:32.095" v="68" actId="207"/>
            <ac:spMkLst>
              <pc:docMk/>
              <pc:sldMasterMk cId="4185092539" sldId="2147483960"/>
              <pc:sldLayoutMk cId="2355530484" sldId="2147483989"/>
              <ac:spMk id="22" creationId="{9B3404E7-BC0B-5D7A-2E41-E73E06A064A5}"/>
            </ac:spMkLst>
          </pc:spChg>
          <pc:spChg chg="mod">
            <ac:chgData name="Storey, Lloyd A" userId="5eca50ca-699c-4dd0-a1f2-d8504b767808" providerId="ADAL" clId="{8838F0A4-80FB-475D-9C30-89AEC3007B0C}" dt="2025-05-30T16:36:32.095" v="68" actId="207"/>
            <ac:spMkLst>
              <pc:docMk/>
              <pc:sldMasterMk cId="4185092539" sldId="2147483960"/>
              <pc:sldLayoutMk cId="2355530484" sldId="2147483989"/>
              <ac:spMk id="23" creationId="{D8E8E487-4DE7-B3BE-D353-00ADECA3ECEA}"/>
            </ac:spMkLst>
          </pc:spChg>
          <pc:spChg chg="mod">
            <ac:chgData name="Storey, Lloyd A" userId="5eca50ca-699c-4dd0-a1f2-d8504b767808" providerId="ADAL" clId="{8838F0A4-80FB-475D-9C30-89AEC3007B0C}" dt="2025-05-30T16:36:32.095" v="68" actId="207"/>
            <ac:spMkLst>
              <pc:docMk/>
              <pc:sldMasterMk cId="4185092539" sldId="2147483960"/>
              <pc:sldLayoutMk cId="2355530484" sldId="2147483989"/>
              <ac:spMk id="24" creationId="{26B5E709-EFC2-9901-6347-FD798012833F}"/>
            </ac:spMkLst>
          </pc:spChg>
          <pc:spChg chg="mod">
            <ac:chgData name="Storey, Lloyd A" userId="5eca50ca-699c-4dd0-a1f2-d8504b767808" providerId="ADAL" clId="{8838F0A4-80FB-475D-9C30-89AEC3007B0C}" dt="2025-05-30T16:36:32.095" v="68" actId="207"/>
            <ac:spMkLst>
              <pc:docMk/>
              <pc:sldMasterMk cId="4185092539" sldId="2147483960"/>
              <pc:sldLayoutMk cId="2355530484" sldId="2147483989"/>
              <ac:spMk id="25" creationId="{231C990C-CF4D-38B8-CBA5-E6F283A2C87C}"/>
            </ac:spMkLst>
          </pc:spChg>
          <pc:spChg chg="add del mod">
            <ac:chgData name="Storey, Lloyd A" userId="5eca50ca-699c-4dd0-a1f2-d8504b767808" providerId="ADAL" clId="{8838F0A4-80FB-475D-9C30-89AEC3007B0C}" dt="2025-05-30T16:35:59.506" v="65" actId="207"/>
            <ac:spMkLst>
              <pc:docMk/>
              <pc:sldMasterMk cId="4185092539" sldId="2147483960"/>
              <pc:sldLayoutMk cId="2355530484" sldId="2147483989"/>
              <ac:spMk id="26" creationId="{F40C90A3-53BD-0357-37FA-BC36C962780B}"/>
            </ac:spMkLst>
          </pc:spChg>
          <pc:spChg chg="mod">
            <ac:chgData name="Storey, Lloyd A" userId="5eca50ca-699c-4dd0-a1f2-d8504b767808" providerId="ADAL" clId="{8838F0A4-80FB-475D-9C30-89AEC3007B0C}" dt="2025-05-30T16:36:22.658" v="67" actId="207"/>
            <ac:spMkLst>
              <pc:docMk/>
              <pc:sldMasterMk cId="4185092539" sldId="2147483960"/>
              <pc:sldLayoutMk cId="2355530484" sldId="2147483989"/>
              <ac:spMk id="28" creationId="{5BF4310F-AB35-B003-AB00-09985B6B7045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31" creationId="{C979D65E-0A4C-F301-4A50-913A89A20577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40" creationId="{AE2D4775-664D-CEBC-FDD2-444562A66F46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42" creationId="{5C387A1D-97D2-CCCC-3097-2E4C7B82E3A0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48" creationId="{23DD6D77-BCF9-64E1-5657-17213F2C0126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55" creationId="{439006AE-20C2-2400-6679-81D04E29BFC8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58" creationId="{EE37BA20-2BD0-913A-62D2-DC1D0F0149D1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65" creationId="{395F8FE6-E056-ED3E-8CE2-E9458386EEEF}"/>
            </ac:spMkLst>
          </pc:spChg>
          <pc:spChg chg="mod">
            <ac:chgData name="Storey, Lloyd A" userId="5eca50ca-699c-4dd0-a1f2-d8504b767808" providerId="ADAL" clId="{8838F0A4-80FB-475D-9C30-89AEC3007B0C}" dt="2025-05-30T16:34:00.416" v="62"/>
            <ac:spMkLst>
              <pc:docMk/>
              <pc:sldMasterMk cId="4185092539" sldId="2147483960"/>
              <pc:sldLayoutMk cId="2355530484" sldId="2147483989"/>
              <ac:spMk id="68" creationId="{3A8CA1EF-00EE-7137-403C-D9EBE6F2BD1E}"/>
            </ac:spMkLst>
          </pc:spChg>
          <pc:spChg chg="mod">
            <ac:chgData name="Storey, Lloyd A" userId="5eca50ca-699c-4dd0-a1f2-d8504b767808" providerId="ADAL" clId="{8838F0A4-80FB-475D-9C30-89AEC3007B0C}" dt="2025-05-30T16:36:42.381" v="69" actId="207"/>
            <ac:spMkLst>
              <pc:docMk/>
              <pc:sldMasterMk cId="4185092539" sldId="2147483960"/>
              <pc:sldLayoutMk cId="2355530484" sldId="2147483989"/>
              <ac:spMk id="69" creationId="{550448C8-1F74-712C-45CA-0F3E0EC8744E}"/>
            </ac:spMkLst>
          </pc:spChg>
          <pc:spChg chg="mod">
            <ac:chgData name="Storey, Lloyd A" userId="5eca50ca-699c-4dd0-a1f2-d8504b767808" providerId="ADAL" clId="{8838F0A4-80FB-475D-9C30-89AEC3007B0C}" dt="2025-05-30T16:36:42.381" v="69" actId="207"/>
            <ac:spMkLst>
              <pc:docMk/>
              <pc:sldMasterMk cId="4185092539" sldId="2147483960"/>
              <pc:sldLayoutMk cId="2355530484" sldId="2147483989"/>
              <ac:spMk id="70" creationId="{AAE35AC3-4C9F-CF85-A31C-FF9FC929E006}"/>
            </ac:spMkLst>
          </pc:spChg>
          <pc:spChg chg="mod">
            <ac:chgData name="Storey, Lloyd A" userId="5eca50ca-699c-4dd0-a1f2-d8504b767808" providerId="ADAL" clId="{8838F0A4-80FB-475D-9C30-89AEC3007B0C}" dt="2025-05-30T16:36:42.381" v="69" actId="207"/>
            <ac:spMkLst>
              <pc:docMk/>
              <pc:sldMasterMk cId="4185092539" sldId="2147483960"/>
              <pc:sldLayoutMk cId="2355530484" sldId="2147483989"/>
              <ac:spMk id="71" creationId="{4E51D5FB-7957-FEC4-2524-22963EF7DED1}"/>
            </ac:spMkLst>
          </pc:spChg>
          <pc:spChg chg="mod">
            <ac:chgData name="Storey, Lloyd A" userId="5eca50ca-699c-4dd0-a1f2-d8504b767808" providerId="ADAL" clId="{8838F0A4-80FB-475D-9C30-89AEC3007B0C}" dt="2025-05-30T16:36:42.381" v="69" actId="207"/>
            <ac:spMkLst>
              <pc:docMk/>
              <pc:sldMasterMk cId="4185092539" sldId="2147483960"/>
              <pc:sldLayoutMk cId="2355530484" sldId="2147483989"/>
              <ac:spMk id="72" creationId="{B27329A2-07AE-60DC-5D2D-8F02BC03F8FE}"/>
            </ac:spMkLst>
          </pc:spChg>
          <pc:spChg chg="mod">
            <ac:chgData name="Storey, Lloyd A" userId="5eca50ca-699c-4dd0-a1f2-d8504b767808" providerId="ADAL" clId="{8838F0A4-80FB-475D-9C30-89AEC3007B0C}" dt="2025-05-30T16:36:42.381" v="69" actId="207"/>
            <ac:spMkLst>
              <pc:docMk/>
              <pc:sldMasterMk cId="4185092539" sldId="2147483960"/>
              <pc:sldLayoutMk cId="2355530484" sldId="2147483989"/>
              <ac:spMk id="73" creationId="{27AC602F-22AA-038F-569B-7F3FD128F706}"/>
            </ac:spMkLst>
          </pc:spChg>
          <pc:spChg chg="mod">
            <ac:chgData name="Storey, Lloyd A" userId="5eca50ca-699c-4dd0-a1f2-d8504b767808" providerId="ADAL" clId="{8838F0A4-80FB-475D-9C30-89AEC3007B0C}" dt="2025-05-30T16:36:42.381" v="69" actId="207"/>
            <ac:spMkLst>
              <pc:docMk/>
              <pc:sldMasterMk cId="4185092539" sldId="2147483960"/>
              <pc:sldLayoutMk cId="2355530484" sldId="2147483989"/>
              <ac:spMk id="74" creationId="{41C3D7E4-D75E-C70E-E6B2-F2A706712AFD}"/>
            </ac:spMkLst>
          </pc:spChg>
          <pc:spChg chg="mod">
            <ac:chgData name="Storey, Lloyd A" userId="5eca50ca-699c-4dd0-a1f2-d8504b767808" providerId="ADAL" clId="{8838F0A4-80FB-475D-9C30-89AEC3007B0C}" dt="2025-05-30T16:36:42.381" v="69" actId="207"/>
            <ac:spMkLst>
              <pc:docMk/>
              <pc:sldMasterMk cId="4185092539" sldId="2147483960"/>
              <pc:sldLayoutMk cId="2355530484" sldId="2147483989"/>
              <ac:spMk id="75" creationId="{A632B534-6BDC-8A4B-22D5-83D208896A31}"/>
            </ac:spMkLst>
          </pc:spChg>
          <pc:spChg chg="mod">
            <ac:chgData name="Storey, Lloyd A" userId="5eca50ca-699c-4dd0-a1f2-d8504b767808" providerId="ADAL" clId="{8838F0A4-80FB-475D-9C30-89AEC3007B0C}" dt="2025-05-30T16:36:42.381" v="69" actId="207"/>
            <ac:spMkLst>
              <pc:docMk/>
              <pc:sldMasterMk cId="4185092539" sldId="2147483960"/>
              <pc:sldLayoutMk cId="2355530484" sldId="2147483989"/>
              <ac:spMk id="76" creationId="{CF3BB3DE-6690-BD3F-423C-440BB7F6AA45}"/>
            </ac:spMkLst>
          </pc:spChg>
          <pc:picChg chg="del">
            <ac:chgData name="Storey, Lloyd A" userId="5eca50ca-699c-4dd0-a1f2-d8504b767808" providerId="ADAL" clId="{8838F0A4-80FB-475D-9C30-89AEC3007B0C}" dt="2025-05-30T16:33:59.377" v="61" actId="478"/>
            <ac:picMkLst>
              <pc:docMk/>
              <pc:sldMasterMk cId="4185092539" sldId="2147483960"/>
              <pc:sldLayoutMk cId="2355530484" sldId="2147483989"/>
              <ac:picMk id="7" creationId="{3659E8E0-D514-F520-3FBC-35311A319CB6}"/>
            </ac:picMkLst>
          </pc:picChg>
        </pc:sldLayoutChg>
        <pc:sldLayoutChg chg="addSp delSp modSp mod">
          <pc:chgData name="Storey, Lloyd A" userId="5eca50ca-699c-4dd0-a1f2-d8504b767808" providerId="ADAL" clId="{8838F0A4-80FB-475D-9C30-89AEC3007B0C}" dt="2025-05-30T16:32:51.931" v="55"/>
          <pc:sldLayoutMkLst>
            <pc:docMk/>
            <pc:sldMasterMk cId="4185092539" sldId="2147483960"/>
            <pc:sldLayoutMk cId="155041132" sldId="2147483994"/>
          </pc:sldLayoutMkLst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21" creationId="{DAF4032D-C7FE-78AC-7CBA-FC29CA7B1BE6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26" creationId="{62BCFF6B-7BBE-63EF-286C-85A8042FDC97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27" creationId="{0BE5339E-3B24-FE66-41DA-5134AEAFE3E8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36" creationId="{1D80EC64-4B0D-6936-F7FA-B8D4CB4BF004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37" creationId="{75164D15-199D-FD69-7760-EF835F8C1593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42" creationId="{569409B5-4A8B-70B8-ED2B-50419F4BA759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44" creationId="{3BA530AA-33F9-CA2D-D9DE-30FD69110D4C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60" creationId="{142804A6-986E-6504-0C58-E71A8261612D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73" creationId="{CF9B1FB5-447D-FAC6-F817-3AA918856004}"/>
            </ac:spMkLst>
          </pc:spChg>
          <pc:spChg chg="mod">
            <ac:chgData name="Storey, Lloyd A" userId="5eca50ca-699c-4dd0-a1f2-d8504b767808" providerId="ADAL" clId="{8838F0A4-80FB-475D-9C30-89AEC3007B0C}" dt="2025-05-30T16:32:51.931" v="55"/>
            <ac:spMkLst>
              <pc:docMk/>
              <pc:sldMasterMk cId="4185092539" sldId="2147483960"/>
              <pc:sldLayoutMk cId="155041132" sldId="2147483994"/>
              <ac:spMk id="76" creationId="{1C83E7B4-E80A-634A-9567-40DFBAE2B82D}"/>
            </ac:spMkLst>
          </pc:spChg>
          <pc:picChg chg="del">
            <ac:chgData name="Storey, Lloyd A" userId="5eca50ca-699c-4dd0-a1f2-d8504b767808" providerId="ADAL" clId="{8838F0A4-80FB-475D-9C30-89AEC3007B0C}" dt="2025-05-30T16:32:50.873" v="54" actId="478"/>
            <ac:picMkLst>
              <pc:docMk/>
              <pc:sldMasterMk cId="4185092539" sldId="2147483960"/>
              <pc:sldLayoutMk cId="155041132" sldId="2147483994"/>
              <ac:picMk id="11" creationId="{FB3BD42E-840A-78C2-A85A-2C5A0864A6D5}"/>
            </ac:picMkLst>
          </pc:picChg>
        </pc:sldLayoutChg>
        <pc:sldLayoutChg chg="addSp delSp modSp mod">
          <pc:chgData name="Storey, Lloyd A" userId="5eca50ca-699c-4dd0-a1f2-d8504b767808" providerId="ADAL" clId="{8838F0A4-80FB-475D-9C30-89AEC3007B0C}" dt="2025-05-30T16:24:02.846" v="6" actId="1076"/>
          <pc:sldLayoutMkLst>
            <pc:docMk/>
            <pc:sldMasterMk cId="4185092539" sldId="2147483960"/>
            <pc:sldLayoutMk cId="1024786970" sldId="2147483995"/>
          </pc:sldLayoutMkLst>
          <pc:spChg chg="mod">
            <ac:chgData name="Storey, Lloyd A" userId="5eca50ca-699c-4dd0-a1f2-d8504b767808" providerId="ADAL" clId="{8838F0A4-80FB-475D-9C30-89AEC3007B0C}" dt="2025-05-30T16:23:11.567" v="2" actId="164"/>
            <ac:spMkLst>
              <pc:docMk/>
              <pc:sldMasterMk cId="4185092539" sldId="2147483960"/>
              <pc:sldLayoutMk cId="1024786970" sldId="2147483995"/>
              <ac:spMk id="5" creationId="{B4AAC63C-AD5B-9CEE-67E3-01F9AF312B43}"/>
            </ac:spMkLst>
          </pc:spChg>
          <pc:spChg chg="mod">
            <ac:chgData name="Storey, Lloyd A" userId="5eca50ca-699c-4dd0-a1f2-d8504b767808" providerId="ADAL" clId="{8838F0A4-80FB-475D-9C30-89AEC3007B0C}" dt="2025-05-30T16:23:08.410" v="1" actId="207"/>
            <ac:spMkLst>
              <pc:docMk/>
              <pc:sldMasterMk cId="4185092539" sldId="2147483960"/>
              <pc:sldLayoutMk cId="1024786970" sldId="2147483995"/>
              <ac:spMk id="9" creationId="{42053F5B-D012-A8FC-9FF1-3A982C23C44A}"/>
            </ac:spMkLst>
          </pc:spChg>
          <pc:spChg chg="mod">
            <ac:chgData name="Storey, Lloyd A" userId="5eca50ca-699c-4dd0-a1f2-d8504b767808" providerId="ADAL" clId="{8838F0A4-80FB-475D-9C30-89AEC3007B0C}" dt="2025-05-30T16:23:08.410" v="1" actId="207"/>
            <ac:spMkLst>
              <pc:docMk/>
              <pc:sldMasterMk cId="4185092539" sldId="2147483960"/>
              <pc:sldLayoutMk cId="1024786970" sldId="2147483995"/>
              <ac:spMk id="11" creationId="{8F03E719-7475-B18B-2E90-A34C03CEB758}"/>
            </ac:spMkLst>
          </pc:spChg>
          <pc:spChg chg="mod">
            <ac:chgData name="Storey, Lloyd A" userId="5eca50ca-699c-4dd0-a1f2-d8504b767808" providerId="ADAL" clId="{8838F0A4-80FB-475D-9C30-89AEC3007B0C}" dt="2025-05-30T16:23:08.410" v="1" actId="207"/>
            <ac:spMkLst>
              <pc:docMk/>
              <pc:sldMasterMk cId="4185092539" sldId="2147483960"/>
              <pc:sldLayoutMk cId="1024786970" sldId="2147483995"/>
              <ac:spMk id="12" creationId="{5460ED05-911C-ABCE-A22D-69E7CFA3A949}"/>
            </ac:spMkLst>
          </pc:spChg>
          <pc:spChg chg="mod">
            <ac:chgData name="Storey, Lloyd A" userId="5eca50ca-699c-4dd0-a1f2-d8504b767808" providerId="ADAL" clId="{8838F0A4-80FB-475D-9C30-89AEC3007B0C}" dt="2025-05-30T16:23:08.410" v="1" actId="207"/>
            <ac:spMkLst>
              <pc:docMk/>
              <pc:sldMasterMk cId="4185092539" sldId="2147483960"/>
              <pc:sldLayoutMk cId="1024786970" sldId="2147483995"/>
              <ac:spMk id="15" creationId="{522A9147-9B8E-C1E4-F86A-D6366DDEAE18}"/>
            </ac:spMkLst>
          </pc:spChg>
          <pc:spChg chg="mod">
            <ac:chgData name="Storey, Lloyd A" userId="5eca50ca-699c-4dd0-a1f2-d8504b767808" providerId="ADAL" clId="{8838F0A4-80FB-475D-9C30-89AEC3007B0C}" dt="2025-05-30T16:23:08.410" v="1" actId="207"/>
            <ac:spMkLst>
              <pc:docMk/>
              <pc:sldMasterMk cId="4185092539" sldId="2147483960"/>
              <pc:sldLayoutMk cId="1024786970" sldId="2147483995"/>
              <ac:spMk id="16" creationId="{3F9BFA28-3C31-2086-50E4-93A5F7ABD721}"/>
            </ac:spMkLst>
          </pc:spChg>
          <pc:spChg chg="mod">
            <ac:chgData name="Storey, Lloyd A" userId="5eca50ca-699c-4dd0-a1f2-d8504b767808" providerId="ADAL" clId="{8838F0A4-80FB-475D-9C30-89AEC3007B0C}" dt="2025-05-30T16:23:08.410" v="1" actId="207"/>
            <ac:spMkLst>
              <pc:docMk/>
              <pc:sldMasterMk cId="4185092539" sldId="2147483960"/>
              <pc:sldLayoutMk cId="1024786970" sldId="2147483995"/>
              <ac:spMk id="17" creationId="{C21D3805-87B3-1F0D-FD6F-8BDD1D160109}"/>
            </ac:spMkLst>
          </pc:spChg>
          <pc:spChg chg="mod">
            <ac:chgData name="Storey, Lloyd A" userId="5eca50ca-699c-4dd0-a1f2-d8504b767808" providerId="ADAL" clId="{8838F0A4-80FB-475D-9C30-89AEC3007B0C}" dt="2025-05-30T16:23:08.410" v="1" actId="207"/>
            <ac:spMkLst>
              <pc:docMk/>
              <pc:sldMasterMk cId="4185092539" sldId="2147483960"/>
              <pc:sldLayoutMk cId="1024786970" sldId="2147483995"/>
              <ac:spMk id="19" creationId="{E605BAB0-9048-E1ED-B692-3B3BC8EFD056}"/>
            </ac:spMkLst>
          </pc:spChg>
          <pc:spChg chg="mod">
            <ac:chgData name="Storey, Lloyd A" userId="5eca50ca-699c-4dd0-a1f2-d8504b767808" providerId="ADAL" clId="{8838F0A4-80FB-475D-9C30-89AEC3007B0C}" dt="2025-05-30T16:24:01.491" v="4" actId="164"/>
            <ac:spMkLst>
              <pc:docMk/>
              <pc:sldMasterMk cId="4185092539" sldId="2147483960"/>
              <pc:sldLayoutMk cId="1024786970" sldId="2147483995"/>
              <ac:spMk id="20" creationId="{A6B7D02E-E305-6EB2-BDF4-E960AB2A8538}"/>
            </ac:spMkLst>
          </pc:spChg>
          <pc:spChg chg="mod">
            <ac:chgData name="Storey, Lloyd A" userId="5eca50ca-699c-4dd0-a1f2-d8504b767808" providerId="ADAL" clId="{8838F0A4-80FB-475D-9C30-89AEC3007B0C}" dt="2025-05-30T16:24:01.491" v="4" actId="164"/>
            <ac:spMkLst>
              <pc:docMk/>
              <pc:sldMasterMk cId="4185092539" sldId="2147483960"/>
              <pc:sldLayoutMk cId="1024786970" sldId="2147483995"/>
              <ac:spMk id="21" creationId="{F0D83F4D-80B6-EA65-E174-9628AF7A1033}"/>
            </ac:spMkLst>
          </pc:spChg>
          <pc:spChg chg="mod">
            <ac:chgData name="Storey, Lloyd A" userId="5eca50ca-699c-4dd0-a1f2-d8504b767808" providerId="ADAL" clId="{8838F0A4-80FB-475D-9C30-89AEC3007B0C}" dt="2025-05-30T16:24:01.491" v="4" actId="164"/>
            <ac:spMkLst>
              <pc:docMk/>
              <pc:sldMasterMk cId="4185092539" sldId="2147483960"/>
              <pc:sldLayoutMk cId="1024786970" sldId="2147483995"/>
              <ac:spMk id="22" creationId="{80D99F3A-0065-C515-DC4F-7A7D2A029DAF}"/>
            </ac:spMkLst>
          </pc:spChg>
          <pc:spChg chg="mod">
            <ac:chgData name="Storey, Lloyd A" userId="5eca50ca-699c-4dd0-a1f2-d8504b767808" providerId="ADAL" clId="{8838F0A4-80FB-475D-9C30-89AEC3007B0C}" dt="2025-05-30T16:24:01.491" v="4" actId="164"/>
            <ac:spMkLst>
              <pc:docMk/>
              <pc:sldMasterMk cId="4185092539" sldId="2147483960"/>
              <pc:sldLayoutMk cId="1024786970" sldId="2147483995"/>
              <ac:spMk id="23" creationId="{63609F3B-3256-814F-6D6A-CE6D4F027DB5}"/>
            </ac:spMkLst>
          </pc:spChg>
          <pc:spChg chg="mod">
            <ac:chgData name="Storey, Lloyd A" userId="5eca50ca-699c-4dd0-a1f2-d8504b767808" providerId="ADAL" clId="{8838F0A4-80FB-475D-9C30-89AEC3007B0C}" dt="2025-05-30T16:24:01.491" v="4" actId="164"/>
            <ac:spMkLst>
              <pc:docMk/>
              <pc:sldMasterMk cId="4185092539" sldId="2147483960"/>
              <pc:sldLayoutMk cId="1024786970" sldId="2147483995"/>
              <ac:spMk id="24" creationId="{2F0A67AF-F21D-DB11-BF64-DEA0DEC92C44}"/>
            </ac:spMkLst>
          </pc:spChg>
          <pc:spChg chg="mod">
            <ac:chgData name="Storey, Lloyd A" userId="5eca50ca-699c-4dd0-a1f2-d8504b767808" providerId="ADAL" clId="{8838F0A4-80FB-475D-9C30-89AEC3007B0C}" dt="2025-05-30T16:24:01.491" v="4" actId="164"/>
            <ac:spMkLst>
              <pc:docMk/>
              <pc:sldMasterMk cId="4185092539" sldId="2147483960"/>
              <pc:sldLayoutMk cId="1024786970" sldId="2147483995"/>
              <ac:spMk id="25" creationId="{1EB684B4-04C3-715F-3DD7-885BE0BD8C13}"/>
            </ac:spMkLst>
          </pc:spChg>
          <pc:spChg chg="mod">
            <ac:chgData name="Storey, Lloyd A" userId="5eca50ca-699c-4dd0-a1f2-d8504b767808" providerId="ADAL" clId="{8838F0A4-80FB-475D-9C30-89AEC3007B0C}" dt="2025-05-30T16:24:01.491" v="4" actId="164"/>
            <ac:spMkLst>
              <pc:docMk/>
              <pc:sldMasterMk cId="4185092539" sldId="2147483960"/>
              <pc:sldLayoutMk cId="1024786970" sldId="2147483995"/>
              <ac:spMk id="26" creationId="{B0A887B1-3462-44A7-99A3-870EA6E0790B}"/>
            </ac:spMkLst>
          </pc:spChg>
          <pc:spChg chg="mod">
            <ac:chgData name="Storey, Lloyd A" userId="5eca50ca-699c-4dd0-a1f2-d8504b767808" providerId="ADAL" clId="{8838F0A4-80FB-475D-9C30-89AEC3007B0C}" dt="2025-05-30T16:23:11.567" v="2" actId="164"/>
            <ac:spMkLst>
              <pc:docMk/>
              <pc:sldMasterMk cId="4185092539" sldId="2147483960"/>
              <pc:sldLayoutMk cId="1024786970" sldId="2147483995"/>
              <ac:spMk id="27" creationId="{EC02460A-28D2-077E-A189-DECD5CB3F72C}"/>
            </ac:spMkLst>
          </pc:spChg>
          <pc:spChg chg="mod">
            <ac:chgData name="Storey, Lloyd A" userId="5eca50ca-699c-4dd0-a1f2-d8504b767808" providerId="ADAL" clId="{8838F0A4-80FB-475D-9C30-89AEC3007B0C}" dt="2025-05-30T16:24:01.491" v="4" actId="164"/>
            <ac:spMkLst>
              <pc:docMk/>
              <pc:sldMasterMk cId="4185092539" sldId="2147483960"/>
              <pc:sldLayoutMk cId="1024786970" sldId="2147483995"/>
              <ac:spMk id="28" creationId="{663B6C91-A6F1-C9C9-51B7-3E1927949176}"/>
            </ac:spMkLst>
          </pc:spChg>
          <pc:spChg chg="mod">
            <ac:chgData name="Storey, Lloyd A" userId="5eca50ca-699c-4dd0-a1f2-d8504b767808" providerId="ADAL" clId="{8838F0A4-80FB-475D-9C30-89AEC3007B0C}" dt="2025-05-30T16:23:11.567" v="2" actId="164"/>
            <ac:spMkLst>
              <pc:docMk/>
              <pc:sldMasterMk cId="4185092539" sldId="2147483960"/>
              <pc:sldLayoutMk cId="1024786970" sldId="2147483995"/>
              <ac:spMk id="29" creationId="{9A86A388-123D-F050-8267-B00B80329B70}"/>
            </ac:spMkLst>
          </pc:spChg>
          <pc:spChg chg="mod">
            <ac:chgData name="Storey, Lloyd A" userId="5eca50ca-699c-4dd0-a1f2-d8504b767808" providerId="ADAL" clId="{8838F0A4-80FB-475D-9C30-89AEC3007B0C}" dt="2025-05-30T16:23:11.567" v="2" actId="164"/>
            <ac:spMkLst>
              <pc:docMk/>
              <pc:sldMasterMk cId="4185092539" sldId="2147483960"/>
              <pc:sldLayoutMk cId="1024786970" sldId="2147483995"/>
              <ac:spMk id="30" creationId="{15E5522F-424F-B56D-20F3-C8A583EFFB81}"/>
            </ac:spMkLst>
          </pc:spChg>
          <pc:spChg chg="mod">
            <ac:chgData name="Storey, Lloyd A" userId="5eca50ca-699c-4dd0-a1f2-d8504b767808" providerId="ADAL" clId="{8838F0A4-80FB-475D-9C30-89AEC3007B0C}" dt="2025-05-30T16:23:11.567" v="2" actId="164"/>
            <ac:spMkLst>
              <pc:docMk/>
              <pc:sldMasterMk cId="4185092539" sldId="2147483960"/>
              <pc:sldLayoutMk cId="1024786970" sldId="2147483995"/>
              <ac:spMk id="31" creationId="{F6498B2E-3CB8-133E-6640-CBA9F5DA038A}"/>
            </ac:spMkLst>
          </pc:spChg>
          <pc:grpChg chg="mod">
            <ac:chgData name="Storey, Lloyd A" userId="5eca50ca-699c-4dd0-a1f2-d8504b767808" providerId="ADAL" clId="{8838F0A4-80FB-475D-9C30-89AEC3007B0C}" dt="2025-05-30T16:23:11.567" v="2" actId="164"/>
            <ac:grpSpMkLst>
              <pc:docMk/>
              <pc:sldMasterMk cId="4185092539" sldId="2147483960"/>
              <pc:sldLayoutMk cId="1024786970" sldId="2147483995"/>
              <ac:grpSpMk id="7" creationId="{92CEAAFA-B73E-502E-DC20-D4EABBFA4B2B}"/>
            </ac:grpSpMkLst>
          </pc:grpChg>
          <pc:grpChg chg="add mod">
            <ac:chgData name="Storey, Lloyd A" userId="5eca50ca-699c-4dd0-a1f2-d8504b767808" providerId="ADAL" clId="{8838F0A4-80FB-475D-9C30-89AEC3007B0C}" dt="2025-05-30T16:24:01.491" v="4" actId="164"/>
            <ac:grpSpMkLst>
              <pc:docMk/>
              <pc:sldMasterMk cId="4185092539" sldId="2147483960"/>
              <pc:sldLayoutMk cId="1024786970" sldId="2147483995"/>
              <ac:grpSpMk id="32" creationId="{59B64EFC-81D9-703F-A553-76E53C7404B3}"/>
            </ac:grpSpMkLst>
          </pc:grpChg>
          <pc:grpChg chg="add mod">
            <ac:chgData name="Storey, Lloyd A" userId="5eca50ca-699c-4dd0-a1f2-d8504b767808" providerId="ADAL" clId="{8838F0A4-80FB-475D-9C30-89AEC3007B0C}" dt="2025-05-30T16:24:02.846" v="6" actId="1076"/>
            <ac:grpSpMkLst>
              <pc:docMk/>
              <pc:sldMasterMk cId="4185092539" sldId="2147483960"/>
              <pc:sldLayoutMk cId="1024786970" sldId="2147483995"/>
              <ac:grpSpMk id="33" creationId="{C55E514C-2613-A248-45DF-7A208E6945F9}"/>
            </ac:grpSpMkLst>
          </pc:grpChg>
        </pc:sldLayoutChg>
        <pc:sldLayoutChg chg="addSp delSp modSp mod">
          <pc:chgData name="Storey, Lloyd A" userId="5eca50ca-699c-4dd0-a1f2-d8504b767808" providerId="ADAL" clId="{8838F0A4-80FB-475D-9C30-89AEC3007B0C}" dt="2025-05-30T16:40:12.729" v="81" actId="14100"/>
          <pc:sldLayoutMkLst>
            <pc:docMk/>
            <pc:sldMasterMk cId="4185092539" sldId="2147483960"/>
            <pc:sldLayoutMk cId="1065916702" sldId="2147483997"/>
          </pc:sldLayoutMkLst>
          <pc:spChg chg="mod">
            <ac:chgData name="Storey, Lloyd A" userId="5eca50ca-699c-4dd0-a1f2-d8504b767808" providerId="ADAL" clId="{8838F0A4-80FB-475D-9C30-89AEC3007B0C}" dt="2025-05-30T16:40:12.729" v="81" actId="14100"/>
            <ac:spMkLst>
              <pc:docMk/>
              <pc:sldMasterMk cId="4185092539" sldId="2147483960"/>
              <pc:sldLayoutMk cId="1065916702" sldId="2147483997"/>
              <ac:spMk id="5" creationId="{A1723AC8-8C1C-9DEA-3DAE-E3824B6E8725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9" creationId="{E6A41ABC-EBA7-BB3B-9DBB-2A4A623F7336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12" creationId="{81334F56-A898-2312-B5E3-2D71A53913D2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13" creationId="{37E7D30D-4A6D-EAFF-3EB7-27EEA72E547F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14" creationId="{832E531D-5185-8346-8CCD-84EE278E005F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16" creationId="{EBE03168-47CC-4D03-E0E9-941F0E8433D4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17" creationId="{81EEFA58-E4F7-94A0-D737-7BDC81889AF3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18" creationId="{D81B9FAD-28E9-D2EF-B4B3-5E6BCA82AA85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19" creationId="{C4451BCE-01BB-646E-5D4F-9D673195425E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20" creationId="{1DC0D665-911C-1442-EC5B-964E2E250F68}"/>
            </ac:spMkLst>
          </pc:spChg>
          <pc:spChg chg="mod">
            <ac:chgData name="Storey, Lloyd A" userId="5eca50ca-699c-4dd0-a1f2-d8504b767808" providerId="ADAL" clId="{8838F0A4-80FB-475D-9C30-89AEC3007B0C}" dt="2025-05-30T16:23:52.101" v="3"/>
            <ac:spMkLst>
              <pc:docMk/>
              <pc:sldMasterMk cId="4185092539" sldId="2147483960"/>
              <pc:sldLayoutMk cId="1065916702" sldId="2147483997"/>
              <ac:spMk id="22" creationId="{0E7CFB21-C23C-95FD-7C3C-13D147A58865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26" creationId="{FE1DE653-AC3D-C0C9-57DA-CCFCF2A5F92F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28" creationId="{8F22AB82-7FD6-49EC-3299-3490568D7C7D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29" creationId="{6BB5029A-3D55-49C2-4700-E06CE3FEEAEB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31" creationId="{21E7CAD4-63EB-3E8A-B416-6F43BC77454E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32" creationId="{FD8963C9-740B-8328-3C0D-9C6191DE604C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37" creationId="{11B46A28-9825-A9B7-F310-B43DF57467D6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42" creationId="{076EC78F-F781-39AC-8BA1-8D979ED37EFF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44" creationId="{C168231E-B233-7443-FFD1-FC7E00B08C64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46" creationId="{94525B34-858B-5F79-2FA9-BAC3182B8D6F}"/>
            </ac:spMkLst>
          </pc:spChg>
          <pc:spChg chg="mod">
            <ac:chgData name="Storey, Lloyd A" userId="5eca50ca-699c-4dd0-a1f2-d8504b767808" providerId="ADAL" clId="{8838F0A4-80FB-475D-9C30-89AEC3007B0C}" dt="2025-05-30T16:24:10.368" v="8"/>
            <ac:spMkLst>
              <pc:docMk/>
              <pc:sldMasterMk cId="4185092539" sldId="2147483960"/>
              <pc:sldLayoutMk cId="1065916702" sldId="2147483997"/>
              <ac:spMk id="47" creationId="{0663F6D8-8CC9-FD2F-9B7B-ABA77E6BBB49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49" creationId="{5057BAD5-0F4C-C541-21AB-27746FCE17EF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58" creationId="{E8679230-0E5A-903C-E599-BB0E02FA4852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60" creationId="{6BBB1B5F-ECE5-ABE9-E321-9961DC9271E3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61" creationId="{0161B425-9511-86B6-BC00-45AB09A792BB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62" creationId="{729ABDE6-B9C9-565D-43B9-64733A171BA6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63" creationId="{7CD2A8F8-FF01-2B85-8809-E4185028BF8C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65" creationId="{2A75AB71-B148-69D1-55FB-5E54023BEB58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68" creationId="{0E0E9878-7324-A9AB-56EF-82F8817DDD36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69" creationId="{366DD32C-D262-21D3-EA83-B681B7576CE8}"/>
            </ac:spMkLst>
          </pc:spChg>
          <pc:spChg chg="mod">
            <ac:chgData name="Storey, Lloyd A" userId="5eca50ca-699c-4dd0-a1f2-d8504b767808" providerId="ADAL" clId="{8838F0A4-80FB-475D-9C30-89AEC3007B0C}" dt="2025-05-30T16:24:27.220" v="14"/>
            <ac:spMkLst>
              <pc:docMk/>
              <pc:sldMasterMk cId="4185092539" sldId="2147483960"/>
              <pc:sldLayoutMk cId="1065916702" sldId="2147483997"/>
              <ac:spMk id="71" creationId="{73DBDB21-6F37-45F7-49D8-3C7F38CA84E9}"/>
            </ac:spMkLst>
          </pc:spChg>
          <pc:grpChg chg="del">
            <ac:chgData name="Storey, Lloyd A" userId="5eca50ca-699c-4dd0-a1f2-d8504b767808" providerId="ADAL" clId="{8838F0A4-80FB-475D-9C30-89AEC3007B0C}" dt="2025-05-30T16:24:09.221" v="7" actId="478"/>
            <ac:grpSpMkLst>
              <pc:docMk/>
              <pc:sldMasterMk cId="4185092539" sldId="2147483960"/>
              <pc:sldLayoutMk cId="1065916702" sldId="2147483997"/>
              <ac:grpSpMk id="6" creationId="{315D0C1B-3E74-8F90-301F-04D3B4EC25F8}"/>
            </ac:grpSpMkLst>
          </pc:grpChg>
          <pc:grpChg chg="del mod">
            <ac:chgData name="Storey, Lloyd A" userId="5eca50ca-699c-4dd0-a1f2-d8504b767808" providerId="ADAL" clId="{8838F0A4-80FB-475D-9C30-89AEC3007B0C}" dt="2025-05-30T16:24:21.484" v="12" actId="478"/>
            <ac:grpSpMkLst>
              <pc:docMk/>
              <pc:sldMasterMk cId="4185092539" sldId="2147483960"/>
              <pc:sldLayoutMk cId="1065916702" sldId="2147483997"/>
              <ac:grpSpMk id="24" creationId="{5BB07F89-4075-28DA-3E32-7AF6BEB232D8}"/>
            </ac:grpSpMkLst>
          </pc:grpChg>
          <pc:picChg chg="del">
            <ac:chgData name="Storey, Lloyd A" userId="5eca50ca-699c-4dd0-a1f2-d8504b767808" providerId="ADAL" clId="{8838F0A4-80FB-475D-9C30-89AEC3007B0C}" dt="2025-05-30T16:24:26.395" v="13" actId="478"/>
            <ac:picMkLst>
              <pc:docMk/>
              <pc:sldMasterMk cId="4185092539" sldId="2147483960"/>
              <pc:sldLayoutMk cId="1065916702" sldId="2147483997"/>
              <ac:picMk id="7" creationId="{8624501A-D329-DD23-B876-379A2A28748D}"/>
            </ac:picMkLst>
          </pc:picChg>
        </pc:sldLayoutChg>
        <pc:sldLayoutChg chg="addSp delSp modSp mod">
          <pc:chgData name="Storey, Lloyd A" userId="5eca50ca-699c-4dd0-a1f2-d8504b767808" providerId="ADAL" clId="{8838F0A4-80FB-475D-9C30-89AEC3007B0C}" dt="2025-05-30T16:40:27.270" v="82" actId="14100"/>
          <pc:sldLayoutMkLst>
            <pc:docMk/>
            <pc:sldMasterMk cId="4185092539" sldId="2147483960"/>
            <pc:sldLayoutMk cId="15716740" sldId="2147483998"/>
          </pc:sldLayoutMkLst>
          <pc:spChg chg="mod">
            <ac:chgData name="Storey, Lloyd A" userId="5eca50ca-699c-4dd0-a1f2-d8504b767808" providerId="ADAL" clId="{8838F0A4-80FB-475D-9C30-89AEC3007B0C}" dt="2025-05-30T16:40:27.270" v="82" actId="14100"/>
            <ac:spMkLst>
              <pc:docMk/>
              <pc:sldMasterMk cId="4185092539" sldId="2147483960"/>
              <pc:sldLayoutMk cId="15716740" sldId="2147483998"/>
              <ac:spMk id="5" creationId="{A1723AC8-8C1C-9DEA-3DAE-E3824B6E8725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11" creationId="{FBDCB46D-35FD-0B51-C23B-AA8358F9C34A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13" creationId="{9EC008FB-08A1-8989-EB86-82F304902159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14" creationId="{DBEE22DC-2815-877E-D9E7-B5893ACA3496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16" creationId="{4EABDD5A-DE16-8672-4A33-D8610A2BC257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17" creationId="{E618100C-F4C0-5515-6F86-45DB06AD187B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20" creationId="{F3B85032-B3B2-4953-5CFC-2E228310F6AE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22" creationId="{0E087FE8-829C-B93F-5333-1E470A0C3D84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23" creationId="{131FB8E0-58B6-411C-8EA2-31D55064A0F2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25" creationId="{EE915ACE-2A25-7F22-5247-9EB9C2C40206}"/>
            </ac:spMkLst>
          </pc:spChg>
          <pc:spChg chg="mod">
            <ac:chgData name="Storey, Lloyd A" userId="5eca50ca-699c-4dd0-a1f2-d8504b767808" providerId="ADAL" clId="{8838F0A4-80FB-475D-9C30-89AEC3007B0C}" dt="2025-05-30T16:24:39.712" v="16"/>
            <ac:spMkLst>
              <pc:docMk/>
              <pc:sldMasterMk cId="4185092539" sldId="2147483960"/>
              <pc:sldLayoutMk cId="15716740" sldId="2147483998"/>
              <ac:spMk id="27" creationId="{8A33E52D-F390-27C5-1632-D2521D1FFDFB}"/>
            </ac:spMkLst>
          </pc:spChg>
          <pc:spChg chg="mod">
            <ac:chgData name="Storey, Lloyd A" userId="5eca50ca-699c-4dd0-a1f2-d8504b767808" providerId="ADAL" clId="{8838F0A4-80FB-475D-9C30-89AEC3007B0C}" dt="2025-05-30T16:30:38.172" v="36" actId="207"/>
            <ac:spMkLst>
              <pc:docMk/>
              <pc:sldMasterMk cId="4185092539" sldId="2147483960"/>
              <pc:sldLayoutMk cId="15716740" sldId="2147483998"/>
              <ac:spMk id="38" creationId="{641BB751-FAFD-8DC9-A9AF-0EBAC2781F5A}"/>
            </ac:spMkLst>
          </pc:spChg>
          <pc:spChg chg="mod">
            <ac:chgData name="Storey, Lloyd A" userId="5eca50ca-699c-4dd0-a1f2-d8504b767808" providerId="ADAL" clId="{8838F0A4-80FB-475D-9C30-89AEC3007B0C}" dt="2025-05-30T16:30:38.172" v="36" actId="207"/>
            <ac:spMkLst>
              <pc:docMk/>
              <pc:sldMasterMk cId="4185092539" sldId="2147483960"/>
              <pc:sldLayoutMk cId="15716740" sldId="2147483998"/>
              <ac:spMk id="39" creationId="{032C76EB-6D2F-35C6-3EB9-18CF6CD0B104}"/>
            </ac:spMkLst>
          </pc:spChg>
          <pc:spChg chg="mod">
            <ac:chgData name="Storey, Lloyd A" userId="5eca50ca-699c-4dd0-a1f2-d8504b767808" providerId="ADAL" clId="{8838F0A4-80FB-475D-9C30-89AEC3007B0C}" dt="2025-05-30T16:30:38.172" v="36" actId="207"/>
            <ac:spMkLst>
              <pc:docMk/>
              <pc:sldMasterMk cId="4185092539" sldId="2147483960"/>
              <pc:sldLayoutMk cId="15716740" sldId="2147483998"/>
              <ac:spMk id="40" creationId="{52CBFA36-B7CD-3F83-B223-268CF94E513E}"/>
            </ac:spMkLst>
          </pc:spChg>
          <pc:spChg chg="mod">
            <ac:chgData name="Storey, Lloyd A" userId="5eca50ca-699c-4dd0-a1f2-d8504b767808" providerId="ADAL" clId="{8838F0A4-80FB-475D-9C30-89AEC3007B0C}" dt="2025-05-30T16:30:38.172" v="36" actId="207"/>
            <ac:spMkLst>
              <pc:docMk/>
              <pc:sldMasterMk cId="4185092539" sldId="2147483960"/>
              <pc:sldLayoutMk cId="15716740" sldId="2147483998"/>
              <ac:spMk id="41" creationId="{B8432817-3CFD-5DC4-7976-BBDF621FC723}"/>
            </ac:spMkLst>
          </pc:spChg>
          <pc:spChg chg="mod">
            <ac:chgData name="Storey, Lloyd A" userId="5eca50ca-699c-4dd0-a1f2-d8504b767808" providerId="ADAL" clId="{8838F0A4-80FB-475D-9C30-89AEC3007B0C}" dt="2025-05-30T16:30:38.172" v="36" actId="207"/>
            <ac:spMkLst>
              <pc:docMk/>
              <pc:sldMasterMk cId="4185092539" sldId="2147483960"/>
              <pc:sldLayoutMk cId="15716740" sldId="2147483998"/>
              <ac:spMk id="42" creationId="{ABD625D9-1975-4C46-2B50-1C4EE01D868D}"/>
            </ac:spMkLst>
          </pc:spChg>
          <pc:spChg chg="mod">
            <ac:chgData name="Storey, Lloyd A" userId="5eca50ca-699c-4dd0-a1f2-d8504b767808" providerId="ADAL" clId="{8838F0A4-80FB-475D-9C30-89AEC3007B0C}" dt="2025-05-30T16:30:38.172" v="36" actId="207"/>
            <ac:spMkLst>
              <pc:docMk/>
              <pc:sldMasterMk cId="4185092539" sldId="2147483960"/>
              <pc:sldLayoutMk cId="15716740" sldId="2147483998"/>
              <ac:spMk id="43" creationId="{91573ED4-8E11-8259-1707-04E03E25C01D}"/>
            </ac:spMkLst>
          </pc:spChg>
          <pc:spChg chg="mod">
            <ac:chgData name="Storey, Lloyd A" userId="5eca50ca-699c-4dd0-a1f2-d8504b767808" providerId="ADAL" clId="{8838F0A4-80FB-475D-9C30-89AEC3007B0C}" dt="2025-05-30T16:30:38.172" v="36" actId="207"/>
            <ac:spMkLst>
              <pc:docMk/>
              <pc:sldMasterMk cId="4185092539" sldId="2147483960"/>
              <pc:sldLayoutMk cId="15716740" sldId="2147483998"/>
              <ac:spMk id="44" creationId="{17B37605-4A50-1226-7594-D2D0F33759A2}"/>
            </ac:spMkLst>
          </pc:spChg>
          <pc:spChg chg="mod">
            <ac:chgData name="Storey, Lloyd A" userId="5eca50ca-699c-4dd0-a1f2-d8504b767808" providerId="ADAL" clId="{8838F0A4-80FB-475D-9C30-89AEC3007B0C}" dt="2025-05-30T16:30:38.172" v="36" actId="207"/>
            <ac:spMkLst>
              <pc:docMk/>
              <pc:sldMasterMk cId="4185092539" sldId="2147483960"/>
              <pc:sldLayoutMk cId="15716740" sldId="2147483998"/>
              <ac:spMk id="45" creationId="{844D46D1-6ABC-3254-99FE-E06060E21FF6}"/>
            </ac:spMkLst>
          </pc:spChg>
          <pc:spChg chg="mod">
            <ac:chgData name="Storey, Lloyd A" userId="5eca50ca-699c-4dd0-a1f2-d8504b767808" providerId="ADAL" clId="{8838F0A4-80FB-475D-9C30-89AEC3007B0C}" dt="2025-05-30T16:29:51.731" v="34" actId="27803"/>
            <ac:spMkLst>
              <pc:docMk/>
              <pc:sldMasterMk cId="4185092539" sldId="2147483960"/>
              <pc:sldLayoutMk cId="15716740" sldId="2147483998"/>
              <ac:spMk id="48" creationId="{39DFDAC2-8EF6-C0BE-4EB0-4C9465AF5D11}"/>
            </ac:spMkLst>
          </pc:spChg>
          <pc:spChg chg="mod">
            <ac:chgData name="Storey, Lloyd A" userId="5eca50ca-699c-4dd0-a1f2-d8504b767808" providerId="ADAL" clId="{8838F0A4-80FB-475D-9C30-89AEC3007B0C}" dt="2025-05-30T16:29:51.731" v="34" actId="27803"/>
            <ac:spMkLst>
              <pc:docMk/>
              <pc:sldMasterMk cId="4185092539" sldId="2147483960"/>
              <pc:sldLayoutMk cId="15716740" sldId="2147483998"/>
              <ac:spMk id="56" creationId="{5F538273-22AD-79EC-CC62-24B394AF573A}"/>
            </ac:spMkLst>
          </pc:spChg>
          <pc:spChg chg="mod">
            <ac:chgData name="Storey, Lloyd A" userId="5eca50ca-699c-4dd0-a1f2-d8504b767808" providerId="ADAL" clId="{8838F0A4-80FB-475D-9C30-89AEC3007B0C}" dt="2025-05-30T16:29:51.731" v="34" actId="27803"/>
            <ac:spMkLst>
              <pc:docMk/>
              <pc:sldMasterMk cId="4185092539" sldId="2147483960"/>
              <pc:sldLayoutMk cId="15716740" sldId="2147483998"/>
              <ac:spMk id="57" creationId="{E5F64C51-CC65-153B-9B0A-1C7362B1D593}"/>
            </ac:spMkLst>
          </pc:spChg>
          <pc:spChg chg="mod">
            <ac:chgData name="Storey, Lloyd A" userId="5eca50ca-699c-4dd0-a1f2-d8504b767808" providerId="ADAL" clId="{8838F0A4-80FB-475D-9C30-89AEC3007B0C}" dt="2025-05-30T16:29:51.731" v="34" actId="27803"/>
            <ac:spMkLst>
              <pc:docMk/>
              <pc:sldMasterMk cId="4185092539" sldId="2147483960"/>
              <pc:sldLayoutMk cId="15716740" sldId="2147483998"/>
              <ac:spMk id="61" creationId="{6810F076-53EB-DEF5-B94A-55F478378883}"/>
            </ac:spMkLst>
          </pc:spChg>
          <pc:spChg chg="mod">
            <ac:chgData name="Storey, Lloyd A" userId="5eca50ca-699c-4dd0-a1f2-d8504b767808" providerId="ADAL" clId="{8838F0A4-80FB-475D-9C30-89AEC3007B0C}" dt="2025-05-30T16:29:51.731" v="34" actId="27803"/>
            <ac:spMkLst>
              <pc:docMk/>
              <pc:sldMasterMk cId="4185092539" sldId="2147483960"/>
              <pc:sldLayoutMk cId="15716740" sldId="2147483998"/>
              <ac:spMk id="79" creationId="{84326E48-016C-5264-19AA-702B4DD010C4}"/>
            </ac:spMkLst>
          </pc:spChg>
          <pc:spChg chg="mod">
            <ac:chgData name="Storey, Lloyd A" userId="5eca50ca-699c-4dd0-a1f2-d8504b767808" providerId="ADAL" clId="{8838F0A4-80FB-475D-9C30-89AEC3007B0C}" dt="2025-05-30T16:29:51.731" v="34" actId="27803"/>
            <ac:spMkLst>
              <pc:docMk/>
              <pc:sldMasterMk cId="4185092539" sldId="2147483960"/>
              <pc:sldLayoutMk cId="15716740" sldId="2147483998"/>
              <ac:spMk id="81" creationId="{17AFA95E-B151-5608-C2CD-5B20360A53F0}"/>
            </ac:spMkLst>
          </pc:spChg>
          <pc:spChg chg="mod">
            <ac:chgData name="Storey, Lloyd A" userId="5eca50ca-699c-4dd0-a1f2-d8504b767808" providerId="ADAL" clId="{8838F0A4-80FB-475D-9C30-89AEC3007B0C}" dt="2025-05-30T16:29:51.731" v="34" actId="27803"/>
            <ac:spMkLst>
              <pc:docMk/>
              <pc:sldMasterMk cId="4185092539" sldId="2147483960"/>
              <pc:sldLayoutMk cId="15716740" sldId="2147483998"/>
              <ac:spMk id="89" creationId="{D052A297-B399-9058-B1F2-846AB47F8011}"/>
            </ac:spMkLst>
          </pc:spChg>
          <pc:spChg chg="mod">
            <ac:chgData name="Storey, Lloyd A" userId="5eca50ca-699c-4dd0-a1f2-d8504b767808" providerId="ADAL" clId="{8838F0A4-80FB-475D-9C30-89AEC3007B0C}" dt="2025-05-30T16:31:23.995" v="41" actId="207"/>
            <ac:spMkLst>
              <pc:docMk/>
              <pc:sldMasterMk cId="4185092539" sldId="2147483960"/>
              <pc:sldLayoutMk cId="15716740" sldId="2147483998"/>
              <ac:spMk id="91" creationId="{258E8ED2-CBEA-EB51-DF46-2A8ECCB35CE9}"/>
            </ac:spMkLst>
          </pc:spChg>
          <pc:spChg chg="mod">
            <ac:chgData name="Storey, Lloyd A" userId="5eca50ca-699c-4dd0-a1f2-d8504b767808" providerId="ADAL" clId="{8838F0A4-80FB-475D-9C30-89AEC3007B0C}" dt="2025-05-30T16:31:16.736" v="40" actId="207"/>
            <ac:spMkLst>
              <pc:docMk/>
              <pc:sldMasterMk cId="4185092539" sldId="2147483960"/>
              <pc:sldLayoutMk cId="15716740" sldId="2147483998"/>
              <ac:spMk id="92" creationId="{B727BE72-9906-F5FE-4228-08CF19961320}"/>
            </ac:spMkLst>
          </pc:spChg>
          <pc:spChg chg="mod">
            <ac:chgData name="Storey, Lloyd A" userId="5eca50ca-699c-4dd0-a1f2-d8504b767808" providerId="ADAL" clId="{8838F0A4-80FB-475D-9C30-89AEC3007B0C}" dt="2025-05-30T16:31:16.736" v="40" actId="207"/>
            <ac:spMkLst>
              <pc:docMk/>
              <pc:sldMasterMk cId="4185092539" sldId="2147483960"/>
              <pc:sldLayoutMk cId="15716740" sldId="2147483998"/>
              <ac:spMk id="93" creationId="{AB5E85E2-7A36-63DF-DEAD-DEF310F6C08F}"/>
            </ac:spMkLst>
          </pc:spChg>
          <pc:spChg chg="mod">
            <ac:chgData name="Storey, Lloyd A" userId="5eca50ca-699c-4dd0-a1f2-d8504b767808" providerId="ADAL" clId="{8838F0A4-80FB-475D-9C30-89AEC3007B0C}" dt="2025-05-30T16:31:45.722" v="43" actId="207"/>
            <ac:spMkLst>
              <pc:docMk/>
              <pc:sldMasterMk cId="4185092539" sldId="2147483960"/>
              <pc:sldLayoutMk cId="15716740" sldId="2147483998"/>
              <ac:spMk id="94" creationId="{DAD00AF0-F317-4FA3-98C3-EDEFE19323A7}"/>
            </ac:spMkLst>
          </pc:spChg>
          <pc:spChg chg="mod">
            <ac:chgData name="Storey, Lloyd A" userId="5eca50ca-699c-4dd0-a1f2-d8504b767808" providerId="ADAL" clId="{8838F0A4-80FB-475D-9C30-89AEC3007B0C}" dt="2025-05-30T16:31:45.722" v="43" actId="207"/>
            <ac:spMkLst>
              <pc:docMk/>
              <pc:sldMasterMk cId="4185092539" sldId="2147483960"/>
              <pc:sldLayoutMk cId="15716740" sldId="2147483998"/>
              <ac:spMk id="95" creationId="{ABA45AFC-364B-3D7D-B5E2-63488861F2AF}"/>
            </ac:spMkLst>
          </pc:spChg>
          <pc:spChg chg="mod">
            <ac:chgData name="Storey, Lloyd A" userId="5eca50ca-699c-4dd0-a1f2-d8504b767808" providerId="ADAL" clId="{8838F0A4-80FB-475D-9C30-89AEC3007B0C}" dt="2025-05-30T16:31:45.722" v="43" actId="207"/>
            <ac:spMkLst>
              <pc:docMk/>
              <pc:sldMasterMk cId="4185092539" sldId="2147483960"/>
              <pc:sldLayoutMk cId="15716740" sldId="2147483998"/>
              <ac:spMk id="96" creationId="{9F895BE0-42FC-3C20-6917-38DC563073AF}"/>
            </ac:spMkLst>
          </pc:spChg>
          <pc:spChg chg="mod">
            <ac:chgData name="Storey, Lloyd A" userId="5eca50ca-699c-4dd0-a1f2-d8504b767808" providerId="ADAL" clId="{8838F0A4-80FB-475D-9C30-89AEC3007B0C}" dt="2025-05-30T16:31:45.722" v="43" actId="207"/>
            <ac:spMkLst>
              <pc:docMk/>
              <pc:sldMasterMk cId="4185092539" sldId="2147483960"/>
              <pc:sldLayoutMk cId="15716740" sldId="2147483998"/>
              <ac:spMk id="97" creationId="{3A589944-7BEB-9952-F04D-E22A1F34DD78}"/>
            </ac:spMkLst>
          </pc:spChg>
          <pc:spChg chg="mod">
            <ac:chgData name="Storey, Lloyd A" userId="5eca50ca-699c-4dd0-a1f2-d8504b767808" providerId="ADAL" clId="{8838F0A4-80FB-475D-9C30-89AEC3007B0C}" dt="2025-05-30T16:31:45.722" v="43" actId="207"/>
            <ac:spMkLst>
              <pc:docMk/>
              <pc:sldMasterMk cId="4185092539" sldId="2147483960"/>
              <pc:sldLayoutMk cId="15716740" sldId="2147483998"/>
              <ac:spMk id="98" creationId="{8F2E0452-8B27-3080-D812-9BD26B5A5FB3}"/>
            </ac:spMkLst>
          </pc:spChg>
          <pc:spChg chg="mod">
            <ac:chgData name="Storey, Lloyd A" userId="5eca50ca-699c-4dd0-a1f2-d8504b767808" providerId="ADAL" clId="{8838F0A4-80FB-475D-9C30-89AEC3007B0C}" dt="2025-05-30T16:31:45.722" v="43" actId="207"/>
            <ac:spMkLst>
              <pc:docMk/>
              <pc:sldMasterMk cId="4185092539" sldId="2147483960"/>
              <pc:sldLayoutMk cId="15716740" sldId="2147483998"/>
              <ac:spMk id="99" creationId="{0D5B5113-FF41-757A-4BA3-57E348683BA3}"/>
            </ac:spMkLst>
          </pc:spChg>
          <pc:spChg chg="mod">
            <ac:chgData name="Storey, Lloyd A" userId="5eca50ca-699c-4dd0-a1f2-d8504b767808" providerId="ADAL" clId="{8838F0A4-80FB-475D-9C30-89AEC3007B0C}" dt="2025-05-30T16:31:45.722" v="43" actId="207"/>
            <ac:spMkLst>
              <pc:docMk/>
              <pc:sldMasterMk cId="4185092539" sldId="2147483960"/>
              <pc:sldLayoutMk cId="15716740" sldId="2147483998"/>
              <ac:spMk id="102" creationId="{E74C006A-521A-54C7-D324-360BD5D38C32}"/>
            </ac:spMkLst>
          </pc:spChg>
          <pc:grpChg chg="mod">
            <ac:chgData name="Storey, Lloyd A" userId="5eca50ca-699c-4dd0-a1f2-d8504b767808" providerId="ADAL" clId="{8838F0A4-80FB-475D-9C30-89AEC3007B0C}" dt="2025-05-30T16:32:00.787" v="48" actId="164"/>
            <ac:grpSpMkLst>
              <pc:docMk/>
              <pc:sldMasterMk cId="4185092539" sldId="2147483960"/>
              <pc:sldLayoutMk cId="15716740" sldId="2147483998"/>
              <ac:grpSpMk id="37" creationId="{CF550976-DC06-9ED6-F6EF-F5CA537B47FB}"/>
            </ac:grpSpMkLst>
          </pc:grpChg>
          <pc:grpChg chg="mod">
            <ac:chgData name="Storey, Lloyd A" userId="5eca50ca-699c-4dd0-a1f2-d8504b767808" providerId="ADAL" clId="{8838F0A4-80FB-475D-9C30-89AEC3007B0C}" dt="2025-05-30T16:32:00.787" v="48" actId="164"/>
            <ac:grpSpMkLst>
              <pc:docMk/>
              <pc:sldMasterMk cId="4185092539" sldId="2147483960"/>
              <pc:sldLayoutMk cId="15716740" sldId="2147483998"/>
              <ac:grpSpMk id="46" creationId="{D17DF43D-9AE2-A8B1-75AE-7652F8E04E40}"/>
            </ac:grpSpMkLst>
          </pc:grpChg>
          <pc:grpChg chg="mod">
            <ac:chgData name="Storey, Lloyd A" userId="5eca50ca-699c-4dd0-a1f2-d8504b767808" providerId="ADAL" clId="{8838F0A4-80FB-475D-9C30-89AEC3007B0C}" dt="2025-05-30T16:32:00.787" v="48" actId="164"/>
            <ac:grpSpMkLst>
              <pc:docMk/>
              <pc:sldMasterMk cId="4185092539" sldId="2147483960"/>
              <pc:sldLayoutMk cId="15716740" sldId="2147483998"/>
              <ac:grpSpMk id="87" creationId="{994FA7A5-315C-3BA5-29CC-BD0617C321EC}"/>
            </ac:grpSpMkLst>
          </pc:grpChg>
          <pc:grpChg chg="add mod">
            <ac:chgData name="Storey, Lloyd A" userId="5eca50ca-699c-4dd0-a1f2-d8504b767808" providerId="ADAL" clId="{8838F0A4-80FB-475D-9C30-89AEC3007B0C}" dt="2025-05-30T16:32:00.787" v="48" actId="164"/>
            <ac:grpSpMkLst>
              <pc:docMk/>
              <pc:sldMasterMk cId="4185092539" sldId="2147483960"/>
              <pc:sldLayoutMk cId="15716740" sldId="2147483998"/>
              <ac:grpSpMk id="103" creationId="{C3234DD8-E861-E728-A6D3-314C674531AC}"/>
            </ac:grpSpMkLst>
          </pc:grpChg>
          <pc:picChg chg="del">
            <ac:chgData name="Storey, Lloyd A" userId="5eca50ca-699c-4dd0-a1f2-d8504b767808" providerId="ADAL" clId="{8838F0A4-80FB-475D-9C30-89AEC3007B0C}" dt="2025-05-30T16:24:38.788" v="15" actId="478"/>
            <ac:picMkLst>
              <pc:docMk/>
              <pc:sldMasterMk cId="4185092539" sldId="2147483960"/>
              <pc:sldLayoutMk cId="15716740" sldId="2147483998"/>
              <ac:picMk id="6" creationId="{D237B044-C5F9-D181-758F-B38EF2E80647}"/>
            </ac:picMkLst>
          </pc:picChg>
          <pc:picChg chg="mod">
            <ac:chgData name="Storey, Lloyd A" userId="5eca50ca-699c-4dd0-a1f2-d8504b767808" providerId="ADAL" clId="{8838F0A4-80FB-475D-9C30-89AEC3007B0C}" dt="2025-05-30T16:29:06.460" v="26" actId="14826"/>
            <ac:picMkLst>
              <pc:docMk/>
              <pc:sldMasterMk cId="4185092539" sldId="2147483960"/>
              <pc:sldLayoutMk cId="15716740" sldId="2147483998"/>
              <ac:picMk id="9" creationId="{140E60D1-1B56-3BB8-D03D-C9E62B2D810A}"/>
            </ac:picMkLst>
          </pc:picChg>
          <pc:picChg chg="add del mod">
            <ac:chgData name="Storey, Lloyd A" userId="5eca50ca-699c-4dd0-a1f2-d8504b767808" providerId="ADAL" clId="{8838F0A4-80FB-475D-9C30-89AEC3007B0C}" dt="2025-05-30T16:32:41.444" v="53" actId="478"/>
            <ac:picMkLst>
              <pc:docMk/>
              <pc:sldMasterMk cId="4185092539" sldId="2147483960"/>
              <pc:sldLayoutMk cId="15716740" sldId="2147483998"/>
              <ac:picMk id="35" creationId="{C8CF57C4-CD89-5FA7-C0F6-79FA0C5E079E}"/>
            </ac:picMkLst>
          </pc:picChg>
        </pc:sldLayoutChg>
      </pc:sldMasterChg>
      <pc:sldMasterChg chg="modSldLayout">
        <pc:chgData name="Storey, Lloyd A" userId="5eca50ca-699c-4dd0-a1f2-d8504b767808" providerId="ADAL" clId="{8838F0A4-80FB-475D-9C30-89AEC3007B0C}" dt="2025-05-30T16:42:09.394" v="87"/>
        <pc:sldMasterMkLst>
          <pc:docMk/>
          <pc:sldMasterMk cId="1906811005" sldId="2147483971"/>
        </pc:sldMasterMkLst>
        <pc:sldLayoutChg chg="addSp delSp modSp mod">
          <pc:chgData name="Storey, Lloyd A" userId="5eca50ca-699c-4dd0-a1f2-d8504b767808" providerId="ADAL" clId="{8838F0A4-80FB-475D-9C30-89AEC3007B0C}" dt="2025-05-30T16:42:09.394" v="87"/>
          <pc:sldLayoutMkLst>
            <pc:docMk/>
            <pc:sldMasterMk cId="1906811005" sldId="2147483971"/>
            <pc:sldLayoutMk cId="3759090654" sldId="2147483981"/>
          </pc:sldLayoutMkLst>
          <pc:spChg chg="del">
            <ac:chgData name="Storey, Lloyd A" userId="5eca50ca-699c-4dd0-a1f2-d8504b767808" providerId="ADAL" clId="{8838F0A4-80FB-475D-9C30-89AEC3007B0C}" dt="2025-05-30T16:42:08.431" v="86" actId="478"/>
            <ac:spMkLst>
              <pc:docMk/>
              <pc:sldMasterMk cId="1906811005" sldId="2147483971"/>
              <pc:sldLayoutMk cId="3759090654" sldId="2147483981"/>
              <ac:spMk id="7" creationId="{BEA0FC6F-0A23-4812-834A-F1A45C72BFBD}"/>
            </ac:spMkLst>
          </pc:spChg>
          <pc:spChg chg="add mod">
            <ac:chgData name="Storey, Lloyd A" userId="5eca50ca-699c-4dd0-a1f2-d8504b767808" providerId="ADAL" clId="{8838F0A4-80FB-475D-9C30-89AEC3007B0C}" dt="2025-05-30T16:42:09.394" v="87"/>
            <ac:spMkLst>
              <pc:docMk/>
              <pc:sldMasterMk cId="1906811005" sldId="2147483971"/>
              <pc:sldLayoutMk cId="3759090654" sldId="2147483981"/>
              <ac:spMk id="9" creationId="{81CC2DD9-20EA-0B54-A7D9-23483EC9EC81}"/>
            </ac:spMkLst>
          </pc:spChg>
        </pc:sldLayoutChg>
        <pc:sldLayoutChg chg="addSp delSp modSp mod">
          <pc:chgData name="Storey, Lloyd A" userId="5eca50ca-699c-4dd0-a1f2-d8504b767808" providerId="ADAL" clId="{8838F0A4-80FB-475D-9C30-89AEC3007B0C}" dt="2025-05-30T16:33:08.292" v="57"/>
          <pc:sldLayoutMkLst>
            <pc:docMk/>
            <pc:sldMasterMk cId="1906811005" sldId="2147483971"/>
            <pc:sldLayoutMk cId="1469449746" sldId="2147483990"/>
          </pc:sldLayoutMkLst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4" creationId="{95F7991A-2D6E-96D2-EB58-AC5AEF05AC1E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14" creationId="{FF69A742-6059-9FB7-D11E-419D57866646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16" creationId="{B2C7B3EF-253A-F553-CFFC-9ECCC5091F59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23" creationId="{0E2B3A66-8420-1E87-22C0-D2EA32F4AAE4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25" creationId="{7CBC3FF9-55B7-54FE-80DE-5D7615425ACB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26" creationId="{2BBD67FF-E3FA-EA38-F60C-7DC07A1DF79C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27" creationId="{D8152536-83E7-C92C-B156-5807F2475A67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28" creationId="{CF2E8BB4-861C-F52C-386D-3D257397F2BA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29" creationId="{7AFEBA73-84BA-AA3C-4E6B-7EC8FDC8E4B6}"/>
            </ac:spMkLst>
          </pc:spChg>
          <pc:spChg chg="mod">
            <ac:chgData name="Storey, Lloyd A" userId="5eca50ca-699c-4dd0-a1f2-d8504b767808" providerId="ADAL" clId="{8838F0A4-80FB-475D-9C30-89AEC3007B0C}" dt="2025-05-30T16:24:55.668" v="18"/>
            <ac:spMkLst>
              <pc:docMk/>
              <pc:sldMasterMk cId="1906811005" sldId="2147483971"/>
              <pc:sldLayoutMk cId="1469449746" sldId="2147483990"/>
              <ac:spMk id="30" creationId="{4029F5C8-41E3-D4CE-B3D0-BF790B6EF4B1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37" creationId="{28543044-89FC-EF9C-3CBF-5F5F520036F6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44" creationId="{57D2FEA6-B827-0BC9-56F6-0422B0B9A7FB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47" creationId="{3263BAD4-EF80-9591-30ED-D7A54168474C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56" creationId="{E41EF96B-F8CC-4795-C214-8C8374110094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58" creationId="{B40260CA-C998-2D25-8019-1989F99A1B02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62" creationId="{D1B7839E-668F-2A0A-DFEA-DAF28BE7FE4E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76" creationId="{034177B0-76E6-9F38-E777-E819BBA91707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82" creationId="{6B69206C-7C3D-9762-568A-6700DCD0BF45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86" creationId="{84D2DE98-92BF-161D-5354-D4558ED7A90A}"/>
            </ac:spMkLst>
          </pc:spChg>
          <pc:spChg chg="mod">
            <ac:chgData name="Storey, Lloyd A" userId="5eca50ca-699c-4dd0-a1f2-d8504b767808" providerId="ADAL" clId="{8838F0A4-80FB-475D-9C30-89AEC3007B0C}" dt="2025-05-30T16:33:08.292" v="57"/>
            <ac:spMkLst>
              <pc:docMk/>
              <pc:sldMasterMk cId="1906811005" sldId="2147483971"/>
              <pc:sldLayoutMk cId="1469449746" sldId="2147483990"/>
              <ac:spMk id="99" creationId="{4F43E7D7-99A6-CF35-B6E7-DFA710F6C4BA}"/>
            </ac:spMkLst>
          </pc:spChg>
          <pc:picChg chg="del">
            <ac:chgData name="Storey, Lloyd A" userId="5eca50ca-699c-4dd0-a1f2-d8504b767808" providerId="ADAL" clId="{8838F0A4-80FB-475D-9C30-89AEC3007B0C}" dt="2025-05-30T16:24:54.766" v="17" actId="478"/>
            <ac:picMkLst>
              <pc:docMk/>
              <pc:sldMasterMk cId="1906811005" sldId="2147483971"/>
              <pc:sldLayoutMk cId="1469449746" sldId="2147483990"/>
              <ac:picMk id="11" creationId="{C8C8FA40-A5F9-1FE5-AE8C-2F33BFC25736}"/>
            </ac:picMkLst>
          </pc:picChg>
          <pc:picChg chg="del">
            <ac:chgData name="Storey, Lloyd A" userId="5eca50ca-699c-4dd0-a1f2-d8504b767808" providerId="ADAL" clId="{8838F0A4-80FB-475D-9C30-89AEC3007B0C}" dt="2025-05-30T16:33:06.793" v="56" actId="478"/>
            <ac:picMkLst>
              <pc:docMk/>
              <pc:sldMasterMk cId="1906811005" sldId="2147483971"/>
              <pc:sldLayoutMk cId="1469449746" sldId="2147483990"/>
              <ac:picMk id="12" creationId="{63251B4D-58AC-4C98-936C-1440A2F2F7A8}"/>
            </ac:picMkLst>
          </pc:picChg>
        </pc:sldLayoutChg>
        <pc:sldLayoutChg chg="addSp delSp modSp mod">
          <pc:chgData name="Storey, Lloyd A" userId="5eca50ca-699c-4dd0-a1f2-d8504b767808" providerId="ADAL" clId="{8838F0A4-80FB-475D-9C30-89AEC3007B0C}" dt="2025-05-30T16:33:31.240" v="60" actId="166"/>
          <pc:sldLayoutMkLst>
            <pc:docMk/>
            <pc:sldMasterMk cId="1906811005" sldId="2147483971"/>
            <pc:sldLayoutMk cId="3498738774" sldId="2147483999"/>
          </pc:sldLayoutMkLst>
          <pc:spChg chg="ord">
            <ac:chgData name="Storey, Lloyd A" userId="5eca50ca-699c-4dd0-a1f2-d8504b767808" providerId="ADAL" clId="{8838F0A4-80FB-475D-9C30-89AEC3007B0C}" dt="2025-05-30T16:33:31.240" v="60" actId="166"/>
            <ac:spMkLst>
              <pc:docMk/>
              <pc:sldMasterMk cId="1906811005" sldId="2147483971"/>
              <pc:sldLayoutMk cId="3498738774" sldId="2147483999"/>
              <ac:spMk id="3" creationId="{1EF383D4-67CE-C9F4-2B01-E5B91E129530}"/>
            </ac:spMkLst>
          </pc:spChg>
          <pc:spChg chg="ord">
            <ac:chgData name="Storey, Lloyd A" userId="5eca50ca-699c-4dd0-a1f2-d8504b767808" providerId="ADAL" clId="{8838F0A4-80FB-475D-9C30-89AEC3007B0C}" dt="2025-05-30T16:33:31.240" v="60" actId="166"/>
            <ac:spMkLst>
              <pc:docMk/>
              <pc:sldMasterMk cId="1906811005" sldId="2147483971"/>
              <pc:sldLayoutMk cId="3498738774" sldId="2147483999"/>
              <ac:spMk id="4" creationId="{00215A54-74F6-AA51-1F58-086B319C47F6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10" creationId="{82780D9C-F379-3AC6-A568-682C54253974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13" creationId="{5EC8B147-586C-55AD-3045-E62319280630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14" creationId="{4811298D-EE72-5B0F-2D15-BB0693B5099B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16" creationId="{E66FB76C-16C1-911B-ABB0-E7208673A803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17" creationId="{C8455159-D361-1236-BFB0-C4671D2DA631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22" creationId="{99731256-AE51-8874-2E5A-8FC922D36B6F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24" creationId="{FBE41FC1-1884-8D94-39E4-6576B4C361AB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25" creationId="{1EABB91F-A4F0-18DA-F510-7C44CA28EBA4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26" creationId="{55E888D8-C1FB-030C-7217-0D90F839BCEC}"/>
            </ac:spMkLst>
          </pc:spChg>
          <pc:spChg chg="mod">
            <ac:chgData name="Storey, Lloyd A" userId="5eca50ca-699c-4dd0-a1f2-d8504b767808" providerId="ADAL" clId="{8838F0A4-80FB-475D-9C30-89AEC3007B0C}" dt="2025-05-30T16:25:09.213" v="20"/>
            <ac:spMkLst>
              <pc:docMk/>
              <pc:sldMasterMk cId="1906811005" sldId="2147483971"/>
              <pc:sldLayoutMk cId="3498738774" sldId="2147483999"/>
              <ac:spMk id="33" creationId="{84D24856-B3DB-3EEC-4271-BD61951DE1F2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47" creationId="{268CD792-367C-03AE-60D5-650AB1A71E6B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52" creationId="{588C6435-2C73-AE1C-6AA2-98349E442A43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58" creationId="{B53F6766-86A4-3158-7116-E2294ADA1907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72" creationId="{B3A8BBA2-840A-DD83-3760-63D3850B4FA2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80" creationId="{79091A8D-2125-3C7D-2ED8-F629C5F8C43C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84" creationId="{B9C26D79-A7BF-C2BD-D4C5-6EFD74B11511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90" creationId="{FC142FE5-ACB8-060A-EF96-F134BCD9895E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94" creationId="{3B500731-B3F4-C61F-B3A2-8D87480DA729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96" creationId="{84AB2651-D2E8-D988-2589-AFB419C6B653}"/>
            </ac:spMkLst>
          </pc:spChg>
          <pc:spChg chg="mod">
            <ac:chgData name="Storey, Lloyd A" userId="5eca50ca-699c-4dd0-a1f2-d8504b767808" providerId="ADAL" clId="{8838F0A4-80FB-475D-9C30-89AEC3007B0C}" dt="2025-05-30T16:33:18.591" v="59"/>
            <ac:spMkLst>
              <pc:docMk/>
              <pc:sldMasterMk cId="1906811005" sldId="2147483971"/>
              <pc:sldLayoutMk cId="3498738774" sldId="2147483999"/>
              <ac:spMk id="97" creationId="{C5DD1F0E-92EB-E656-5302-6CD762695281}"/>
            </ac:spMkLst>
          </pc:spChg>
          <pc:picChg chg="del">
            <ac:chgData name="Storey, Lloyd A" userId="5eca50ca-699c-4dd0-a1f2-d8504b767808" providerId="ADAL" clId="{8838F0A4-80FB-475D-9C30-89AEC3007B0C}" dt="2025-05-30T16:25:08.570" v="19" actId="478"/>
            <ac:picMkLst>
              <pc:docMk/>
              <pc:sldMasterMk cId="1906811005" sldId="2147483971"/>
              <pc:sldLayoutMk cId="3498738774" sldId="2147483999"/>
              <ac:picMk id="11" creationId="{B471418B-FCCE-8971-DD6C-E181CB08B464}"/>
            </ac:picMkLst>
          </pc:picChg>
          <pc:picChg chg="del">
            <ac:chgData name="Storey, Lloyd A" userId="5eca50ca-699c-4dd0-a1f2-d8504b767808" providerId="ADAL" clId="{8838F0A4-80FB-475D-9C30-89AEC3007B0C}" dt="2025-05-30T16:33:17.481" v="58" actId="478"/>
            <ac:picMkLst>
              <pc:docMk/>
              <pc:sldMasterMk cId="1906811005" sldId="2147483971"/>
              <pc:sldLayoutMk cId="3498738774" sldId="2147483999"/>
              <ac:picMk id="12" creationId="{0113DA2E-5746-4B90-DEE7-749DD685E092}"/>
            </ac:picMkLst>
          </pc:pic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67-2343-9184-710AF227FF0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67-2343-9184-710AF227FF0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67-2343-9184-710AF227FF0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40"/>
        <c:overlap val="-27"/>
        <c:axId val="309325280"/>
        <c:axId val="283506768"/>
      </c:barChart>
      <c:catAx>
        <c:axId val="309325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3506768"/>
        <c:crosses val="autoZero"/>
        <c:auto val="1"/>
        <c:lblAlgn val="ctr"/>
        <c:lblOffset val="100"/>
        <c:noMultiLvlLbl val="0"/>
      </c:catAx>
      <c:valAx>
        <c:axId val="283506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325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281427030773237"/>
          <c:y val="0.94864255249343832"/>
          <c:w val="0.31437133632899733"/>
          <c:h val="5.13574475065616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173535872904301E-2"/>
          <c:y val="0.10156243223656296"/>
          <c:w val="0.93463560548000768"/>
          <c:h val="0.7519554163413252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F5-4DDC-95D5-07C208F7115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F5-4DDC-95D5-07C208F7115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9F5-4DDC-95D5-07C208F7115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4.5410176363304912E-17"/>
                  <c:y val="3.993208987472464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53A-4E18-A828-537FC44E37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1</c:v>
                </c:pt>
                <c:pt idx="2">
                  <c:v>5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9F5-4DDC-95D5-07C208F7115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9"/>
        <c:overlap val="100"/>
        <c:axId val="309325280"/>
        <c:axId val="283506768"/>
      </c:barChart>
      <c:catAx>
        <c:axId val="309325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3506768"/>
        <c:crosses val="autoZero"/>
        <c:auto val="1"/>
        <c:lblAlgn val="ctr"/>
        <c:lblOffset val="100"/>
        <c:noMultiLvlLbl val="0"/>
      </c:catAx>
      <c:valAx>
        <c:axId val="283506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325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865930065193465"/>
          <c:y val="0.11285032518031231"/>
          <c:w val="0.74268161036322067"/>
          <c:h val="0.7901168874656111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43-4798-A31A-970C07F8FF5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543-4798-A31A-970C07F8FF5F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43-4798-A31A-970C07F8FF5F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543-4798-A31A-970C07F8FF5F}"/>
              </c:ext>
            </c:extLst>
          </c:dPt>
          <c:dLbls>
            <c:dLbl>
              <c:idx val="0"/>
              <c:layout>
                <c:manualLayout>
                  <c:x val="-0.24781432562865124"/>
                  <c:y val="-6.630453703155332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543-4798-A31A-970C07F8FF5F}"/>
                </c:ext>
              </c:extLst>
            </c:dLbl>
            <c:dLbl>
              <c:idx val="1"/>
              <c:layout>
                <c:manualLayout>
                  <c:x val="0.17816484632969265"/>
                  <c:y val="-8.41541562527374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543-4798-A31A-970C07F8FF5F}"/>
                </c:ext>
              </c:extLst>
            </c:dLbl>
            <c:dLbl>
              <c:idx val="2"/>
              <c:layout>
                <c:manualLayout>
                  <c:x val="0.12856796630259928"/>
                  <c:y val="0.115454830212888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543-4798-A31A-970C07F8FF5F}"/>
                </c:ext>
              </c:extLst>
            </c:dLbl>
            <c:dLbl>
              <c:idx val="3"/>
              <c:layout>
                <c:manualLayout>
                  <c:x val="6.292111167555664E-2"/>
                  <c:y val="0.136696656230781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543-4798-A31A-970C07F8F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43-4798-A31A-970C07F8FF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865930065193465"/>
          <c:y val="0.11285032518031231"/>
          <c:w val="0.74268161036322067"/>
          <c:h val="0.7901168874656111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43-4798-A31A-970C07F8FF5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543-4798-A31A-970C07F8FF5F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43-4798-A31A-970C07F8FF5F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543-4798-A31A-970C07F8FF5F}"/>
              </c:ext>
            </c:extLst>
          </c:dPt>
          <c:dLbls>
            <c:dLbl>
              <c:idx val="0"/>
              <c:layout>
                <c:manualLayout>
                  <c:x val="-1.6475929979167175E-2"/>
                  <c:y val="-3.003508628778915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543-4798-A31A-970C07F8FF5F}"/>
                </c:ext>
              </c:extLst>
            </c:dLbl>
            <c:dLbl>
              <c:idx val="1"/>
              <c:layout>
                <c:manualLayout>
                  <c:x val="7.7050143759569189E-3"/>
                  <c:y val="-6.434050018359104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543-4798-A31A-970C07F8FF5F}"/>
                </c:ext>
              </c:extLst>
            </c:dLbl>
            <c:dLbl>
              <c:idx val="2"/>
              <c:layout>
                <c:manualLayout>
                  <c:x val="4.3757747629333283E-3"/>
                  <c:y val="1.4652604952878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543-4798-A31A-970C07F8FF5F}"/>
                </c:ext>
              </c:extLst>
            </c:dLbl>
            <c:dLbl>
              <c:idx val="3"/>
              <c:layout>
                <c:manualLayout>
                  <c:x val="6.9129226382733128E-3"/>
                  <c:y val="-5.790461425482460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543-4798-A31A-970C07F8F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43-4798-A31A-970C07F8FF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865933574346544"/>
          <c:y val="9.459674683521703E-2"/>
          <c:w val="0.74268161036322067"/>
          <c:h val="0.7901168874656111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43-4798-A31A-970C07F8FF5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543-4798-A31A-970C07F8FF5F}"/>
              </c:ext>
            </c:extLst>
          </c:dPt>
          <c:dPt>
            <c:idx val="2"/>
            <c:bubble3D val="0"/>
            <c:spPr>
              <a:solidFill>
                <a:srgbClr val="13322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43-4798-A31A-970C07F8FF5F}"/>
              </c:ext>
            </c:extLst>
          </c:dPt>
          <c:dPt>
            <c:idx val="3"/>
            <c:bubble3D val="0"/>
            <c:spPr>
              <a:solidFill>
                <a:srgbClr val="9AB9A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543-4798-A31A-970C07F8FF5F}"/>
              </c:ext>
            </c:extLst>
          </c:dPt>
          <c:dPt>
            <c:idx val="4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5D4-4A2F-B38A-261C47A1A8B3}"/>
              </c:ext>
            </c:extLst>
          </c:dPt>
          <c:dPt>
            <c:idx val="5"/>
            <c:bubble3D val="0"/>
            <c:spPr>
              <a:solidFill>
                <a:srgbClr val="507F7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5D4-4A2F-B38A-261C47A1A8B3}"/>
              </c:ext>
            </c:extLst>
          </c:dPt>
          <c:dPt>
            <c:idx val="6"/>
            <c:bubble3D val="0"/>
            <c:spPr>
              <a:solidFill>
                <a:srgbClr val="9E9E9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5D4-4A2F-B38A-261C47A1A8B3}"/>
              </c:ext>
            </c:extLst>
          </c:dPt>
          <c:dLbls>
            <c:dLbl>
              <c:idx val="0"/>
              <c:layout>
                <c:manualLayout>
                  <c:x val="-0.17759632674756567"/>
                  <c:y val="0.1060310318353062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543-4798-A31A-970C07F8FF5F}"/>
                </c:ext>
              </c:extLst>
            </c:dLbl>
            <c:dLbl>
              <c:idx val="1"/>
              <c:layout>
                <c:manualLayout>
                  <c:x val="-7.7173485531039684E-2"/>
                  <c:y val="-0.1022948321935948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543-4798-A31A-970C07F8FF5F}"/>
                </c:ext>
              </c:extLst>
            </c:dLbl>
            <c:dLbl>
              <c:idx val="2"/>
              <c:layout>
                <c:manualLayout>
                  <c:x val="2.9624268195680609E-2"/>
                  <c:y val="-0.109553686741538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543-4798-A31A-970C07F8FF5F}"/>
                </c:ext>
              </c:extLst>
            </c:dLbl>
            <c:dLbl>
              <c:idx val="3"/>
              <c:layout>
                <c:manualLayout>
                  <c:x val="6.2921034874033527E-2"/>
                  <c:y val="-8.69143737985132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543-4798-A31A-970C07F8F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th Qtr</c:v>
                </c:pt>
                <c:pt idx="5">
                  <c:v>6th Qtr</c:v>
                </c:pt>
                <c:pt idx="6">
                  <c:v>7th Qtr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8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43-4798-A31A-970C07F8FF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FA-4BE4-B145-ECC421F68A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A-4BE4-B145-ECC421F68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26872528"/>
        <c:axId val="75085414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4FA-4BE4-B145-ECC421F68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6872528"/>
        <c:axId val="750854144"/>
      </c:lineChart>
      <c:catAx>
        <c:axId val="826872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0854144"/>
        <c:crosses val="autoZero"/>
        <c:auto val="1"/>
        <c:lblAlgn val="ctr"/>
        <c:lblOffset val="100"/>
        <c:noMultiLvlLbl val="0"/>
      </c:catAx>
      <c:valAx>
        <c:axId val="750854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6872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0" cap="none" dirty="0"/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64-4371-B7A7-6489650F85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64-4371-B7A7-6489650F85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13322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64-4371-B7A7-6489650F853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8"/>
        <c:overlap val="-61"/>
        <c:axId val="608260032"/>
        <c:axId val="578321264"/>
      </c:barChart>
      <c:catAx>
        <c:axId val="6082600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8321264"/>
        <c:crosses val="autoZero"/>
        <c:auto val="1"/>
        <c:lblAlgn val="ctr"/>
        <c:lblOffset val="100"/>
        <c:noMultiLvlLbl val="0"/>
      </c:catAx>
      <c:valAx>
        <c:axId val="5783212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0826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C0-4A4E-955A-05ABBD38B34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C0-4A4E-955A-05ABBD38B34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C0-4A4E-955A-05ABBD38B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8260032"/>
        <c:axId val="578321264"/>
      </c:barChart>
      <c:catAx>
        <c:axId val="60826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8321264"/>
        <c:crosses val="autoZero"/>
        <c:auto val="1"/>
        <c:lblAlgn val="ctr"/>
        <c:lblOffset val="100"/>
        <c:noMultiLvlLbl val="0"/>
      </c:catAx>
      <c:valAx>
        <c:axId val="578321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826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319250145186"/>
          <c:y val="0.121554799596034"/>
          <c:w val="0.85487530344277696"/>
          <c:h val="0.640229231870780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6</c:v>
                </c:pt>
                <c:pt idx="2">
                  <c:v>2015</c:v>
                </c:pt>
                <c:pt idx="3">
                  <c:v>2014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35</c:v>
                </c:pt>
                <c:pt idx="1">
                  <c:v>60</c:v>
                </c:pt>
                <c:pt idx="2">
                  <c:v>20</c:v>
                </c:pt>
                <c:pt idx="3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50-2740-959C-4732FE340D0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B50-2740-959C-4732FE340D0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B50-2740-959C-4732FE340D0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B50-2740-959C-4732FE340D0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B50-2740-959C-4732FE340D0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6</c:v>
                </c:pt>
                <c:pt idx="2">
                  <c:v>2015</c:v>
                </c:pt>
                <c:pt idx="3">
                  <c:v>2014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45</c:v>
                </c:pt>
                <c:pt idx="1">
                  <c:v>45</c:v>
                </c:pt>
                <c:pt idx="2">
                  <c:v>85</c:v>
                </c:pt>
                <c:pt idx="3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B50-2740-959C-4732FE340D0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83"/>
        <c:axId val="1794295776"/>
        <c:axId val="1794298528"/>
      </c:barChart>
      <c:catAx>
        <c:axId val="179429577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4298528"/>
        <c:crosses val="autoZero"/>
        <c:auto val="1"/>
        <c:lblAlgn val="ctr"/>
        <c:lblOffset val="100"/>
        <c:noMultiLvlLbl val="1"/>
      </c:catAx>
      <c:valAx>
        <c:axId val="179429852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4295776"/>
        <c:crosses val="autoZero"/>
        <c:crossBetween val="between"/>
        <c:majorUnit val="22.5"/>
        <c:minorUnit val="11.25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en-US"/>
    </a:p>
  </c:txPr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 rot="0"/>
          <a:lstStyle/>
          <a:p>
            <a:pPr>
              <a:defRPr sz="1050" b="1" i="0" u="none" strike="noStrike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defRPr>
            </a:pPr>
            <a:r>
              <a:rPr lang="en-US" sz="1050" b="1" i="0" u="none" strike="noStrike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eries 1</a:t>
            </a:r>
          </a:p>
        </c:rich>
      </c:tx>
      <c:layout>
        <c:manualLayout>
          <c:xMode val="edge"/>
          <c:yMode val="edge"/>
          <c:x val="0.42584796843105699"/>
          <c:y val="8.6889804132775805E-2"/>
          <c:w val="5.43118E-2"/>
          <c:h val="6.99901E-2"/>
        </c:manualLayout>
      </c:layout>
      <c:overlay val="1"/>
      <c:spPr>
        <a:noFill/>
        <a:effectLst/>
      </c:spPr>
    </c:title>
    <c:autoTitleDeleted val="0"/>
    <c:plotArea>
      <c:layout>
        <c:manualLayout>
          <c:layoutTarget val="inner"/>
          <c:xMode val="edge"/>
          <c:yMode val="edge"/>
          <c:x val="1.6883224459042001E-2"/>
          <c:y val="0.12940618459775899"/>
          <c:w val="0.97811700000000001"/>
          <c:h val="0.672203147517740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12700" cap="flat">
              <a:noFill/>
              <a:miter lim="400000"/>
            </a:ln>
            <a:effectLst/>
          </c:spPr>
          <c:invertIfNegative val="0"/>
          <c:dPt>
            <c:idx val="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68CE-42DE-8DBB-143D7940EC1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68CE-42DE-8DBB-143D7940EC1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68CE-42DE-8DBB-143D7940EC1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68CE-42DE-8DBB-143D7940EC1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68CE-42DE-8DBB-143D7940EC1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68CE-42DE-8DBB-143D7940EC1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pPr>
                      <a:defRPr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defRPr>
                    </a:pPr>
                    <a:fld id="{AC35BAAA-4BAC-4CD0-9824-C480B6CBF977}" type="VALUE">
                      <a:rPr lang="en-US" sz="12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 sz="12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CE-42DE-8DBB-143D7940EC1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pPr>
                      <a:defRPr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defRPr>
                    </a:pPr>
                    <a:fld id="{4CD08BDD-6F3A-4EBC-BCDC-60398E4D3764}" type="VALUE">
                      <a:rPr lang="en-US" sz="12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 sz="12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8CE-42DE-8DBB-143D7940EC1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>
                      <a:defRPr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defRPr>
                    </a:pPr>
                    <a:fld id="{952840EE-CB66-4711-B0DB-BC07FFF04169}" type="VALUE">
                      <a:rPr lang="en-US" sz="12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 sz="12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8CE-42DE-8DBB-143D7940EC1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pPr>
                      <a:defRPr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defRPr>
                    </a:pPr>
                    <a:fld id="{43DAB17F-29FC-4743-AEBF-183CF0A52441}" type="VALUE">
                      <a:rPr lang="en-US" sz="12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 sz="12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68CE-42DE-8DBB-143D7940EC1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pPr>
                      <a:defRPr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defRPr>
                    </a:pPr>
                    <a:fld id="{6AED6D73-AD8F-477C-9B4C-808545C56B49}" type="VALUE">
                      <a:rPr lang="en-US" sz="12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 sz="12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68CE-42DE-8DBB-143D7940EC1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pPr>
                      <a:defRPr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defRPr>
                    </a:pPr>
                    <a:r>
                      <a:rPr lang="en-US" sz="12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95</a:t>
                    </a:r>
                    <a:endParaRPr lang="en-US" sz="1200" b="1"/>
                  </a:p>
                </c:rich>
              </c:tx>
              <c:numFmt formatCode="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68CE-42DE-8DBB-143D7940EC12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Lit>
              <c:formatCode>General</c:formatCode>
              <c:ptCount val="6"/>
              <c:pt idx="0">
                <c:v>45</c:v>
              </c:pt>
              <c:pt idx="1">
                <c:v>60</c:v>
              </c:pt>
              <c:pt idx="2">
                <c:v>25</c:v>
              </c:pt>
              <c:pt idx="3">
                <c:v>30</c:v>
              </c:pt>
              <c:pt idx="4">
                <c:v>60</c:v>
              </c:pt>
              <c:pt idx="5">
                <c:v>80</c:v>
              </c:pt>
            </c:numLit>
          </c:val>
          <c:extLst>
            <c:ext xmlns:c15="http://schemas.microsoft.com/office/drawing/2012/chart" uri="{02D57815-91ED-43cb-92C2-25804820EDAC}">
              <c15:filteredSeriesTitle>
                <c15:tx>
                  <c:v>Series 1</c:v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Lit>
                    <c:ptCount val="6"/>
                    <c:pt idx="0">
                      <c:v>HD</c:v>
                    </c:pt>
                    <c:pt idx="1">
                      <c:v>ML</c:v>
                    </c:pt>
                    <c:pt idx="2">
                      <c:v>NH</c:v>
                    </c:pt>
                    <c:pt idx="3">
                      <c:v>PO</c:v>
                    </c:pt>
                    <c:pt idx="4">
                      <c:v>GD</c:v>
                    </c:pt>
                    <c:pt idx="5">
                      <c:v>TY</c:v>
                    </c:pt>
                  </c:strLit>
                </c15:cat>
              </c15:filteredCategoryTitle>
            </c:ext>
            <c:ext xmlns:c16="http://schemas.microsoft.com/office/drawing/2014/chart" uri="{C3380CC4-5D6E-409C-BE32-E72D297353CC}">
              <c16:uniqueId val="{0000000C-68CE-42DE-8DBB-143D7940E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"/>
        <c:axId val="1794248992"/>
        <c:axId val="1794251888"/>
      </c:barChart>
      <c:catAx>
        <c:axId val="1794248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 cap="flat">
            <a:solidFill>
              <a:srgbClr val="888888"/>
            </a:solidFill>
            <a:prstDash val="solid"/>
            <a:miter lim="800000"/>
          </a:ln>
        </c:spPr>
        <c:txPr>
          <a:bodyPr rot="0"/>
          <a:lstStyle/>
          <a:p>
            <a:pPr>
              <a:defRPr sz="900" b="0" i="0" u="none" strike="noStrike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pPr>
            <a:endParaRPr lang="en-US"/>
          </a:p>
        </c:txPr>
        <c:crossAx val="1794251888"/>
        <c:crosses val="autoZero"/>
        <c:auto val="1"/>
        <c:lblAlgn val="ctr"/>
        <c:lblOffset val="100"/>
        <c:noMultiLvlLbl val="1"/>
      </c:catAx>
      <c:valAx>
        <c:axId val="179425188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one"/>
        <c:spPr>
          <a:ln w="12700" cap="flat">
            <a:noFill/>
            <a:prstDash val="solid"/>
            <a:miter lim="800000"/>
          </a:ln>
        </c:spPr>
        <c:txPr>
          <a:bodyPr rot="0"/>
          <a:lstStyle/>
          <a:p>
            <a:pPr>
              <a:defRPr sz="1000" b="0" i="0" u="none" strike="noStrike">
                <a:solidFill>
                  <a:srgbClr val="000000"/>
                </a:solidFill>
                <a:latin typeface="Calibri"/>
              </a:defRPr>
            </a:pPr>
            <a:endParaRPr lang="en-US"/>
          </a:p>
        </c:txPr>
        <c:crossAx val="1794248992"/>
        <c:crosses val="autoZero"/>
        <c:crossBetween val="between"/>
        <c:majorUnit val="20"/>
        <c:minorUnit val="10"/>
      </c:valAx>
      <c:spPr>
        <a:noFill/>
        <a:ln w="12700" cap="flat">
          <a:noFill/>
          <a:miter lim="400000"/>
        </a:ln>
        <a:effectLst/>
      </c:spPr>
    </c:plotArea>
    <c:legend>
      <c:legendPos val="b"/>
      <c:overlay val="0"/>
      <c:txPr>
        <a:bodyPr/>
        <a:lstStyle/>
        <a:p>
          <a:pPr rtl="0">
            <a:defRPr>
              <a:solidFill>
                <a:schemeClr val="tx2"/>
              </a:solidFill>
            </a:defRPr>
          </a:pPr>
          <a:endParaRPr lang="en-US"/>
        </a:p>
      </c:txPr>
    </c:legend>
    <c:plotVisOnly val="1"/>
    <c:dispBlanksAs val="gap"/>
    <c:showDLblsOverMax val="1"/>
  </c:chart>
  <c:spPr>
    <a:noFill/>
    <a:ln w="9525">
      <a:noFill/>
    </a:ln>
    <a:effectLst/>
  </c:spPr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196720890914203E-2"/>
          <c:y val="0.18374036313802"/>
          <c:w val="0.92145141645356798"/>
          <c:h val="0.634699154892812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89F9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CE8-4218-BCC6-36BE1B45DDE9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E8-4218-BCC6-36BE1B45DDE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4E42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E8-4218-BCC6-36BE1B45DDE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2189E8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E8-4218-BCC6-36BE1B45DD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9"/>
        <c:overlap val="-14"/>
        <c:axId val="1794352224"/>
        <c:axId val="1794354976"/>
      </c:barChart>
      <c:catAx>
        <c:axId val="1794352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pPr>
            <a:endParaRPr lang="en-US"/>
          </a:p>
        </c:txPr>
        <c:crossAx val="1794354976"/>
        <c:crosses val="autoZero"/>
        <c:auto val="1"/>
        <c:lblAlgn val="ctr"/>
        <c:lblOffset val="100"/>
        <c:noMultiLvlLbl val="0"/>
      </c:catAx>
      <c:valAx>
        <c:axId val="179435497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1794352224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9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309053908475001"/>
          <c:y val="0.16442684482458"/>
          <c:w val="0.61524919203635398"/>
          <c:h val="0.772281516422402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hart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5E-4200-A409-D2008037873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EB5-4C0D-A804-7940D41EDA68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55E-4200-A409-D20080378735}"/>
              </c:ext>
            </c:extLst>
          </c:dPt>
          <c:dPt>
            <c:idx val="3"/>
            <c:bubble3D val="0"/>
            <c:spPr>
              <a:solidFill>
                <a:srgbClr val="13322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55E-4200-A409-D20080378735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B5-4C0D-A804-7940D41ED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3200" b="1" kern="1200">
          <a:solidFill>
            <a:schemeClr val="tx2"/>
          </a:solidFill>
          <a:latin typeface="+mj-lt"/>
          <a:ea typeface="Open Sans Extrabold" panose="020B0906030804020204" pitchFamily="34" charset="0"/>
          <a:cs typeface="Open Sans Extrabold" panose="020B0906030804020204" pitchFamily="34" charset="0"/>
        </a:defRPr>
      </a:pPr>
      <a:endParaRPr lang="en-US"/>
    </a:p>
  </c:txPr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309053908475001"/>
          <c:y val="0.16442684482458"/>
          <c:w val="0.61524919203635398"/>
          <c:h val="0.772281516422402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hart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5E-4200-A409-D2008037873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EB5-4C0D-A804-7940D41EDA68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55E-4200-A409-D20080378735}"/>
              </c:ext>
            </c:extLst>
          </c:dPt>
          <c:dPt>
            <c:idx val="3"/>
            <c:bubble3D val="0"/>
            <c:spPr>
              <a:solidFill>
                <a:srgbClr val="13322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55E-4200-A409-D20080378735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B5-4C0D-A804-7940D41ED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309053908475001"/>
          <c:y val="0.16442684482458"/>
          <c:w val="0.61524919203635398"/>
          <c:h val="0.772281516422402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hart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5E-4200-A409-D2008037873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EB5-4C0D-A804-7940D41EDA68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55E-4200-A409-D20080378735}"/>
              </c:ext>
            </c:extLst>
          </c:dPt>
          <c:dPt>
            <c:idx val="3"/>
            <c:bubble3D val="0"/>
            <c:spPr>
              <a:solidFill>
                <a:srgbClr val="13322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55E-4200-A409-D20080378735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B5-4C0D-A804-7940D41ED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309053908475001"/>
          <c:y val="0.16442684482458"/>
          <c:w val="0.61524919203635398"/>
          <c:h val="0.772281516422402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hart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5E-4200-A409-D2008037873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EB5-4C0D-A804-7940D41EDA68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55E-4200-A409-D20080378735}"/>
              </c:ext>
            </c:extLst>
          </c:dPt>
          <c:dPt>
            <c:idx val="3"/>
            <c:bubble3D val="0"/>
            <c:spPr>
              <a:solidFill>
                <a:srgbClr val="13322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55E-4200-A409-D20080378735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B5-4C0D-A804-7940D41ED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title pos="t" align="ctr" overlay="0">
      <cx:tx>
        <cx:txData>
          <cx:v>Chart Title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600"/>
          </a:pPr>
          <a:r>
            <a:rPr lang="en-US" sz="1600" b="0" i="0" u="none" strike="noStrike" baseline="0">
              <a:solidFill>
                <a:srgbClr val="000000">
                  <a:lumMod val="65000"/>
                  <a:lumOff val="35000"/>
                </a:srgbClr>
              </a:solidFill>
              <a:latin typeface="Sora" panose="020B0604020202020204"/>
            </a:rPr>
            <a:t>Chart Title</a:t>
          </a:r>
        </a:p>
      </cx:txPr>
    </cx:title>
    <cx:plotArea>
      <cx:plotAreaRegion>
        <cx:series layoutId="waterfall" uniqueId="{C0BB513F-B946-4F1A-BED8-02D968DCEE52}">
          <cx:tx>
            <cx:txData>
              <cx:f>Sheet1!$B$1</cx:f>
              <cx:v>Series1</cx:v>
            </cx:txData>
          </cx:tx>
          <cx:dataPt idx="0">
            <cx:spPr>
              <a:solidFill>
                <a:srgbClr val="004E42"/>
              </a:solidFill>
            </cx:spPr>
          </cx:dataPt>
          <cx:dataPt idx="1">
            <cx:spPr>
              <a:solidFill>
                <a:srgbClr val="789F90"/>
              </a:solidFill>
            </cx:spPr>
          </cx:dataPt>
          <cx:dataPt idx="2">
            <cx:spPr>
              <a:solidFill>
                <a:srgbClr val="789F90"/>
              </a:solidFill>
            </cx:spPr>
          </cx:dataPt>
          <cx:dataPt idx="3">
            <cx:spPr>
              <a:solidFill>
                <a:srgbClr val="13322A"/>
              </a:solidFill>
            </cx:spPr>
          </cx:dataPt>
          <cx:dataPt idx="4">
            <cx:spPr>
              <a:solidFill>
                <a:srgbClr val="004E42"/>
              </a:solidFill>
            </cx:spPr>
          </cx:dataPt>
          <cx:dataPt idx="5">
            <cx:spPr>
              <a:solidFill>
                <a:srgbClr val="13322A"/>
              </a:solidFill>
            </cx:spPr>
          </cx:dataPt>
          <cx:dataPt idx="6">
            <cx:spPr>
              <a:solidFill>
                <a:srgbClr val="789F90"/>
              </a:solidFill>
            </cx:spPr>
          </cx:dataPt>
          <cx:dataPt idx="7">
            <cx:spPr>
              <a:solidFill>
                <a:srgbClr val="004E42"/>
              </a:solidFill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050" b="1"/>
                </a:pPr>
                <a:endParaRPr lang="en-US" sz="1050" b="1" i="0" u="none" strike="noStrike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Sora" panose="020B0604020202020204"/>
                </a:endParaRPr>
              </a:p>
            </cx:txPr>
            <cx:visibility seriesName="0" categoryName="0" value="1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700" b="1"/>
            </a:pPr>
            <a:endParaRPr lang="en-US" sz="700" b="1" i="0" u="none" strike="noStrike" baseline="0">
              <a:solidFill>
                <a:srgbClr val="000000">
                  <a:lumMod val="65000"/>
                  <a:lumOff val="35000"/>
                </a:srgbClr>
              </a:solidFill>
              <a:latin typeface="Sora" panose="020B0604020202020204"/>
            </a:endParaRPr>
          </a:p>
        </cx:txPr>
      </cx:axis>
      <cx:axis id="1">
        <cx:valScaling/>
        <cx:majorGridlines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900"/>
            </a:pPr>
            <a:endParaRPr lang="en-US" sz="900" b="0" i="0" u="none" strike="noStrike" baseline="0">
              <a:solidFill>
                <a:srgbClr val="000000">
                  <a:lumMod val="65000"/>
                  <a:lumOff val="35000"/>
                </a:srgbClr>
              </a:solidFill>
              <a:latin typeface="Sora" panose="020B0604020202020204"/>
            </a:endParaRPr>
          </a:p>
        </cx:txPr>
      </cx:axis>
    </cx:plotArea>
    <cx:legend pos="b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000"/>
          </a:pPr>
          <a:endParaRPr lang="en-US" sz="1000" b="0" i="0" u="none" strike="noStrike" baseline="0">
            <a:solidFill>
              <a:srgbClr val="000000">
                <a:lumMod val="65000"/>
                <a:lumOff val="35000"/>
              </a:srgbClr>
            </a:solidFill>
            <a:latin typeface="Sora" panose="020B0604020202020204"/>
          </a:endParaRPr>
        </a:p>
      </cx:txPr>
    </cx:legend>
  </cx:chart>
  <cx:fmtOvrs>
    <cx:fmtOvr idx="2">
      <cx:spPr>
        <a:solidFill>
          <a:schemeClr val="tx2"/>
        </a:solidFill>
      </cx:spPr>
    </cx:fmtOvr>
    <cx:fmtOvr idx="0">
      <cx:spPr>
        <a:solidFill>
          <a:schemeClr val="accent2"/>
        </a:solidFill>
      </cx:spPr>
    </cx:fmtOvr>
    <cx:fmtOvr idx="1">
      <cx:spPr>
        <a:solidFill>
          <a:schemeClr val="tx1">
            <a:lumMod val="50000"/>
            <a:lumOff val="50000"/>
          </a:schemeClr>
        </a:solidFill>
      </cx:spPr>
    </cx:fmtOvr>
  </cx:fmtOvrs>
</cx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5D105AE-6B53-F55A-850F-DC559E484C3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ora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CE6FBD-593C-F8E3-1FF1-1E3D2936B71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5DF375-3882-8740-962C-541806500AC4}" type="datetimeFigureOut">
              <a:rPr lang="en-US" smtClean="0">
                <a:latin typeface="Sora" pitchFamily="2" charset="0"/>
              </a:rPr>
              <a:t>7/18/2025</a:t>
            </a:fld>
            <a:endParaRPr lang="en-US">
              <a:latin typeface="Sora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F0E9B5-496D-5291-D4B4-9488C08085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Sora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964150-32B0-9FA9-56D1-364EF3E7312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2F482C-202B-7B41-979A-5E8411256817}" type="slidenum">
              <a:rPr lang="en-US" smtClean="0">
                <a:latin typeface="Sora" pitchFamily="2" charset="0"/>
              </a:rPr>
              <a:t>‹#›</a:t>
            </a:fld>
            <a:endParaRPr lang="en-US">
              <a:latin typeface="So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28451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ora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ora" pitchFamily="2" charset="0"/>
              </a:defRPr>
            </a:lvl1pPr>
          </a:lstStyle>
          <a:p>
            <a:fld id="{7D59DD4F-EEA3-1646-A7CA-AA47C9D78B4B}" type="datetimeFigureOut">
              <a:rPr lang="en-US" smtClean="0"/>
              <a:pPr/>
              <a:t>7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ora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ora" pitchFamily="2" charset="0"/>
              </a:defRPr>
            </a:lvl1pPr>
          </a:lstStyle>
          <a:p>
            <a:fld id="{90404CAC-D579-A24B-BD76-8B461DFFD43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253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63" rtl="0" eaLnBrk="1" latinLnBrk="0" hangingPunct="1">
      <a:defRPr sz="1200" b="0" i="0" kern="1200">
        <a:solidFill>
          <a:schemeClr val="tx1"/>
        </a:solidFill>
        <a:latin typeface="Sora" pitchFamily="2" charset="0"/>
        <a:ea typeface="+mn-ea"/>
        <a:cs typeface="+mn-cs"/>
      </a:defRPr>
    </a:lvl1pPr>
    <a:lvl2pPr marL="457182" algn="l" defTabSz="914363" rtl="0" eaLnBrk="1" latinLnBrk="0" hangingPunct="1">
      <a:defRPr sz="1200" b="0" i="0" kern="1200">
        <a:solidFill>
          <a:schemeClr val="tx1"/>
        </a:solidFill>
        <a:latin typeface="Sora" pitchFamily="2" charset="0"/>
        <a:ea typeface="+mn-ea"/>
        <a:cs typeface="+mn-cs"/>
      </a:defRPr>
    </a:lvl2pPr>
    <a:lvl3pPr marL="914363" algn="l" defTabSz="914363" rtl="0" eaLnBrk="1" latinLnBrk="0" hangingPunct="1">
      <a:defRPr sz="1200" b="0" i="0" kern="1200">
        <a:solidFill>
          <a:schemeClr val="tx1"/>
        </a:solidFill>
        <a:latin typeface="Sora" pitchFamily="2" charset="0"/>
        <a:ea typeface="+mn-ea"/>
        <a:cs typeface="+mn-cs"/>
      </a:defRPr>
    </a:lvl3pPr>
    <a:lvl4pPr marL="1371545" algn="l" defTabSz="914363" rtl="0" eaLnBrk="1" latinLnBrk="0" hangingPunct="1">
      <a:defRPr sz="1200" b="0" i="0" kern="1200">
        <a:solidFill>
          <a:schemeClr val="tx1"/>
        </a:solidFill>
        <a:latin typeface="Sora" pitchFamily="2" charset="0"/>
        <a:ea typeface="+mn-ea"/>
        <a:cs typeface="+mn-cs"/>
      </a:defRPr>
    </a:lvl4pPr>
    <a:lvl5pPr marL="1828727" algn="l" defTabSz="914363" rtl="0" eaLnBrk="1" latinLnBrk="0" hangingPunct="1">
      <a:defRPr sz="1200" b="0" i="0" kern="1200">
        <a:solidFill>
          <a:schemeClr val="tx1"/>
        </a:solidFill>
        <a:latin typeface="Sora" pitchFamily="2" charset="0"/>
        <a:ea typeface="+mn-ea"/>
        <a:cs typeface="+mn-cs"/>
      </a:defRPr>
    </a:lvl5pPr>
    <a:lvl6pPr marL="2285909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DF2175-7DAB-6E40-A633-1A053EC371F7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880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D9155-D23A-8A45-A159-1007355CFCC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676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DF2175-7DAB-6E40-A633-1A053EC371F7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651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subhead -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AD9C8-DB6E-6E6E-A223-A118CE5C0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>
                <a:latin typeface="+mj-lt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2D2413B-E954-AFC0-97C9-D11B46E2E7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371600"/>
            <a:ext cx="10972799" cy="502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2000" dirty="0"/>
            </a:lvl1pPr>
          </a:lstStyle>
          <a:p>
            <a:pPr marL="0" lvl="0" indent="0">
              <a:buNone/>
            </a:pPr>
            <a:r>
              <a:rPr lang="en-US" dirty="0"/>
              <a:t>Header Text he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00F7A29-F71E-DDF2-5D7E-D70EB2DB05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9028E6BE-F954-E1DE-A9B1-021A3155A3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C73F2B-2DC0-60C7-17F3-0F0A38312B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1879600"/>
            <a:ext cx="10972800" cy="4368800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74747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sidebar with 4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3AB584A-DCEB-D7BA-EB2F-A5496EE56B6C}"/>
              </a:ext>
            </a:extLst>
          </p:cNvPr>
          <p:cNvSpPr/>
          <p:nvPr userDrawn="1"/>
        </p:nvSpPr>
        <p:spPr>
          <a:xfrm>
            <a:off x="0" y="0"/>
            <a:ext cx="439457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288509-A0CF-5675-56A9-42A47E8F2D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7" y="1371600"/>
            <a:ext cx="3363327" cy="457200"/>
          </a:xfrm>
          <a:prstGeom prst="rect">
            <a:avLst/>
          </a:prstGeom>
          <a:ln w="12700"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FAF3D8-2DCC-475B-A972-19C66BDA21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1828800"/>
            <a:ext cx="3363324" cy="441960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56D23E-BE1A-0C9D-EACD-C5606DF9C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3402842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A5A19F-9F9B-DD43-68AE-620DA0BBFF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29CBC1E6-4A97-629E-F07C-CBC67C683A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8" name="Picture Placeholder 18">
            <a:extLst>
              <a:ext uri="{FF2B5EF4-FFF2-40B4-BE49-F238E27FC236}">
                <a16:creationId xmlns:a16="http://schemas.microsoft.com/office/drawing/2014/main" id="{91248904-6378-EA18-9946-56DFC7A9F19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03800" y="1371600"/>
            <a:ext cx="3124200" cy="20574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Picture Placeholder 18">
            <a:extLst>
              <a:ext uri="{FF2B5EF4-FFF2-40B4-BE49-F238E27FC236}">
                <a16:creationId xmlns:a16="http://schemas.microsoft.com/office/drawing/2014/main" id="{81B5BFCD-A067-4A77-8F7B-CD420C71208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55152" y="1371600"/>
            <a:ext cx="3124200" cy="20574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Picture Placeholder 18">
            <a:extLst>
              <a:ext uri="{FF2B5EF4-FFF2-40B4-BE49-F238E27FC236}">
                <a16:creationId xmlns:a16="http://schemas.microsoft.com/office/drawing/2014/main" id="{A10DF489-8827-5963-8FE3-086C24FB852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03800" y="3797300"/>
            <a:ext cx="3124200" cy="20574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0EC2E5E8-A994-CB6E-3497-FE54BDD2CE0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455152" y="3797300"/>
            <a:ext cx="3124200" cy="20574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E48EF80-694E-C04B-FB9F-4D1DAEEB3D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425608"/>
            <a:ext cx="1223963" cy="32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58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sidebar,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F382280-3EF3-B604-EEA1-A21086908A2A}"/>
              </a:ext>
            </a:extLst>
          </p:cNvPr>
          <p:cNvSpPr/>
          <p:nvPr userDrawn="1"/>
        </p:nvSpPr>
        <p:spPr>
          <a:xfrm>
            <a:off x="4343400" y="0"/>
            <a:ext cx="7848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288509-A0CF-5675-56A9-42A47E8F2D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7" y="1371600"/>
            <a:ext cx="3363327" cy="457200"/>
          </a:xfrm>
          <a:prstGeom prst="rect">
            <a:avLst/>
          </a:prstGeom>
          <a:ln w="12700"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FAF3D8-2DCC-475B-A972-19C66BDA21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1828800"/>
            <a:ext cx="3363324" cy="441960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56D23E-BE1A-0C9D-EACD-C5606DF9C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3402842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A5A19F-9F9B-DD43-68AE-620DA0BBFF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29CBC1E6-4A97-629E-F07C-CBC67C683A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E1DE23-6281-0014-D514-7C9443E227D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3800" y="3822700"/>
            <a:ext cx="3127248" cy="2425700"/>
          </a:xfrm>
        </p:spPr>
        <p:txBody>
          <a:bodyPr tIns="18288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7814719-2811-3884-29AD-518EAF901AD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03800" y="1371600"/>
            <a:ext cx="3124200" cy="24384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D57D66AD-987B-EEDC-D918-F4E1FF341A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455152" y="3822700"/>
            <a:ext cx="3127248" cy="2425700"/>
          </a:xfrm>
        </p:spPr>
        <p:txBody>
          <a:bodyPr tIns="18288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249A8922-EFDC-167B-61D8-EA5078FAFB7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55152" y="1371600"/>
            <a:ext cx="3124200" cy="24384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206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sidebar with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76E58C1-561F-6E5E-789F-B0D26AB9DE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06900" y="0"/>
            <a:ext cx="77851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288509-A0CF-5675-56A9-42A47E8F2D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7" y="1371600"/>
            <a:ext cx="3363327" cy="457200"/>
          </a:xfrm>
          <a:prstGeom prst="rect">
            <a:avLst/>
          </a:prstGeom>
          <a:ln w="12700"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FAF3D8-2DCC-475B-A972-19C66BDA21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1828800"/>
            <a:ext cx="3363324" cy="441960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sz="14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56D23E-BE1A-0C9D-EACD-C5606DF9C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3402842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A5A19F-9F9B-DD43-68AE-620DA0BBFF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29CBC1E6-4A97-629E-F07C-CBC67C683A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514329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4 column t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288509-A0CF-5675-56A9-42A47E8F2D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1371600"/>
            <a:ext cx="2438399" cy="457200"/>
          </a:xfrm>
          <a:prstGeom prst="rect">
            <a:avLst/>
          </a:prstGeom>
          <a:ln w="12700">
            <a:noFill/>
          </a:ln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7E3789F-55AF-54BA-940A-DB14546A20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54884" y="1371600"/>
            <a:ext cx="2438399" cy="457200"/>
          </a:xfrm>
          <a:prstGeom prst="rect">
            <a:avLst/>
          </a:prstGeom>
          <a:ln w="12700">
            <a:noFill/>
          </a:ln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ADBCC25-FB69-B225-7242-F0A219489E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58027" y="1371600"/>
            <a:ext cx="2438399" cy="457200"/>
          </a:xfrm>
          <a:prstGeom prst="rect">
            <a:avLst/>
          </a:prstGeom>
          <a:ln w="12700">
            <a:noFill/>
          </a:ln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6836161-6C94-31E1-98D2-563C0C6880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6455" y="1371600"/>
            <a:ext cx="2438399" cy="457200"/>
          </a:xfrm>
          <a:prstGeom prst="rect">
            <a:avLst/>
          </a:prstGeom>
          <a:ln w="12700">
            <a:noFill/>
          </a:ln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00C30A8-CBF7-C620-69A1-34540DE122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9A59F03-64A2-9B53-3392-067C52C4D7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41C11C5-0872-3E80-C6FA-3C18B9AF42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317AF2-CCA4-7823-5A58-9242D2AB74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1828800"/>
            <a:ext cx="2459038" cy="44196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2499E0B-E0D7-3EC7-7A3D-25E6551C8C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64" y="1828800"/>
            <a:ext cx="2459038" cy="44196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C01B310-1244-A29B-D7FD-AFA33F2C9A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0536" y="1828800"/>
            <a:ext cx="2459038" cy="44196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AA27242-42DB-DE3C-B109-8A7CB5F26ED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44000" y="1828800"/>
            <a:ext cx="2459038" cy="44196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327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, 4 column t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288509-A0CF-5675-56A9-42A47E8F2D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1371600"/>
            <a:ext cx="2459039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lIns="91440" tIns="0" rIns="0" bIns="0" anchor="ctr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7E3789F-55AF-54BA-940A-DB14546A20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7425" y="1371600"/>
            <a:ext cx="2455613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lIns="91440" tIns="0" rIns="0" bIns="0" anchor="ctr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ADBCC25-FB69-B225-7242-F0A219489E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53065" y="1371600"/>
            <a:ext cx="2463046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lIns="91440" tIns="0" rIns="0" bIns="0" anchor="ctr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6836161-6C94-31E1-98D2-563C0C6880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2374" y="1371600"/>
            <a:ext cx="2460625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lIns="91440" tIns="0" rIns="0" bIns="0" anchor="ctr" anchorCtr="0"/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00C30A8-CBF7-C620-69A1-34540DE122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9A59F03-64A2-9B53-3392-067C52C4D7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41C11C5-0872-3E80-C6FA-3C18B9AF42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317AF2-CCA4-7823-5A58-9242D2AB74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1828800"/>
            <a:ext cx="2459038" cy="4419600"/>
          </a:xfrm>
          <a:solidFill>
            <a:schemeClr val="bg1"/>
          </a:solidFill>
          <a:ln>
            <a:solidFill>
              <a:schemeClr val="accent2"/>
            </a:solidFill>
            <a:miter lim="800000"/>
          </a:ln>
        </p:spPr>
        <p:txBody>
          <a:bodyPr lIns="91440" tIns="91440" rIns="9144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2499E0B-E0D7-3EC7-7A3D-25E6551C8C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64" y="1828800"/>
            <a:ext cx="2459038" cy="4419600"/>
          </a:xfrm>
          <a:solidFill>
            <a:schemeClr val="bg1"/>
          </a:solidFill>
          <a:ln>
            <a:solidFill>
              <a:schemeClr val="accent2"/>
            </a:solidFill>
            <a:miter lim="800000"/>
          </a:ln>
        </p:spPr>
        <p:txBody>
          <a:bodyPr lIns="91440" tIns="91440" rIns="9144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C01B310-1244-A29B-D7FD-AFA33F2C9A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0536" y="1828800"/>
            <a:ext cx="2459038" cy="4419600"/>
          </a:xfrm>
          <a:solidFill>
            <a:schemeClr val="bg1"/>
          </a:solidFill>
          <a:ln>
            <a:solidFill>
              <a:schemeClr val="accent2"/>
            </a:solidFill>
            <a:miter lim="800000"/>
          </a:ln>
        </p:spPr>
        <p:txBody>
          <a:bodyPr lIns="91440" tIns="91440" rIns="9144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AA27242-42DB-DE3C-B109-8A7CB5F26ED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44000" y="1828800"/>
            <a:ext cx="2459038" cy="4419600"/>
          </a:xfrm>
          <a:solidFill>
            <a:schemeClr val="bg1"/>
          </a:solidFill>
          <a:ln>
            <a:solidFill>
              <a:schemeClr val="accent2"/>
            </a:solidFill>
            <a:miter lim="800000"/>
          </a:ln>
        </p:spPr>
        <p:txBody>
          <a:bodyPr lIns="91440" tIns="91440" rIns="9144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36979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allouts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CAF9B6F5-C650-4610-BC38-D8E331A87F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18763" y="1371600"/>
            <a:ext cx="3358647" cy="244144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182880" tIns="365760" rIns="182880" bIns="18288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609585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4E7EBB98-C3A0-4ED5-B731-A063CA16D1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6676" y="1371600"/>
            <a:ext cx="3358647" cy="244144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182880" tIns="365760" rIns="182880" bIns="18288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609585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48530792-9F58-47C5-ACA6-1E2D3A3438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713" y="1371600"/>
            <a:ext cx="3355848" cy="244144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182880" tIns="365760" rIns="182880" bIns="18288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609585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3C0148-0DE0-4DF5-B987-522A452407F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" y="3806952"/>
            <a:ext cx="3358704" cy="244144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26367AA3-5DE1-4D5D-B21E-E9581768B64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416676" y="3806952"/>
            <a:ext cx="3358647" cy="244144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8E83340-7DDE-4AC9-9F65-8CEC94B79C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18651" y="3806952"/>
            <a:ext cx="3358647" cy="244144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06EC19-59C4-6E90-F1EC-2C363FFE8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DD7D2E6-88F5-604D-5B52-09A6CF070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39F8694A-65BC-C6BA-D9E3-BACAEE34CA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8938749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A7B0C0EC-45C0-93F7-6497-A2771496D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B7E46F-FBD0-8966-8707-E0BE9267CB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1A4A86FF-514F-DBBF-D2FA-A496C8F64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0607CE-49C8-851F-B2BD-8B6FA8E5A2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12814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larg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5">
            <a:extLst>
              <a:ext uri="{FF2B5EF4-FFF2-40B4-BE49-F238E27FC236}">
                <a16:creationId xmlns:a16="http://schemas.microsoft.com/office/drawing/2014/main" id="{9AB1DA97-0E61-4807-B1F5-BC593512DD9B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609600" y="1371600"/>
            <a:ext cx="10972800" cy="4876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0D46E33F-5FB4-399E-4B47-5A298246BF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C5D5E7-A0AF-24D4-47B5-8FB5C79D9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6770F4EA-88B8-A2B9-125C-C05B93A1EA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680481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xt box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CB462B-1EF4-8724-51F0-725934307C75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-152400" y="1371600"/>
            <a:ext cx="6070600" cy="4876800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340C03-18E0-AE63-71CE-EC16B38F2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725B6E6-4056-C458-7710-A55A5B75AD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9FCE2592-96B9-2100-435E-70BAEE0A5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2924A2-8AC5-E7D7-0D01-68EDF8BC9C3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81928" y="1828800"/>
            <a:ext cx="5300472" cy="4419600"/>
          </a:xfrm>
        </p:spPr>
        <p:txBody>
          <a:bodyPr>
            <a:normAutofit/>
          </a:bodyPr>
          <a:lstStyle>
            <a:lvl1pPr>
              <a:defRPr sz="1600"/>
            </a:lvl1pPr>
            <a:lvl2pPr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lang="en-US" sz="1400" b="0" i="0" kern="1200" dirty="0">
                <a:solidFill>
                  <a:schemeClr val="tx2"/>
                </a:solidFill>
                <a:latin typeface="Sora" pitchFamily="2" charset="0"/>
                <a:ea typeface="+mn-ea"/>
                <a:cs typeface="+mn-cs"/>
              </a:defRPr>
            </a:lvl2pPr>
            <a:lvl3pPr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lang="en-US" sz="1200" b="0" i="0" kern="1200" dirty="0">
                <a:solidFill>
                  <a:schemeClr val="tx2"/>
                </a:solidFill>
                <a:latin typeface="Sora" pitchFamily="2" charset="0"/>
                <a:ea typeface="+mn-ea"/>
                <a:cs typeface="+mn-cs"/>
              </a:defRPr>
            </a:lvl3pPr>
            <a:lvl4pPr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lang="en-US" sz="1100" b="0" i="0" kern="1200" dirty="0">
                <a:solidFill>
                  <a:schemeClr val="tx2"/>
                </a:solidFill>
                <a:latin typeface="Sora" pitchFamily="2" charset="0"/>
                <a:ea typeface="+mn-ea"/>
                <a:cs typeface="+mn-cs"/>
              </a:defRPr>
            </a:lvl4pPr>
            <a:lvl5pPr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lang="en-US" sz="900" b="0" i="0" kern="1200" dirty="0">
                <a:solidFill>
                  <a:schemeClr val="tx2"/>
                </a:solidFill>
                <a:latin typeface="Sora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D1B322C-43D7-4405-A3A4-DFD92E0C1D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6500" y="1371600"/>
            <a:ext cx="5300546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</p:spTree>
    <p:extLst>
      <p:ext uri="{BB962C8B-B14F-4D97-AF65-F5344CB8AC3E}">
        <p14:creationId xmlns:p14="http://schemas.microsoft.com/office/powerpoint/2010/main" val="15999474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0EA2B09-F085-8385-995D-10134F8454B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86500" y="0"/>
            <a:ext cx="59055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l"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288509-A0CF-5675-56A9-42A47E8F2D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371600"/>
            <a:ext cx="5300546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A1A7BDAB-AE5C-09FE-93F2-8C6740595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53340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1CC09D5-3520-F75F-F1AD-4BB4C04AEE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937726-9526-F084-22E4-98ABCF3C38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213B36-8847-83EE-AE3B-01E1F475D0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828800"/>
            <a:ext cx="530860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2291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4B1ED3C-F34C-C5BE-7E38-4A216D3C4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1A3E626-2FCA-B8D9-BAE5-350C74AD80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B4C7155-9A8F-2196-3E34-264D12B9EC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 dirty="0"/>
              <a:t>NCR </a:t>
            </a:r>
            <a:r>
              <a:rPr lang="en-US" dirty="0" err="1"/>
              <a:t>Atleos</a:t>
            </a:r>
            <a:r>
              <a:rPr lang="en-US" dirty="0"/>
              <a:t>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60A421-D519-A4AD-8099-52B8A44CDC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71600"/>
            <a:ext cx="10972800" cy="4876800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938098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F05EA0CC-1B37-49E7-ACFD-0E2A15004D6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86500" y="4572000"/>
            <a:ext cx="5905500" cy="228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l"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687B720-CC38-4AED-BC06-DE6C27E2B4B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286500" y="13108"/>
            <a:ext cx="5905500" cy="228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l"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86C923DA-E948-4E33-B2D3-70C8CDFFF44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0" y="2286000"/>
            <a:ext cx="5905500" cy="228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l"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57A3D1C-7E47-2053-E266-122CE9FFD7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371600"/>
            <a:ext cx="5300546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05CEEB9E-5A3C-B161-2BEB-91E61BE5A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53340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D364AD-D347-ECDA-3D92-F44CE4BC48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1828800"/>
            <a:ext cx="5303520" cy="441960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3BF1A4C-3DB1-FD4B-9B6E-3B7BA56ED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37D55778-65B3-72A0-BD05-B63DAFC3F2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464387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0EA2B09-F085-8385-995D-10134F8454B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59055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l"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8231EC4-41BB-A9D5-F8BA-1419B45E76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339343E-0BE5-AFE1-7705-4F36B13EA6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1C0A7D8-CFC2-0880-7775-BC55F4D8C0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6501" y="1371600"/>
            <a:ext cx="5300546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0100169-CEC8-3ABB-69E2-1BA6FCE8B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457200"/>
            <a:ext cx="53340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22267E5-4CD1-82E5-57AF-D21FDC8861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86500" y="1828800"/>
            <a:ext cx="5295900" cy="4419600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65983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graphs layou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439D3D50-67DA-88E2-53A8-15A7782DFAA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56433" y="1371600"/>
            <a:ext cx="8125968" cy="487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D716ABB-A9DE-0E5C-266D-98A3797E9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F6C9B90-0352-DBD5-E553-F35447AF8F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BEF4307E-F497-FAB0-803C-E79A5CA769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B691275-7DC9-AC67-59BB-EC150DFE13A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1371600"/>
            <a:ext cx="2459736" cy="2254250"/>
          </a:xfrm>
          <a:solidFill>
            <a:schemeClr val="bg1">
              <a:lumMod val="95000"/>
            </a:schemeClr>
          </a:solidFill>
        </p:spPr>
        <p:txBody>
          <a:bodyPr lIns="182880" tIns="182880" rIns="182880" bIns="9144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77883736-F32D-94F3-A8F7-675A5232983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4006703"/>
            <a:ext cx="2459736" cy="2254250"/>
          </a:xfrm>
          <a:solidFill>
            <a:schemeClr val="bg1">
              <a:lumMod val="95000"/>
            </a:schemeClr>
          </a:solidFill>
        </p:spPr>
        <p:txBody>
          <a:bodyPr lIns="182880" tIns="182880" rIns="182880" bIns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18422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E0194C68-3587-4B8E-9239-A4A9E88F507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-1" y="4572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8D3C60F4-9FAE-4665-AAC0-38F138539E1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023028" y="4572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E64BA16B-9F1E-41DE-8857-0540B569F392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76700" y="4572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D9757E0D-D909-46E2-8486-9A4C0EAFA4B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0" y="24384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C15A4FC3-1D2C-496D-A9B4-C1A011630E2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2039962" y="24384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50DC8F09-B405-4F8A-AC7D-42EDBF25B53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076700" y="24384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A23A3E99-2410-40E7-84D4-3F677368214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0" y="44196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71516599-7887-4B3C-AD4A-EE07C64EEB07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039961" y="44196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69341951-CCBD-4F61-AC7F-A86A808FDC3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6700" y="44196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386E17-AB0A-2BAD-CF5D-140D72DC70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6501" y="1371600"/>
            <a:ext cx="5300546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2A79C58-E39D-9A91-C74E-EC1E12F83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457200"/>
            <a:ext cx="53340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708FF8-7CFF-00D6-DA2F-BB58C5D3E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66C28A65-EE4A-A316-6095-168D45951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6D8BF1-ADC5-4D62-59E5-66B7F5C9532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86500" y="1828800"/>
            <a:ext cx="5295900" cy="4419600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18339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narrow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7A2D270-913E-B21A-1E8E-5C9CEECC0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E9991C3-43CB-6101-EF0F-E7B73ED622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AAEFC523-5784-1E3C-7DE1-EF8E040DCF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6C63E-01CF-22C8-A898-9AD5CE1F96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71600"/>
            <a:ext cx="3364992" cy="4876800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7476170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C6491405-53C7-44EA-94C5-6AD0071ED5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42120" y="1371599"/>
            <a:ext cx="2240280" cy="224028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>
            <a:noFill/>
          </a:ln>
        </p:spPr>
        <p:txBody>
          <a:bodyPr wrap="square">
            <a:noAutofit/>
          </a:bodyPr>
          <a:lstStyle>
            <a:lvl1pPr marL="0" indent="0">
              <a:buFontTx/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D2752FB5-4064-401C-9F71-86C4D34E970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31280" y="1371600"/>
            <a:ext cx="2240280" cy="224028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>
            <a:noFill/>
          </a:ln>
        </p:spPr>
        <p:txBody>
          <a:bodyPr wrap="square">
            <a:noAutofit/>
          </a:bodyPr>
          <a:lstStyle>
            <a:lvl1pPr marL="0" indent="0">
              <a:buFontTx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0E60CC8-D654-43C9-B15B-BDA2CBFAE0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20440" y="1371599"/>
            <a:ext cx="2240280" cy="224028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>
            <a:noFill/>
          </a:ln>
        </p:spPr>
        <p:txBody>
          <a:bodyPr wrap="square">
            <a:noAutofit/>
          </a:bodyPr>
          <a:lstStyle>
            <a:lvl1pPr marL="0" indent="0">
              <a:buFontTx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B5157FA0-966E-47A9-8533-2AD315B4DA9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" y="1371600"/>
            <a:ext cx="2240280" cy="224028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>
            <a:noFill/>
          </a:ln>
        </p:spPr>
        <p:txBody>
          <a:bodyPr wrap="square">
            <a:noAutofit/>
          </a:bodyPr>
          <a:lstStyle>
            <a:lvl1pPr marL="0" indent="0">
              <a:buFontTx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ntent Placeholder 11">
            <a:extLst>
              <a:ext uri="{FF2B5EF4-FFF2-40B4-BE49-F238E27FC236}">
                <a16:creationId xmlns:a16="http://schemas.microsoft.com/office/drawing/2014/main" id="{EEBD73D6-FE5F-4192-AF50-0D3404BDC49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3798730"/>
            <a:ext cx="2240280" cy="347697"/>
          </a:xfrm>
          <a:prstGeom prst="rect">
            <a:avLst/>
          </a:prstGeom>
        </p:spPr>
        <p:txBody>
          <a:bodyPr tIns="0" rIns="0" bIns="0" anchor="t" anchorCtr="0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1" name="Content Placeholder 11">
            <a:extLst>
              <a:ext uri="{FF2B5EF4-FFF2-40B4-BE49-F238E27FC236}">
                <a16:creationId xmlns:a16="http://schemas.microsoft.com/office/drawing/2014/main" id="{E33406A7-33A2-42BA-A0B7-0C983944DCC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" y="4164802"/>
            <a:ext cx="2240280" cy="279808"/>
          </a:xfrm>
          <a:prstGeom prst="rect">
            <a:avLst/>
          </a:prstGeom>
        </p:spPr>
        <p:txBody>
          <a:bodyPr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11">
            <a:extLst>
              <a:ext uri="{FF2B5EF4-FFF2-40B4-BE49-F238E27FC236}">
                <a16:creationId xmlns:a16="http://schemas.microsoft.com/office/drawing/2014/main" id="{7F41E4BB-7F62-442C-975E-E3D102FC699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9601" y="4572795"/>
            <a:ext cx="2240280" cy="1065615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100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11">
            <a:extLst>
              <a:ext uri="{FF2B5EF4-FFF2-40B4-BE49-F238E27FC236}">
                <a16:creationId xmlns:a16="http://schemas.microsoft.com/office/drawing/2014/main" id="{9CAC3913-9392-45CA-A0A8-68B53F0EA22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520440" y="3798730"/>
            <a:ext cx="2240280" cy="347697"/>
          </a:xfrm>
          <a:prstGeom prst="rect">
            <a:avLst/>
          </a:prstGeom>
        </p:spPr>
        <p:txBody>
          <a:bodyPr tIns="0" rIns="0" bIns="0" anchor="t" anchorCtr="0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Content Placeholder 11">
            <a:extLst>
              <a:ext uri="{FF2B5EF4-FFF2-40B4-BE49-F238E27FC236}">
                <a16:creationId xmlns:a16="http://schemas.microsoft.com/office/drawing/2014/main" id="{86B97250-96F0-4268-8560-2F513500A80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520440" y="4164802"/>
            <a:ext cx="2240280" cy="279808"/>
          </a:xfrm>
          <a:prstGeom prst="rect">
            <a:avLst/>
          </a:prstGeom>
        </p:spPr>
        <p:txBody>
          <a:bodyPr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11">
            <a:extLst>
              <a:ext uri="{FF2B5EF4-FFF2-40B4-BE49-F238E27FC236}">
                <a16:creationId xmlns:a16="http://schemas.microsoft.com/office/drawing/2014/main" id="{01381D3E-F1E3-428F-8F09-63592FA9276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520440" y="4572795"/>
            <a:ext cx="2240280" cy="1065615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100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Content Placeholder 11">
            <a:extLst>
              <a:ext uri="{FF2B5EF4-FFF2-40B4-BE49-F238E27FC236}">
                <a16:creationId xmlns:a16="http://schemas.microsoft.com/office/drawing/2014/main" id="{8A08C099-E9B9-43AC-9442-208B94457A9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431280" y="3798730"/>
            <a:ext cx="2240280" cy="347697"/>
          </a:xfrm>
          <a:prstGeom prst="rect">
            <a:avLst/>
          </a:prstGeom>
        </p:spPr>
        <p:txBody>
          <a:bodyPr tIns="0" rIns="0" bIns="0" anchor="t" anchorCtr="0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9" name="Content Placeholder 11">
            <a:extLst>
              <a:ext uri="{FF2B5EF4-FFF2-40B4-BE49-F238E27FC236}">
                <a16:creationId xmlns:a16="http://schemas.microsoft.com/office/drawing/2014/main" id="{0734D7F2-E16F-4FCC-8444-AB20F7C2FCF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431280" y="4164802"/>
            <a:ext cx="2243165" cy="279808"/>
          </a:xfrm>
          <a:prstGeom prst="rect">
            <a:avLst/>
          </a:prstGeom>
        </p:spPr>
        <p:txBody>
          <a:bodyPr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Content Placeholder 11">
            <a:extLst>
              <a:ext uri="{FF2B5EF4-FFF2-40B4-BE49-F238E27FC236}">
                <a16:creationId xmlns:a16="http://schemas.microsoft.com/office/drawing/2014/main" id="{D5323610-0295-45E8-9809-4FF54C3C6BF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31280" y="4572795"/>
            <a:ext cx="2240280" cy="1065615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100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11">
            <a:extLst>
              <a:ext uri="{FF2B5EF4-FFF2-40B4-BE49-F238E27FC236}">
                <a16:creationId xmlns:a16="http://schemas.microsoft.com/office/drawing/2014/main" id="{B262BED4-009C-4A2D-B9F5-3942A424202B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342120" y="3798730"/>
            <a:ext cx="2240280" cy="347697"/>
          </a:xfrm>
          <a:prstGeom prst="rect">
            <a:avLst/>
          </a:prstGeom>
        </p:spPr>
        <p:txBody>
          <a:bodyPr tIns="0" rIns="0" bIns="0" anchor="t" anchorCtr="0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2" name="Content Placeholder 11">
            <a:extLst>
              <a:ext uri="{FF2B5EF4-FFF2-40B4-BE49-F238E27FC236}">
                <a16:creationId xmlns:a16="http://schemas.microsoft.com/office/drawing/2014/main" id="{182D5C89-45F0-4FE7-B2AF-145936E0E4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342120" y="4164802"/>
            <a:ext cx="2243165" cy="279808"/>
          </a:xfrm>
          <a:prstGeom prst="rect">
            <a:avLst/>
          </a:prstGeom>
        </p:spPr>
        <p:txBody>
          <a:bodyPr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11">
            <a:extLst>
              <a:ext uri="{FF2B5EF4-FFF2-40B4-BE49-F238E27FC236}">
                <a16:creationId xmlns:a16="http://schemas.microsoft.com/office/drawing/2014/main" id="{2875DEE1-1852-476E-8557-EB628842DC8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9342120" y="4572795"/>
            <a:ext cx="2240280" cy="1065615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100">
                <a:solidFill>
                  <a:schemeClr val="tx2"/>
                </a:solidFill>
              </a:defRPr>
            </a:lvl1pPr>
            <a:lvl2pPr marL="243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73872FE-3BCC-D926-9650-742D755BA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6AA4530-5894-D900-3D5D-D01AE55410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2D1D3BF-B35B-9682-9C34-531F66C43C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5072702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4D623E1-4B99-D710-1B75-DC0C3B57670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1EAF78-8444-739A-69B0-DFD1BCC1F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20C1FE-E7B4-04B1-F6BF-AF5F41E9BA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CR </a:t>
            </a:r>
            <a:r>
              <a:rPr lang="en-US" dirty="0" err="1"/>
              <a:t>Atleos</a:t>
            </a:r>
            <a:r>
              <a:rPr lang="en-US" dirty="0"/>
              <a:t>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CFF23-B975-9E67-9263-C077DC47D5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6C3BBE-A286-8A42-8D1F-96885F6DDE0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4345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684D5582-F976-F051-EDE1-C5E82CC1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29D7B3B-3FF5-E444-387B-78DBB96DFC81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1EAF78-8444-739A-69B0-DFD1BCC1F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20C1FE-E7B4-04B1-F6BF-AF5F41E9BA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CR </a:t>
            </a:r>
            <a:r>
              <a:rPr lang="en-US" dirty="0" err="1"/>
              <a:t>Atleos</a:t>
            </a:r>
            <a:r>
              <a:rPr lang="en-US" dirty="0"/>
              <a:t>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CFF23-B975-9E67-9263-C077DC47D5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6C3BBE-A286-8A42-8D1F-96885F6DDE0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64FCE3-8469-23FA-3F7B-D7FF12D8A6E2}"/>
              </a:ext>
            </a:extLst>
          </p:cNvPr>
          <p:cNvSpPr/>
          <p:nvPr userDrawn="1"/>
        </p:nvSpPr>
        <p:spPr>
          <a:xfrm>
            <a:off x="468126" y="6400799"/>
            <a:ext cx="1455924" cy="45123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3511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684D5582-F976-F051-EDE1-C5E82CC1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29D7B3B-3FF5-E444-387B-78DBB96DFC81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20C1FE-E7B4-04B1-F6BF-AF5F41E9BA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CR </a:t>
            </a:r>
            <a:r>
              <a:rPr lang="en-US" dirty="0" err="1"/>
              <a:t>Atleos</a:t>
            </a:r>
            <a:r>
              <a:rPr lang="en-US" dirty="0"/>
              <a:t>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CFF23-B975-9E67-9263-C077DC47D5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6C3BBE-A286-8A42-8D1F-96885F6DDE0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64FCE3-8469-23FA-3F7B-D7FF12D8A6E2}"/>
              </a:ext>
            </a:extLst>
          </p:cNvPr>
          <p:cNvSpPr/>
          <p:nvPr userDrawn="1"/>
        </p:nvSpPr>
        <p:spPr>
          <a:xfrm>
            <a:off x="468126" y="6400799"/>
            <a:ext cx="1455924" cy="45123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BEFA29D-8AE7-7F29-A8B0-806FADB90766}"/>
              </a:ext>
            </a:extLst>
          </p:cNvPr>
          <p:cNvGrpSpPr/>
          <p:nvPr userDrawn="1"/>
        </p:nvGrpSpPr>
        <p:grpSpPr>
          <a:xfrm>
            <a:off x="609091" y="453130"/>
            <a:ext cx="3643324" cy="981336"/>
            <a:chOff x="2752724" y="1340236"/>
            <a:chExt cx="6765655" cy="1822342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3E5C8B9-7BD1-0416-B0CB-F5356C62001A}"/>
                </a:ext>
              </a:extLst>
            </p:cNvPr>
            <p:cNvSpPr/>
            <p:nvPr/>
          </p:nvSpPr>
          <p:spPr>
            <a:xfrm>
              <a:off x="2752724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CFDCFE4-5326-B14F-E1D0-D21CB3EDEDA9}"/>
                </a:ext>
              </a:extLst>
            </p:cNvPr>
            <p:cNvSpPr/>
            <p:nvPr/>
          </p:nvSpPr>
          <p:spPr>
            <a:xfrm>
              <a:off x="3466614" y="1873968"/>
              <a:ext cx="782018" cy="719173"/>
            </a:xfrm>
            <a:custGeom>
              <a:avLst/>
              <a:gdLst>
                <a:gd name="connsiteX0" fmla="*/ 136075 w 782018"/>
                <a:gd name="connsiteY0" fmla="*/ 719173 h 719173"/>
                <a:gd name="connsiteX1" fmla="*/ 0 w 782018"/>
                <a:gd name="connsiteY1" fmla="*/ 719173 h 719173"/>
                <a:gd name="connsiteX2" fmla="*/ 248104 w 782018"/>
                <a:gd name="connsiteY2" fmla="*/ 91081 h 719173"/>
                <a:gd name="connsiteX3" fmla="*/ 396748 w 782018"/>
                <a:gd name="connsiteY3" fmla="*/ 0 h 719173"/>
                <a:gd name="connsiteX4" fmla="*/ 543387 w 782018"/>
                <a:gd name="connsiteY4" fmla="*/ 91081 h 719173"/>
                <a:gd name="connsiteX5" fmla="*/ 782019 w 782018"/>
                <a:gd name="connsiteY5" fmla="*/ 719173 h 719173"/>
                <a:gd name="connsiteX6" fmla="*/ 644851 w 782018"/>
                <a:gd name="connsiteY6" fmla="*/ 719173 h 719173"/>
                <a:gd name="connsiteX7" fmla="*/ 430265 w 782018"/>
                <a:gd name="connsiteY7" fmla="*/ 150830 h 719173"/>
                <a:gd name="connsiteX8" fmla="*/ 395655 w 782018"/>
                <a:gd name="connsiteY8" fmla="*/ 126784 h 719173"/>
                <a:gd name="connsiteX9" fmla="*/ 360133 w 782018"/>
                <a:gd name="connsiteY9" fmla="*/ 150830 h 719173"/>
                <a:gd name="connsiteX10" fmla="*/ 136075 w 782018"/>
                <a:gd name="connsiteY10" fmla="*/ 719173 h 719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2018" h="719173">
                  <a:moveTo>
                    <a:pt x="136075" y="719173"/>
                  </a:moveTo>
                  <a:lnTo>
                    <a:pt x="0" y="719173"/>
                  </a:lnTo>
                  <a:lnTo>
                    <a:pt x="248104" y="91081"/>
                  </a:lnTo>
                  <a:cubicBezTo>
                    <a:pt x="274335" y="25138"/>
                    <a:pt x="322426" y="0"/>
                    <a:pt x="396748" y="0"/>
                  </a:cubicBezTo>
                  <a:cubicBezTo>
                    <a:pt x="471069" y="0"/>
                    <a:pt x="518249" y="25138"/>
                    <a:pt x="543387" y="91081"/>
                  </a:cubicBezTo>
                  <a:lnTo>
                    <a:pt x="782019" y="719173"/>
                  </a:lnTo>
                  <a:lnTo>
                    <a:pt x="644851" y="719173"/>
                  </a:lnTo>
                  <a:lnTo>
                    <a:pt x="430265" y="150830"/>
                  </a:lnTo>
                  <a:cubicBezTo>
                    <a:pt x="424072" y="134071"/>
                    <a:pt x="412413" y="126784"/>
                    <a:pt x="395655" y="126784"/>
                  </a:cubicBezTo>
                  <a:cubicBezTo>
                    <a:pt x="378896" y="126784"/>
                    <a:pt x="367420" y="134071"/>
                    <a:pt x="360133" y="150830"/>
                  </a:cubicBezTo>
                  <a:lnTo>
                    <a:pt x="136075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C3F362E-D780-3BEC-8459-0BCA3C4EFB66}"/>
                </a:ext>
              </a:extLst>
            </p:cNvPr>
            <p:cNvSpPr/>
            <p:nvPr/>
          </p:nvSpPr>
          <p:spPr>
            <a:xfrm>
              <a:off x="5026280" y="1886355"/>
              <a:ext cx="634103" cy="706604"/>
            </a:xfrm>
            <a:custGeom>
              <a:avLst/>
              <a:gdLst>
                <a:gd name="connsiteX0" fmla="*/ 123323 w 634103"/>
                <a:gd name="connsiteY0" fmla="*/ 182 h 706604"/>
                <a:gd name="connsiteX1" fmla="*/ 123323 w 634103"/>
                <a:gd name="connsiteY1" fmla="*/ 299473 h 706604"/>
                <a:gd name="connsiteX2" fmla="*/ 191269 w 634103"/>
                <a:gd name="connsiteY2" fmla="*/ 299473 h 706604"/>
                <a:gd name="connsiteX3" fmla="*/ 372338 w 634103"/>
                <a:gd name="connsiteY3" fmla="*/ 211489 h 706604"/>
                <a:gd name="connsiteX4" fmla="*/ 480177 w 634103"/>
                <a:gd name="connsiteY4" fmla="*/ 0 h 706604"/>
                <a:gd name="connsiteX5" fmla="*/ 613155 w 634103"/>
                <a:gd name="connsiteY5" fmla="*/ 0 h 706604"/>
                <a:gd name="connsiteX6" fmla="*/ 502219 w 634103"/>
                <a:gd name="connsiteY6" fmla="*/ 219869 h 706604"/>
                <a:gd name="connsiteX7" fmla="*/ 379807 w 634103"/>
                <a:gd name="connsiteY7" fmla="*/ 348657 h 706604"/>
                <a:gd name="connsiteX8" fmla="*/ 520071 w 634103"/>
                <a:gd name="connsiteY8" fmla="*/ 484732 h 706604"/>
                <a:gd name="connsiteX9" fmla="*/ 634104 w 634103"/>
                <a:gd name="connsiteY9" fmla="*/ 706604 h 706604"/>
                <a:gd name="connsiteX10" fmla="*/ 496025 w 634103"/>
                <a:gd name="connsiteY10" fmla="*/ 706604 h 706604"/>
                <a:gd name="connsiteX11" fmla="*/ 388186 w 634103"/>
                <a:gd name="connsiteY11" fmla="*/ 497301 h 706604"/>
                <a:gd name="connsiteX12" fmla="*/ 191452 w 634103"/>
                <a:gd name="connsiteY12" fmla="*/ 411503 h 706604"/>
                <a:gd name="connsiteX13" fmla="*/ 123505 w 634103"/>
                <a:gd name="connsiteY13" fmla="*/ 411503 h 706604"/>
                <a:gd name="connsiteX14" fmla="*/ 123505 w 634103"/>
                <a:gd name="connsiteY14" fmla="*/ 706604 h 706604"/>
                <a:gd name="connsiteX15" fmla="*/ 0 w 634103"/>
                <a:gd name="connsiteY15" fmla="*/ 706604 h 706604"/>
                <a:gd name="connsiteX16" fmla="*/ 0 w 634103"/>
                <a:gd name="connsiteY16" fmla="*/ 182 h 706604"/>
                <a:gd name="connsiteX17" fmla="*/ 123505 w 634103"/>
                <a:gd name="connsiteY17" fmla="*/ 182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4103" h="706604">
                  <a:moveTo>
                    <a:pt x="123323" y="182"/>
                  </a:moveTo>
                  <a:lnTo>
                    <a:pt x="123323" y="299473"/>
                  </a:lnTo>
                  <a:lnTo>
                    <a:pt x="191269" y="299473"/>
                  </a:lnTo>
                  <a:cubicBezTo>
                    <a:pt x="312771" y="299473"/>
                    <a:pt x="332627" y="289090"/>
                    <a:pt x="372338" y="211489"/>
                  </a:cubicBezTo>
                  <a:lnTo>
                    <a:pt x="480177" y="0"/>
                  </a:lnTo>
                  <a:lnTo>
                    <a:pt x="613155" y="0"/>
                  </a:lnTo>
                  <a:lnTo>
                    <a:pt x="502219" y="219869"/>
                  </a:lnTo>
                  <a:cubicBezTo>
                    <a:pt x="470887" y="282715"/>
                    <a:pt x="437370" y="323519"/>
                    <a:pt x="379807" y="348657"/>
                  </a:cubicBezTo>
                  <a:cubicBezTo>
                    <a:pt x="445749" y="366509"/>
                    <a:pt x="478174" y="403123"/>
                    <a:pt x="520071" y="484732"/>
                  </a:cubicBezTo>
                  <a:lnTo>
                    <a:pt x="634104" y="706604"/>
                  </a:lnTo>
                  <a:lnTo>
                    <a:pt x="496025" y="706604"/>
                  </a:lnTo>
                  <a:lnTo>
                    <a:pt x="388186" y="497301"/>
                  </a:lnTo>
                  <a:cubicBezTo>
                    <a:pt x="349386" y="421886"/>
                    <a:pt x="324247" y="411503"/>
                    <a:pt x="191452" y="411503"/>
                  </a:cubicBez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182"/>
                  </a:lnTo>
                  <a:lnTo>
                    <a:pt x="123505" y="182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0311D017-D1FC-5DD9-D83E-218B54AB001C}"/>
                </a:ext>
              </a:extLst>
            </p:cNvPr>
            <p:cNvSpPr/>
            <p:nvPr/>
          </p:nvSpPr>
          <p:spPr>
            <a:xfrm>
              <a:off x="5468932" y="1893460"/>
              <a:ext cx="1035223" cy="1269118"/>
            </a:xfrm>
            <a:custGeom>
              <a:avLst/>
              <a:gdLst>
                <a:gd name="connsiteX0" fmla="*/ 136075 w 1035223"/>
                <a:gd name="connsiteY0" fmla="*/ 1269119 h 1269118"/>
                <a:gd name="connsiteX1" fmla="*/ 0 w 1035223"/>
                <a:gd name="connsiteY1" fmla="*/ 1269119 h 1269118"/>
                <a:gd name="connsiteX2" fmla="*/ 501308 w 1035223"/>
                <a:gd name="connsiteY2" fmla="*/ 91081 h 1269118"/>
                <a:gd name="connsiteX3" fmla="*/ 649952 w 1035223"/>
                <a:gd name="connsiteY3" fmla="*/ 0 h 1269118"/>
                <a:gd name="connsiteX4" fmla="*/ 796592 w 1035223"/>
                <a:gd name="connsiteY4" fmla="*/ 91081 h 1269118"/>
                <a:gd name="connsiteX5" fmla="*/ 1035223 w 1035223"/>
                <a:gd name="connsiteY5" fmla="*/ 719173 h 1269118"/>
                <a:gd name="connsiteX6" fmla="*/ 898056 w 1035223"/>
                <a:gd name="connsiteY6" fmla="*/ 719173 h 1269118"/>
                <a:gd name="connsiteX7" fmla="*/ 683470 w 1035223"/>
                <a:gd name="connsiteY7" fmla="*/ 150830 h 1269118"/>
                <a:gd name="connsiteX8" fmla="*/ 648859 w 1035223"/>
                <a:gd name="connsiteY8" fmla="*/ 126784 h 1269118"/>
                <a:gd name="connsiteX9" fmla="*/ 613337 w 1035223"/>
                <a:gd name="connsiteY9" fmla="*/ 150830 h 1269118"/>
                <a:gd name="connsiteX10" fmla="*/ 136075 w 1035223"/>
                <a:gd name="connsiteY10" fmla="*/ 1269119 h 126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5223" h="1269118">
                  <a:moveTo>
                    <a:pt x="136075" y="1269119"/>
                  </a:moveTo>
                  <a:lnTo>
                    <a:pt x="0" y="1269119"/>
                  </a:lnTo>
                  <a:lnTo>
                    <a:pt x="501308" y="91081"/>
                  </a:lnTo>
                  <a:cubicBezTo>
                    <a:pt x="527540" y="25138"/>
                    <a:pt x="575630" y="0"/>
                    <a:pt x="649952" y="0"/>
                  </a:cubicBezTo>
                  <a:cubicBezTo>
                    <a:pt x="724274" y="0"/>
                    <a:pt x="771454" y="25138"/>
                    <a:pt x="796592" y="91081"/>
                  </a:cubicBezTo>
                  <a:lnTo>
                    <a:pt x="1035223" y="719173"/>
                  </a:lnTo>
                  <a:lnTo>
                    <a:pt x="898056" y="719173"/>
                  </a:lnTo>
                  <a:lnTo>
                    <a:pt x="683470" y="150830"/>
                  </a:lnTo>
                  <a:cubicBezTo>
                    <a:pt x="677276" y="134071"/>
                    <a:pt x="665618" y="126784"/>
                    <a:pt x="648859" y="126784"/>
                  </a:cubicBezTo>
                  <a:cubicBezTo>
                    <a:pt x="632100" y="126784"/>
                    <a:pt x="620624" y="134071"/>
                    <a:pt x="613337" y="150830"/>
                  </a:cubicBezTo>
                  <a:lnTo>
                    <a:pt x="136075" y="1269119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49DECFA-4094-E135-C917-54AF4BB8EA67}"/>
                </a:ext>
              </a:extLst>
            </p:cNvPr>
            <p:cNvSpPr/>
            <p:nvPr/>
          </p:nvSpPr>
          <p:spPr>
            <a:xfrm>
              <a:off x="6481021" y="1886538"/>
              <a:ext cx="537011" cy="706421"/>
            </a:xfrm>
            <a:custGeom>
              <a:avLst/>
              <a:gdLst>
                <a:gd name="connsiteX0" fmla="*/ 537012 w 537011"/>
                <a:gd name="connsiteY0" fmla="*/ 0 h 706421"/>
                <a:gd name="connsiteX1" fmla="*/ 537012 w 537011"/>
                <a:gd name="connsiteY1" fmla="*/ 123505 h 706421"/>
                <a:gd name="connsiteX2" fmla="*/ 330805 w 537011"/>
                <a:gd name="connsiteY2" fmla="*/ 123505 h 706421"/>
                <a:gd name="connsiteX3" fmla="*/ 330805 w 537011"/>
                <a:gd name="connsiteY3" fmla="*/ 706422 h 706421"/>
                <a:gd name="connsiteX4" fmla="*/ 206207 w 537011"/>
                <a:gd name="connsiteY4" fmla="*/ 706422 h 706421"/>
                <a:gd name="connsiteX5" fmla="*/ 206207 w 537011"/>
                <a:gd name="connsiteY5" fmla="*/ 123505 h 706421"/>
                <a:gd name="connsiteX6" fmla="*/ 0 w 537011"/>
                <a:gd name="connsiteY6" fmla="*/ 123505 h 706421"/>
                <a:gd name="connsiteX7" fmla="*/ 0 w 537011"/>
                <a:gd name="connsiteY7" fmla="*/ 0 h 706421"/>
                <a:gd name="connsiteX8" fmla="*/ 537012 w 537011"/>
                <a:gd name="connsiteY8" fmla="*/ 0 h 70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011" h="706421">
                  <a:moveTo>
                    <a:pt x="537012" y="0"/>
                  </a:moveTo>
                  <a:lnTo>
                    <a:pt x="537012" y="123505"/>
                  </a:lnTo>
                  <a:lnTo>
                    <a:pt x="330805" y="123505"/>
                  </a:lnTo>
                  <a:lnTo>
                    <a:pt x="330805" y="706422"/>
                  </a:lnTo>
                  <a:lnTo>
                    <a:pt x="206207" y="706422"/>
                  </a:lnTo>
                  <a:lnTo>
                    <a:pt x="206207" y="123505"/>
                  </a:lnTo>
                  <a:lnTo>
                    <a:pt x="0" y="123505"/>
                  </a:lnTo>
                  <a:lnTo>
                    <a:pt x="0" y="0"/>
                  </a:lnTo>
                  <a:lnTo>
                    <a:pt x="537012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34108D25-2AB6-6BA2-F14A-C42356CBF55C}"/>
                </a:ext>
              </a:extLst>
            </p:cNvPr>
            <p:cNvSpPr/>
            <p:nvPr/>
          </p:nvSpPr>
          <p:spPr>
            <a:xfrm>
              <a:off x="7134252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D9BC202-960C-9474-707D-F46BCCEA8DD3}"/>
                </a:ext>
              </a:extLst>
            </p:cNvPr>
            <p:cNvSpPr/>
            <p:nvPr/>
          </p:nvSpPr>
          <p:spPr>
            <a:xfrm>
              <a:off x="8766964" y="1873968"/>
              <a:ext cx="751415" cy="731742"/>
            </a:xfrm>
            <a:custGeom>
              <a:avLst/>
              <a:gdLst>
                <a:gd name="connsiteX0" fmla="*/ 123505 w 751415"/>
                <a:gd name="connsiteY0" fmla="*/ 719173 h 731742"/>
                <a:gd name="connsiteX1" fmla="*/ 0 w 751415"/>
                <a:gd name="connsiteY1" fmla="*/ 719173 h 731742"/>
                <a:gd name="connsiteX2" fmla="*/ 0 w 751415"/>
                <a:gd name="connsiteY2" fmla="*/ 153926 h 731742"/>
                <a:gd name="connsiteX3" fmla="*/ 162124 w 751415"/>
                <a:gd name="connsiteY3" fmla="*/ 0 h 731742"/>
                <a:gd name="connsiteX4" fmla="*/ 333720 w 751415"/>
                <a:gd name="connsiteY4" fmla="*/ 130792 h 731742"/>
                <a:gd name="connsiteX5" fmla="*/ 539926 w 751415"/>
                <a:gd name="connsiteY5" fmla="*/ 582006 h 731742"/>
                <a:gd name="connsiteX6" fmla="*/ 584920 w 751415"/>
                <a:gd name="connsiteY6" fmla="*/ 611334 h 731742"/>
                <a:gd name="connsiteX7" fmla="*/ 626817 w 751415"/>
                <a:gd name="connsiteY7" fmla="*/ 571623 h 731742"/>
                <a:gd name="connsiteX8" fmla="*/ 626817 w 751415"/>
                <a:gd name="connsiteY8" fmla="*/ 12751 h 731742"/>
                <a:gd name="connsiteX9" fmla="*/ 751416 w 751415"/>
                <a:gd name="connsiteY9" fmla="*/ 12751 h 731742"/>
                <a:gd name="connsiteX10" fmla="*/ 751416 w 751415"/>
                <a:gd name="connsiteY10" fmla="*/ 576905 h 731742"/>
                <a:gd name="connsiteX11" fmla="*/ 589110 w 751415"/>
                <a:gd name="connsiteY11" fmla="*/ 731742 h 731742"/>
                <a:gd name="connsiteX12" fmla="*/ 416421 w 751415"/>
                <a:gd name="connsiteY12" fmla="*/ 600951 h 731742"/>
                <a:gd name="connsiteX13" fmla="*/ 210214 w 751415"/>
                <a:gd name="connsiteY13" fmla="*/ 149919 h 731742"/>
                <a:gd name="connsiteX14" fmla="*/ 166313 w 751415"/>
                <a:gd name="connsiteY14" fmla="*/ 119498 h 731742"/>
                <a:gd name="connsiteX15" fmla="*/ 123323 w 751415"/>
                <a:gd name="connsiteY15" fmla="*/ 160302 h 731742"/>
                <a:gd name="connsiteX16" fmla="*/ 123323 w 751415"/>
                <a:gd name="connsiteY16" fmla="*/ 719173 h 73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51415" h="731742">
                  <a:moveTo>
                    <a:pt x="123505" y="719173"/>
                  </a:moveTo>
                  <a:lnTo>
                    <a:pt x="0" y="719173"/>
                  </a:lnTo>
                  <a:lnTo>
                    <a:pt x="0" y="153926"/>
                  </a:lnTo>
                  <a:cubicBezTo>
                    <a:pt x="0" y="61753"/>
                    <a:pt x="52280" y="0"/>
                    <a:pt x="162124" y="0"/>
                  </a:cubicBezTo>
                  <a:cubicBezTo>
                    <a:pt x="260491" y="0"/>
                    <a:pt x="304574" y="50277"/>
                    <a:pt x="333720" y="130792"/>
                  </a:cubicBezTo>
                  <a:lnTo>
                    <a:pt x="539926" y="582006"/>
                  </a:lnTo>
                  <a:cubicBezTo>
                    <a:pt x="548306" y="598765"/>
                    <a:pt x="561968" y="611334"/>
                    <a:pt x="584920" y="611334"/>
                  </a:cubicBezTo>
                  <a:cubicBezTo>
                    <a:pt x="611151" y="611334"/>
                    <a:pt x="626817" y="595668"/>
                    <a:pt x="626817" y="571623"/>
                  </a:cubicBezTo>
                  <a:lnTo>
                    <a:pt x="626817" y="12751"/>
                  </a:lnTo>
                  <a:lnTo>
                    <a:pt x="751416" y="12751"/>
                  </a:lnTo>
                  <a:lnTo>
                    <a:pt x="751416" y="576905"/>
                  </a:lnTo>
                  <a:cubicBezTo>
                    <a:pt x="751416" y="669990"/>
                    <a:pt x="698043" y="731742"/>
                    <a:pt x="589110" y="731742"/>
                  </a:cubicBezTo>
                  <a:cubicBezTo>
                    <a:pt x="490743" y="731742"/>
                    <a:pt x="445749" y="681466"/>
                    <a:pt x="416421" y="600951"/>
                  </a:cubicBezTo>
                  <a:lnTo>
                    <a:pt x="210214" y="149919"/>
                  </a:lnTo>
                  <a:cubicBezTo>
                    <a:pt x="200742" y="128970"/>
                    <a:pt x="188172" y="119498"/>
                    <a:pt x="166313" y="119498"/>
                  </a:cubicBezTo>
                  <a:cubicBezTo>
                    <a:pt x="138078" y="119498"/>
                    <a:pt x="123323" y="135164"/>
                    <a:pt x="123323" y="160302"/>
                  </a:cubicBezTo>
                  <a:lnTo>
                    <a:pt x="123323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A7CDB9F-5E0D-DDDD-29B2-385FC53B9869}"/>
                </a:ext>
              </a:extLst>
            </p:cNvPr>
            <p:cNvSpPr/>
            <p:nvPr/>
          </p:nvSpPr>
          <p:spPr>
            <a:xfrm>
              <a:off x="7906069" y="1886538"/>
              <a:ext cx="734839" cy="706604"/>
            </a:xfrm>
            <a:custGeom>
              <a:avLst/>
              <a:gdLst>
                <a:gd name="connsiteX0" fmla="*/ 415510 w 734839"/>
                <a:gd name="connsiteY0" fmla="*/ 0 h 706604"/>
                <a:gd name="connsiteX1" fmla="*/ 319147 w 734839"/>
                <a:gd name="connsiteY1" fmla="*/ 0 h 706604"/>
                <a:gd name="connsiteX2" fmla="*/ 0 w 734839"/>
                <a:gd name="connsiteY2" fmla="*/ 354850 h 706604"/>
                <a:gd name="connsiteX3" fmla="*/ 319147 w 734839"/>
                <a:gd name="connsiteY3" fmla="*/ 706604 h 706604"/>
                <a:gd name="connsiteX4" fmla="*/ 415510 w 734839"/>
                <a:gd name="connsiteY4" fmla="*/ 706604 h 706604"/>
                <a:gd name="connsiteX5" fmla="*/ 734839 w 734839"/>
                <a:gd name="connsiteY5" fmla="*/ 354850 h 706604"/>
                <a:gd name="connsiteX6" fmla="*/ 415510 w 734839"/>
                <a:gd name="connsiteY6" fmla="*/ 0 h 706604"/>
                <a:gd name="connsiteX7" fmla="*/ 415510 w 734839"/>
                <a:gd name="connsiteY7" fmla="*/ 583099 h 706604"/>
                <a:gd name="connsiteX8" fmla="*/ 319147 w 734839"/>
                <a:gd name="connsiteY8" fmla="*/ 583099 h 706604"/>
                <a:gd name="connsiteX9" fmla="*/ 123324 w 734839"/>
                <a:gd name="connsiteY9" fmla="*/ 355033 h 706604"/>
                <a:gd name="connsiteX10" fmla="*/ 319147 w 734839"/>
                <a:gd name="connsiteY10" fmla="*/ 123688 h 706604"/>
                <a:gd name="connsiteX11" fmla="*/ 415510 w 734839"/>
                <a:gd name="connsiteY11" fmla="*/ 123688 h 706604"/>
                <a:gd name="connsiteX12" fmla="*/ 610241 w 734839"/>
                <a:gd name="connsiteY12" fmla="*/ 353940 h 706604"/>
                <a:gd name="connsiteX13" fmla="*/ 415510 w 734839"/>
                <a:gd name="connsiteY13" fmla="*/ 583099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839" h="706604">
                  <a:moveTo>
                    <a:pt x="415510" y="0"/>
                  </a:moveTo>
                  <a:lnTo>
                    <a:pt x="319147" y="0"/>
                  </a:lnTo>
                  <a:cubicBezTo>
                    <a:pt x="114033" y="0"/>
                    <a:pt x="0" y="117130"/>
                    <a:pt x="0" y="354850"/>
                  </a:cubicBezTo>
                  <a:cubicBezTo>
                    <a:pt x="0" y="592571"/>
                    <a:pt x="113122" y="706604"/>
                    <a:pt x="319147" y="706604"/>
                  </a:cubicBezTo>
                  <a:lnTo>
                    <a:pt x="415510" y="706604"/>
                  </a:lnTo>
                  <a:cubicBezTo>
                    <a:pt x="621717" y="706604"/>
                    <a:pt x="734839" y="591478"/>
                    <a:pt x="734839" y="354850"/>
                  </a:cubicBezTo>
                  <a:cubicBezTo>
                    <a:pt x="734839" y="118223"/>
                    <a:pt x="620806" y="0"/>
                    <a:pt x="415510" y="0"/>
                  </a:cubicBezTo>
                  <a:close/>
                  <a:moveTo>
                    <a:pt x="415510" y="583099"/>
                  </a:moveTo>
                  <a:lnTo>
                    <a:pt x="319147" y="583099"/>
                  </a:lnTo>
                  <a:cubicBezTo>
                    <a:pt x="181980" y="583099"/>
                    <a:pt x="123324" y="516063"/>
                    <a:pt x="123324" y="355033"/>
                  </a:cubicBezTo>
                  <a:cubicBezTo>
                    <a:pt x="123324" y="194002"/>
                    <a:pt x="183073" y="123688"/>
                    <a:pt x="319147" y="123688"/>
                  </a:cubicBezTo>
                  <a:lnTo>
                    <a:pt x="415510" y="123688"/>
                  </a:lnTo>
                  <a:cubicBezTo>
                    <a:pt x="551585" y="123688"/>
                    <a:pt x="610241" y="192727"/>
                    <a:pt x="610241" y="353940"/>
                  </a:cubicBezTo>
                  <a:cubicBezTo>
                    <a:pt x="610241" y="515152"/>
                    <a:pt x="551585" y="583099"/>
                    <a:pt x="415510" y="583099"/>
                  </a:cubicBez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1823AF53-6DA0-6C9C-5DE3-AA6875CCA2F6}"/>
                </a:ext>
              </a:extLst>
            </p:cNvPr>
            <p:cNvGrpSpPr/>
            <p:nvPr userDrawn="1"/>
          </p:nvGrpSpPr>
          <p:grpSpPr>
            <a:xfrm>
              <a:off x="2752724" y="1340236"/>
              <a:ext cx="6742703" cy="1822342"/>
              <a:chOff x="2752724" y="1340236"/>
              <a:chExt cx="6742703" cy="1822342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B6AD0842-96CF-BC22-9810-6B6F53BAA1CC}"/>
                  </a:ext>
                </a:extLst>
              </p:cNvPr>
              <p:cNvSpPr/>
              <p:nvPr/>
            </p:nvSpPr>
            <p:spPr>
              <a:xfrm>
                <a:off x="4281604" y="1938818"/>
                <a:ext cx="601496" cy="618437"/>
              </a:xfrm>
              <a:custGeom>
                <a:avLst/>
                <a:gdLst>
                  <a:gd name="connsiteX0" fmla="*/ 601497 w 601496"/>
                  <a:gd name="connsiteY0" fmla="*/ 0 h 618437"/>
                  <a:gd name="connsiteX1" fmla="*/ 58110 w 601496"/>
                  <a:gd name="connsiteY1" fmla="*/ 214586 h 618437"/>
                  <a:gd name="connsiteX2" fmla="*/ 0 w 601496"/>
                  <a:gd name="connsiteY2" fmla="*/ 309857 h 618437"/>
                  <a:gd name="connsiteX3" fmla="*/ 58292 w 601496"/>
                  <a:gd name="connsiteY3" fmla="*/ 405127 h 618437"/>
                  <a:gd name="connsiteX4" fmla="*/ 601497 w 601496"/>
                  <a:gd name="connsiteY4" fmla="*/ 618438 h 618437"/>
                  <a:gd name="connsiteX5" fmla="*/ 601497 w 601496"/>
                  <a:gd name="connsiteY5" fmla="*/ 495479 h 618437"/>
                  <a:gd name="connsiteX6" fmla="*/ 122048 w 601496"/>
                  <a:gd name="connsiteY6" fmla="*/ 309857 h 618437"/>
                  <a:gd name="connsiteX7" fmla="*/ 601497 w 601496"/>
                  <a:gd name="connsiteY7" fmla="*/ 124052 h 618437"/>
                  <a:gd name="connsiteX8" fmla="*/ 601497 w 601496"/>
                  <a:gd name="connsiteY8" fmla="*/ 0 h 61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1496" h="618437">
                    <a:moveTo>
                      <a:pt x="601497" y="0"/>
                    </a:moveTo>
                    <a:lnTo>
                      <a:pt x="58110" y="214586"/>
                    </a:lnTo>
                    <a:cubicBezTo>
                      <a:pt x="18580" y="230616"/>
                      <a:pt x="0" y="261037"/>
                      <a:pt x="0" y="309857"/>
                    </a:cubicBezTo>
                    <a:cubicBezTo>
                      <a:pt x="0" y="358676"/>
                      <a:pt x="19127" y="390554"/>
                      <a:pt x="58292" y="405127"/>
                    </a:cubicBezTo>
                    <a:lnTo>
                      <a:pt x="601497" y="618438"/>
                    </a:lnTo>
                    <a:lnTo>
                      <a:pt x="601497" y="495479"/>
                    </a:lnTo>
                    <a:lnTo>
                      <a:pt x="122048" y="309857"/>
                    </a:lnTo>
                    <a:lnTo>
                      <a:pt x="601497" y="124052"/>
                    </a:lnTo>
                    <a:lnTo>
                      <a:pt x="60149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87" name="Graphic 5">
                <a:extLst>
                  <a:ext uri="{FF2B5EF4-FFF2-40B4-BE49-F238E27FC236}">
                    <a16:creationId xmlns:a16="http://schemas.microsoft.com/office/drawing/2014/main" id="{7BA5A87C-F83E-0942-CEFD-5611E26620BA}"/>
                  </a:ext>
                </a:extLst>
              </p:cNvPr>
              <p:cNvGrpSpPr/>
              <p:nvPr/>
            </p:nvGrpSpPr>
            <p:grpSpPr>
              <a:xfrm>
                <a:off x="5771867" y="2752351"/>
                <a:ext cx="3723560" cy="410227"/>
                <a:chOff x="5771867" y="2752351"/>
                <a:chExt cx="3723560" cy="410227"/>
              </a:xfrm>
              <a:solidFill>
                <a:schemeClr val="accent2"/>
              </a:solidFill>
            </p:grpSpPr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FDD54E78-40EF-B9D8-67C2-0A84AA005F93}"/>
                    </a:ext>
                  </a:extLst>
                </p:cNvPr>
                <p:cNvSpPr/>
                <p:nvPr/>
              </p:nvSpPr>
              <p:spPr>
                <a:xfrm>
                  <a:off x="5771867" y="2752351"/>
                  <a:ext cx="623902" cy="410227"/>
                </a:xfrm>
                <a:custGeom>
                  <a:avLst/>
                  <a:gdLst>
                    <a:gd name="connsiteX0" fmla="*/ 73957 w 623902"/>
                    <a:gd name="connsiteY0" fmla="*/ 403305 h 410227"/>
                    <a:gd name="connsiteX1" fmla="*/ 0 w 623902"/>
                    <a:gd name="connsiteY1" fmla="*/ 403305 h 410227"/>
                    <a:gd name="connsiteX2" fmla="*/ 122777 w 623902"/>
                    <a:gd name="connsiteY2" fmla="*/ 73411 h 410227"/>
                    <a:gd name="connsiteX3" fmla="*/ 216043 w 623902"/>
                    <a:gd name="connsiteY3" fmla="*/ 0 h 410227"/>
                    <a:gd name="connsiteX4" fmla="*/ 304027 w 623902"/>
                    <a:gd name="connsiteY4" fmla="*/ 86345 h 410227"/>
                    <a:gd name="connsiteX5" fmla="*/ 304027 w 623902"/>
                    <a:gd name="connsiteY5" fmla="*/ 320604 h 410227"/>
                    <a:gd name="connsiteX6" fmla="*/ 324065 w 623902"/>
                    <a:gd name="connsiteY6" fmla="*/ 342828 h 410227"/>
                    <a:gd name="connsiteX7" fmla="*/ 346289 w 623902"/>
                    <a:gd name="connsiteY7" fmla="*/ 326251 h 410227"/>
                    <a:gd name="connsiteX8" fmla="*/ 442652 w 623902"/>
                    <a:gd name="connsiteY8" fmla="*/ 73411 h 410227"/>
                    <a:gd name="connsiteX9" fmla="*/ 535919 w 623902"/>
                    <a:gd name="connsiteY9" fmla="*/ 0 h 410227"/>
                    <a:gd name="connsiteX10" fmla="*/ 623903 w 623902"/>
                    <a:gd name="connsiteY10" fmla="*/ 86345 h 410227"/>
                    <a:gd name="connsiteX11" fmla="*/ 623903 w 623902"/>
                    <a:gd name="connsiteY11" fmla="*/ 403305 h 410227"/>
                    <a:gd name="connsiteX12" fmla="*/ 553953 w 623902"/>
                    <a:gd name="connsiteY12" fmla="*/ 403305 h 410227"/>
                    <a:gd name="connsiteX13" fmla="*/ 553953 w 623902"/>
                    <a:gd name="connsiteY13" fmla="*/ 89806 h 410227"/>
                    <a:gd name="connsiteX14" fmla="*/ 534097 w 623902"/>
                    <a:gd name="connsiteY14" fmla="*/ 66853 h 410227"/>
                    <a:gd name="connsiteX15" fmla="*/ 512420 w 623902"/>
                    <a:gd name="connsiteY15" fmla="*/ 83794 h 410227"/>
                    <a:gd name="connsiteX16" fmla="*/ 416057 w 623902"/>
                    <a:gd name="connsiteY16" fmla="*/ 336817 h 410227"/>
                    <a:gd name="connsiteX17" fmla="*/ 322061 w 623902"/>
                    <a:gd name="connsiteY17" fmla="*/ 410228 h 410227"/>
                    <a:gd name="connsiteX18" fmla="*/ 234624 w 623902"/>
                    <a:gd name="connsiteY18" fmla="*/ 323337 h 410227"/>
                    <a:gd name="connsiteX19" fmla="*/ 234624 w 623902"/>
                    <a:gd name="connsiteY19" fmla="*/ 89806 h 410227"/>
                    <a:gd name="connsiteX20" fmla="*/ 214040 w 623902"/>
                    <a:gd name="connsiteY20" fmla="*/ 66853 h 410227"/>
                    <a:gd name="connsiteX21" fmla="*/ 192362 w 623902"/>
                    <a:gd name="connsiteY21" fmla="*/ 83794 h 410227"/>
                    <a:gd name="connsiteX22" fmla="*/ 73775 w 623902"/>
                    <a:gd name="connsiteY22" fmla="*/ 403123 h 410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623902" h="410227">
                      <a:moveTo>
                        <a:pt x="73957" y="403305"/>
                      </a:moveTo>
                      <a:lnTo>
                        <a:pt x="0" y="403305"/>
                      </a:lnTo>
                      <a:lnTo>
                        <a:pt x="122777" y="73411"/>
                      </a:lnTo>
                      <a:cubicBezTo>
                        <a:pt x="137896" y="28235"/>
                        <a:pt x="163216" y="0"/>
                        <a:pt x="216043" y="0"/>
                      </a:cubicBezTo>
                      <a:cubicBezTo>
                        <a:pt x="274699" y="0"/>
                        <a:pt x="304027" y="34611"/>
                        <a:pt x="304027" y="86345"/>
                      </a:cubicBezTo>
                      <a:lnTo>
                        <a:pt x="304027" y="320604"/>
                      </a:lnTo>
                      <a:cubicBezTo>
                        <a:pt x="304027" y="334084"/>
                        <a:pt x="312225" y="342828"/>
                        <a:pt x="324065" y="342828"/>
                      </a:cubicBezTo>
                      <a:cubicBezTo>
                        <a:pt x="334630" y="342828"/>
                        <a:pt x="342828" y="336452"/>
                        <a:pt x="346289" y="326251"/>
                      </a:cubicBezTo>
                      <a:lnTo>
                        <a:pt x="442652" y="73411"/>
                      </a:lnTo>
                      <a:cubicBezTo>
                        <a:pt x="457954" y="28235"/>
                        <a:pt x="483092" y="0"/>
                        <a:pt x="535919" y="0"/>
                      </a:cubicBezTo>
                      <a:cubicBezTo>
                        <a:pt x="594575" y="0"/>
                        <a:pt x="623903" y="34611"/>
                        <a:pt x="623903" y="86345"/>
                      </a:cubicBezTo>
                      <a:lnTo>
                        <a:pt x="623903" y="403305"/>
                      </a:lnTo>
                      <a:lnTo>
                        <a:pt x="553953" y="403305"/>
                      </a:lnTo>
                      <a:lnTo>
                        <a:pt x="553953" y="89806"/>
                      </a:lnTo>
                      <a:cubicBezTo>
                        <a:pt x="553953" y="75597"/>
                        <a:pt x="545755" y="66853"/>
                        <a:pt x="534097" y="66853"/>
                      </a:cubicBezTo>
                      <a:cubicBezTo>
                        <a:pt x="524078" y="66853"/>
                        <a:pt x="515881" y="73958"/>
                        <a:pt x="512420" y="83794"/>
                      </a:cubicBezTo>
                      <a:lnTo>
                        <a:pt x="416057" y="336817"/>
                      </a:lnTo>
                      <a:cubicBezTo>
                        <a:pt x="400755" y="381992"/>
                        <a:pt x="374888" y="410228"/>
                        <a:pt x="322061" y="410228"/>
                      </a:cubicBezTo>
                      <a:cubicBezTo>
                        <a:pt x="263952" y="410228"/>
                        <a:pt x="234624" y="375617"/>
                        <a:pt x="234624" y="323337"/>
                      </a:cubicBezTo>
                      <a:lnTo>
                        <a:pt x="234624" y="89806"/>
                      </a:lnTo>
                      <a:cubicBezTo>
                        <a:pt x="234624" y="75597"/>
                        <a:pt x="225880" y="66853"/>
                        <a:pt x="214040" y="66853"/>
                      </a:cubicBezTo>
                      <a:cubicBezTo>
                        <a:pt x="203474" y="66853"/>
                        <a:pt x="196370" y="73958"/>
                        <a:pt x="192362" y="83794"/>
                      </a:cubicBezTo>
                      <a:lnTo>
                        <a:pt x="73775" y="403123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52669248-CC0C-B8F1-52B3-0ED035EFA171}"/>
                    </a:ext>
                  </a:extLst>
                </p:cNvPr>
                <p:cNvSpPr/>
                <p:nvPr/>
              </p:nvSpPr>
              <p:spPr>
                <a:xfrm>
                  <a:off x="6448961" y="2752351"/>
                  <a:ext cx="438462" cy="403305"/>
                </a:xfrm>
                <a:custGeom>
                  <a:avLst/>
                  <a:gdLst>
                    <a:gd name="connsiteX0" fmla="*/ 76326 w 438462"/>
                    <a:gd name="connsiteY0" fmla="*/ 403305 h 403305"/>
                    <a:gd name="connsiteX1" fmla="*/ 0 w 438462"/>
                    <a:gd name="connsiteY1" fmla="*/ 403305 h 403305"/>
                    <a:gd name="connsiteX2" fmla="*/ 138989 w 438462"/>
                    <a:gd name="connsiteY2" fmla="*/ 51187 h 403305"/>
                    <a:gd name="connsiteX3" fmla="*/ 222419 w 438462"/>
                    <a:gd name="connsiteY3" fmla="*/ 0 h 403305"/>
                    <a:gd name="connsiteX4" fmla="*/ 304574 w 438462"/>
                    <a:gd name="connsiteY4" fmla="*/ 51187 h 403305"/>
                    <a:gd name="connsiteX5" fmla="*/ 438462 w 438462"/>
                    <a:gd name="connsiteY5" fmla="*/ 403305 h 403305"/>
                    <a:gd name="connsiteX6" fmla="*/ 361590 w 438462"/>
                    <a:gd name="connsiteY6" fmla="*/ 403305 h 403305"/>
                    <a:gd name="connsiteX7" fmla="*/ 241364 w 438462"/>
                    <a:gd name="connsiteY7" fmla="*/ 84523 h 403305"/>
                    <a:gd name="connsiteX8" fmla="*/ 222055 w 438462"/>
                    <a:gd name="connsiteY8" fmla="*/ 71043 h 403305"/>
                    <a:gd name="connsiteX9" fmla="*/ 202017 w 438462"/>
                    <a:gd name="connsiteY9" fmla="*/ 84523 h 403305"/>
                    <a:gd name="connsiteX10" fmla="*/ 76508 w 438462"/>
                    <a:gd name="connsiteY10" fmla="*/ 403305 h 40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8462" h="403305">
                      <a:moveTo>
                        <a:pt x="76326" y="403305"/>
                      </a:moveTo>
                      <a:lnTo>
                        <a:pt x="0" y="403305"/>
                      </a:lnTo>
                      <a:lnTo>
                        <a:pt x="138989" y="51187"/>
                      </a:lnTo>
                      <a:cubicBezTo>
                        <a:pt x="153744" y="14209"/>
                        <a:pt x="180704" y="0"/>
                        <a:pt x="222419" y="0"/>
                      </a:cubicBezTo>
                      <a:cubicBezTo>
                        <a:pt x="264134" y="0"/>
                        <a:pt x="290547" y="14209"/>
                        <a:pt x="304574" y="51187"/>
                      </a:cubicBezTo>
                      <a:lnTo>
                        <a:pt x="438462" y="403305"/>
                      </a:lnTo>
                      <a:lnTo>
                        <a:pt x="361590" y="403305"/>
                      </a:lnTo>
                      <a:lnTo>
                        <a:pt x="241364" y="84523"/>
                      </a:lnTo>
                      <a:cubicBezTo>
                        <a:pt x="237903" y="75051"/>
                        <a:pt x="231345" y="71043"/>
                        <a:pt x="222055" y="71043"/>
                      </a:cubicBezTo>
                      <a:cubicBezTo>
                        <a:pt x="212764" y="71043"/>
                        <a:pt x="206207" y="75051"/>
                        <a:pt x="202017" y="84523"/>
                      </a:cubicBezTo>
                      <a:lnTo>
                        <a:pt x="76508" y="403305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" name="Freeform: Shape 93">
                  <a:extLst>
                    <a:ext uri="{FF2B5EF4-FFF2-40B4-BE49-F238E27FC236}">
                      <a16:creationId xmlns:a16="http://schemas.microsoft.com/office/drawing/2014/main" id="{1C5414EA-800C-2633-3AB9-16C7AB18629C}"/>
                    </a:ext>
                  </a:extLst>
                </p:cNvPr>
                <p:cNvSpPr/>
                <p:nvPr/>
              </p:nvSpPr>
              <p:spPr>
                <a:xfrm>
                  <a:off x="6939339" y="2759273"/>
                  <a:ext cx="350296" cy="396383"/>
                </a:xfrm>
                <a:custGeom>
                  <a:avLst/>
                  <a:gdLst>
                    <a:gd name="connsiteX0" fmla="*/ 214768 w 350296"/>
                    <a:gd name="connsiteY0" fmla="*/ 182 h 396383"/>
                    <a:gd name="connsiteX1" fmla="*/ 342099 w 350296"/>
                    <a:gd name="connsiteY1" fmla="*/ 118769 h 396383"/>
                    <a:gd name="connsiteX2" fmla="*/ 258123 w 350296"/>
                    <a:gd name="connsiteY2" fmla="*/ 237903 h 396383"/>
                    <a:gd name="connsiteX3" fmla="*/ 350296 w 350296"/>
                    <a:gd name="connsiteY3" fmla="*/ 396383 h 396383"/>
                    <a:gd name="connsiteX4" fmla="*/ 273424 w 350296"/>
                    <a:gd name="connsiteY4" fmla="*/ 396383 h 396383"/>
                    <a:gd name="connsiteX5" fmla="*/ 183072 w 350296"/>
                    <a:gd name="connsiteY5" fmla="*/ 243185 h 396383"/>
                    <a:gd name="connsiteX6" fmla="*/ 79787 w 350296"/>
                    <a:gd name="connsiteY6" fmla="*/ 243185 h 396383"/>
                    <a:gd name="connsiteX7" fmla="*/ 69768 w 350296"/>
                    <a:gd name="connsiteY7" fmla="*/ 253204 h 396383"/>
                    <a:gd name="connsiteX8" fmla="*/ 69768 w 350296"/>
                    <a:gd name="connsiteY8" fmla="*/ 396383 h 396383"/>
                    <a:gd name="connsiteX9" fmla="*/ 546 w 350296"/>
                    <a:gd name="connsiteY9" fmla="*/ 396383 h 396383"/>
                    <a:gd name="connsiteX10" fmla="*/ 546 w 350296"/>
                    <a:gd name="connsiteY10" fmla="*/ 239724 h 396383"/>
                    <a:gd name="connsiteX11" fmla="*/ 62846 w 350296"/>
                    <a:gd name="connsiteY11" fmla="*/ 176879 h 396383"/>
                    <a:gd name="connsiteX12" fmla="*/ 217136 w 350296"/>
                    <a:gd name="connsiteY12" fmla="*/ 176879 h 396383"/>
                    <a:gd name="connsiteX13" fmla="*/ 272331 w 350296"/>
                    <a:gd name="connsiteY13" fmla="*/ 121684 h 396383"/>
                    <a:gd name="connsiteX14" fmla="*/ 217136 w 350296"/>
                    <a:gd name="connsiteY14" fmla="*/ 69403 h 396383"/>
                    <a:gd name="connsiteX15" fmla="*/ 0 w 350296"/>
                    <a:gd name="connsiteY15" fmla="*/ 69403 h 396383"/>
                    <a:gd name="connsiteX16" fmla="*/ 0 w 350296"/>
                    <a:gd name="connsiteY16" fmla="*/ 0 h 396383"/>
                    <a:gd name="connsiteX17" fmla="*/ 214768 w 350296"/>
                    <a:gd name="connsiteY17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50296" h="396383">
                      <a:moveTo>
                        <a:pt x="214768" y="182"/>
                      </a:moveTo>
                      <a:cubicBezTo>
                        <a:pt x="304027" y="182"/>
                        <a:pt x="342099" y="55377"/>
                        <a:pt x="342099" y="118769"/>
                      </a:cubicBezTo>
                      <a:cubicBezTo>
                        <a:pt x="342099" y="168135"/>
                        <a:pt x="318600" y="220962"/>
                        <a:pt x="258123" y="237903"/>
                      </a:cubicBezTo>
                      <a:lnTo>
                        <a:pt x="350296" y="396383"/>
                      </a:lnTo>
                      <a:lnTo>
                        <a:pt x="273424" y="396383"/>
                      </a:lnTo>
                      <a:lnTo>
                        <a:pt x="183072" y="243185"/>
                      </a:lnTo>
                      <a:lnTo>
                        <a:pt x="79787" y="243185"/>
                      </a:lnTo>
                      <a:cubicBezTo>
                        <a:pt x="73411" y="243185"/>
                        <a:pt x="69768" y="246100"/>
                        <a:pt x="69768" y="253204"/>
                      </a:cubicBezTo>
                      <a:lnTo>
                        <a:pt x="69768" y="396383"/>
                      </a:lnTo>
                      <a:lnTo>
                        <a:pt x="546" y="396383"/>
                      </a:lnTo>
                      <a:lnTo>
                        <a:pt x="546" y="239724"/>
                      </a:lnTo>
                      <a:cubicBezTo>
                        <a:pt x="546" y="195095"/>
                        <a:pt x="19309" y="176879"/>
                        <a:pt x="62846" y="176879"/>
                      </a:cubicBezTo>
                      <a:lnTo>
                        <a:pt x="217136" y="176879"/>
                      </a:lnTo>
                      <a:cubicBezTo>
                        <a:pt x="256483" y="176879"/>
                        <a:pt x="272331" y="149919"/>
                        <a:pt x="272331" y="121684"/>
                      </a:cubicBezTo>
                      <a:cubicBezTo>
                        <a:pt x="272331" y="93449"/>
                        <a:pt x="255208" y="69403"/>
                        <a:pt x="217136" y="69403"/>
                      </a:cubicBezTo>
                      <a:lnTo>
                        <a:pt x="0" y="69403"/>
                      </a:lnTo>
                      <a:lnTo>
                        <a:pt x="0" y="0"/>
                      </a:lnTo>
                      <a:lnTo>
                        <a:pt x="214768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5" name="Freeform: Shape 94">
                  <a:extLst>
                    <a:ext uri="{FF2B5EF4-FFF2-40B4-BE49-F238E27FC236}">
                      <a16:creationId xmlns:a16="http://schemas.microsoft.com/office/drawing/2014/main" id="{484EF4F0-AA9C-D5D8-A183-174A75AE4A12}"/>
                    </a:ext>
                  </a:extLst>
                </p:cNvPr>
                <p:cNvSpPr/>
                <p:nvPr/>
              </p:nvSpPr>
              <p:spPr>
                <a:xfrm>
                  <a:off x="7335358" y="2759455"/>
                  <a:ext cx="354121" cy="396383"/>
                </a:xfrm>
                <a:custGeom>
                  <a:avLst/>
                  <a:gdLst>
                    <a:gd name="connsiteX0" fmla="*/ 324429 w 354121"/>
                    <a:gd name="connsiteY0" fmla="*/ 0 h 396383"/>
                    <a:gd name="connsiteX1" fmla="*/ 324429 w 354121"/>
                    <a:gd name="connsiteY1" fmla="*/ 69403 h 396383"/>
                    <a:gd name="connsiteX2" fmla="*/ 121320 w 354121"/>
                    <a:gd name="connsiteY2" fmla="*/ 69403 h 396383"/>
                    <a:gd name="connsiteX3" fmla="*/ 69586 w 354121"/>
                    <a:gd name="connsiteY3" fmla="*/ 116401 h 396383"/>
                    <a:gd name="connsiteX4" fmla="*/ 128241 w 354121"/>
                    <a:gd name="connsiteY4" fmla="*/ 163399 h 396383"/>
                    <a:gd name="connsiteX5" fmla="*/ 220962 w 354121"/>
                    <a:gd name="connsiteY5" fmla="*/ 163399 h 396383"/>
                    <a:gd name="connsiteX6" fmla="*/ 354122 w 354121"/>
                    <a:gd name="connsiteY6" fmla="*/ 280164 h 396383"/>
                    <a:gd name="connsiteX7" fmla="*/ 227884 w 354121"/>
                    <a:gd name="connsiteY7" fmla="*/ 396383 h 396383"/>
                    <a:gd name="connsiteX8" fmla="*/ 7286 w 354121"/>
                    <a:gd name="connsiteY8" fmla="*/ 396383 h 396383"/>
                    <a:gd name="connsiteX9" fmla="*/ 7286 w 354121"/>
                    <a:gd name="connsiteY9" fmla="*/ 327162 h 396383"/>
                    <a:gd name="connsiteX10" fmla="*/ 230252 w 354121"/>
                    <a:gd name="connsiteY10" fmla="*/ 327162 h 396383"/>
                    <a:gd name="connsiteX11" fmla="*/ 284718 w 354121"/>
                    <a:gd name="connsiteY11" fmla="*/ 277796 h 396383"/>
                    <a:gd name="connsiteX12" fmla="*/ 222419 w 354121"/>
                    <a:gd name="connsiteY12" fmla="*/ 228430 h 396383"/>
                    <a:gd name="connsiteX13" fmla="*/ 130245 w 354121"/>
                    <a:gd name="connsiteY13" fmla="*/ 228430 h 396383"/>
                    <a:gd name="connsiteX14" fmla="*/ 0 w 354121"/>
                    <a:gd name="connsiteY14" fmla="*/ 114033 h 396383"/>
                    <a:gd name="connsiteX15" fmla="*/ 123323 w 354121"/>
                    <a:gd name="connsiteY15" fmla="*/ 182 h 396383"/>
                    <a:gd name="connsiteX16" fmla="*/ 324065 w 354121"/>
                    <a:gd name="connsiteY16" fmla="*/ 182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54121" h="396383">
                      <a:moveTo>
                        <a:pt x="324429" y="0"/>
                      </a:moveTo>
                      <a:lnTo>
                        <a:pt x="324429" y="69403"/>
                      </a:lnTo>
                      <a:lnTo>
                        <a:pt x="121320" y="69403"/>
                      </a:lnTo>
                      <a:cubicBezTo>
                        <a:pt x="85616" y="69403"/>
                        <a:pt x="69586" y="88713"/>
                        <a:pt x="69586" y="116401"/>
                      </a:cubicBezTo>
                      <a:cubicBezTo>
                        <a:pt x="69586" y="140446"/>
                        <a:pt x="81973" y="163399"/>
                        <a:pt x="128241" y="163399"/>
                      </a:cubicBezTo>
                      <a:lnTo>
                        <a:pt x="220962" y="163399"/>
                      </a:lnTo>
                      <a:cubicBezTo>
                        <a:pt x="328983" y="163399"/>
                        <a:pt x="354122" y="223330"/>
                        <a:pt x="354122" y="280164"/>
                      </a:cubicBezTo>
                      <a:cubicBezTo>
                        <a:pt x="354122" y="347017"/>
                        <a:pt x="318418" y="396383"/>
                        <a:pt x="227884" y="396383"/>
                      </a:cubicBezTo>
                      <a:lnTo>
                        <a:pt x="7286" y="396383"/>
                      </a:lnTo>
                      <a:lnTo>
                        <a:pt x="7286" y="327162"/>
                      </a:lnTo>
                      <a:lnTo>
                        <a:pt x="230252" y="327162"/>
                      </a:lnTo>
                      <a:cubicBezTo>
                        <a:pt x="267777" y="327162"/>
                        <a:pt x="284718" y="306578"/>
                        <a:pt x="284718" y="277796"/>
                      </a:cubicBezTo>
                      <a:cubicBezTo>
                        <a:pt x="284718" y="251929"/>
                        <a:pt x="271238" y="228430"/>
                        <a:pt x="222419" y="228430"/>
                      </a:cubicBezTo>
                      <a:lnTo>
                        <a:pt x="130245" y="228430"/>
                      </a:lnTo>
                      <a:cubicBezTo>
                        <a:pt x="24592" y="228430"/>
                        <a:pt x="0" y="169228"/>
                        <a:pt x="0" y="114033"/>
                      </a:cubicBezTo>
                      <a:cubicBezTo>
                        <a:pt x="0" y="48273"/>
                        <a:pt x="35339" y="182"/>
                        <a:pt x="123323" y="182"/>
                      </a:cubicBezTo>
                      <a:lnTo>
                        <a:pt x="324065" y="182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6" name="Freeform: Shape 95">
                  <a:extLst>
                    <a:ext uri="{FF2B5EF4-FFF2-40B4-BE49-F238E27FC236}">
                      <a16:creationId xmlns:a16="http://schemas.microsoft.com/office/drawing/2014/main" id="{AAF65AB5-BAA7-B543-58A0-0158AD8D0384}"/>
                    </a:ext>
                  </a:extLst>
                </p:cNvPr>
                <p:cNvSpPr/>
                <p:nvPr/>
              </p:nvSpPr>
              <p:spPr>
                <a:xfrm>
                  <a:off x="7902973" y="2759091"/>
                  <a:ext cx="359222" cy="396383"/>
                </a:xfrm>
                <a:custGeom>
                  <a:avLst/>
                  <a:gdLst>
                    <a:gd name="connsiteX0" fmla="*/ 240089 w 359222"/>
                    <a:gd name="connsiteY0" fmla="*/ 364 h 396383"/>
                    <a:gd name="connsiteX1" fmla="*/ 359222 w 359222"/>
                    <a:gd name="connsiteY1" fmla="*/ 112576 h 396383"/>
                    <a:gd name="connsiteX2" fmla="*/ 267049 w 359222"/>
                    <a:gd name="connsiteY2" fmla="*/ 218776 h 396383"/>
                    <a:gd name="connsiteX3" fmla="*/ 102010 w 359222"/>
                    <a:gd name="connsiteY3" fmla="*/ 255755 h 396383"/>
                    <a:gd name="connsiteX4" fmla="*/ 69221 w 359222"/>
                    <a:gd name="connsiteY4" fmla="*/ 299109 h 396383"/>
                    <a:gd name="connsiteX5" fmla="*/ 69221 w 359222"/>
                    <a:gd name="connsiteY5" fmla="*/ 318965 h 396383"/>
                    <a:gd name="connsiteX6" fmla="*/ 76872 w 359222"/>
                    <a:gd name="connsiteY6" fmla="*/ 327162 h 396383"/>
                    <a:gd name="connsiteX7" fmla="*/ 348657 w 359222"/>
                    <a:gd name="connsiteY7" fmla="*/ 327162 h 396383"/>
                    <a:gd name="connsiteX8" fmla="*/ 348657 w 359222"/>
                    <a:gd name="connsiteY8" fmla="*/ 396383 h 396383"/>
                    <a:gd name="connsiteX9" fmla="*/ 32789 w 359222"/>
                    <a:gd name="connsiteY9" fmla="*/ 396383 h 396383"/>
                    <a:gd name="connsiteX10" fmla="*/ 0 w 359222"/>
                    <a:gd name="connsiteY10" fmla="*/ 364141 h 396383"/>
                    <a:gd name="connsiteX11" fmla="*/ 0 w 359222"/>
                    <a:gd name="connsiteY11" fmla="*/ 304209 h 396383"/>
                    <a:gd name="connsiteX12" fmla="*/ 86891 w 359222"/>
                    <a:gd name="connsiteY12" fmla="*/ 190359 h 396383"/>
                    <a:gd name="connsiteX13" fmla="*/ 253568 w 359222"/>
                    <a:gd name="connsiteY13" fmla="*/ 152287 h 396383"/>
                    <a:gd name="connsiteX14" fmla="*/ 290547 w 359222"/>
                    <a:gd name="connsiteY14" fmla="*/ 113487 h 396383"/>
                    <a:gd name="connsiteX15" fmla="*/ 241728 w 359222"/>
                    <a:gd name="connsiteY15" fmla="*/ 69403 h 396383"/>
                    <a:gd name="connsiteX16" fmla="*/ 12751 w 359222"/>
                    <a:gd name="connsiteY16" fmla="*/ 69403 h 396383"/>
                    <a:gd name="connsiteX17" fmla="*/ 12751 w 359222"/>
                    <a:gd name="connsiteY17" fmla="*/ 0 h 396383"/>
                    <a:gd name="connsiteX18" fmla="*/ 239906 w 359222"/>
                    <a:gd name="connsiteY18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9222" h="396383">
                      <a:moveTo>
                        <a:pt x="240089" y="364"/>
                      </a:moveTo>
                      <a:cubicBezTo>
                        <a:pt x="316414" y="364"/>
                        <a:pt x="359222" y="39711"/>
                        <a:pt x="359222" y="112576"/>
                      </a:cubicBezTo>
                      <a:cubicBezTo>
                        <a:pt x="359222" y="171232"/>
                        <a:pt x="330987" y="204203"/>
                        <a:pt x="267049" y="218776"/>
                      </a:cubicBezTo>
                      <a:lnTo>
                        <a:pt x="102010" y="255755"/>
                      </a:lnTo>
                      <a:cubicBezTo>
                        <a:pt x="74504" y="262130"/>
                        <a:pt x="69221" y="276885"/>
                        <a:pt x="69221" y="299109"/>
                      </a:cubicBezTo>
                      <a:lnTo>
                        <a:pt x="69221" y="318965"/>
                      </a:lnTo>
                      <a:cubicBezTo>
                        <a:pt x="69221" y="325340"/>
                        <a:pt x="71589" y="327162"/>
                        <a:pt x="76872" y="327162"/>
                      </a:cubicBezTo>
                      <a:lnTo>
                        <a:pt x="348657" y="327162"/>
                      </a:lnTo>
                      <a:lnTo>
                        <a:pt x="348657" y="396383"/>
                      </a:lnTo>
                      <a:lnTo>
                        <a:pt x="32789" y="396383"/>
                      </a:lnTo>
                      <a:cubicBezTo>
                        <a:pt x="10565" y="396383"/>
                        <a:pt x="0" y="385818"/>
                        <a:pt x="0" y="364141"/>
                      </a:cubicBezTo>
                      <a:lnTo>
                        <a:pt x="0" y="304209"/>
                      </a:lnTo>
                      <a:cubicBezTo>
                        <a:pt x="0" y="239542"/>
                        <a:pt x="19309" y="205478"/>
                        <a:pt x="86891" y="190359"/>
                      </a:cubicBezTo>
                      <a:lnTo>
                        <a:pt x="253568" y="152287"/>
                      </a:lnTo>
                      <a:cubicBezTo>
                        <a:pt x="281804" y="145911"/>
                        <a:pt x="290547" y="132431"/>
                        <a:pt x="290547" y="113487"/>
                      </a:cubicBezTo>
                      <a:cubicBezTo>
                        <a:pt x="290547" y="87073"/>
                        <a:pt x="273424" y="69403"/>
                        <a:pt x="241728" y="69403"/>
                      </a:cubicBezTo>
                      <a:lnTo>
                        <a:pt x="12751" y="69403"/>
                      </a:lnTo>
                      <a:lnTo>
                        <a:pt x="12751" y="0"/>
                      </a:lnTo>
                      <a:lnTo>
                        <a:pt x="239906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7" name="Freeform: Shape 96">
                  <a:extLst>
                    <a:ext uri="{FF2B5EF4-FFF2-40B4-BE49-F238E27FC236}">
                      <a16:creationId xmlns:a16="http://schemas.microsoft.com/office/drawing/2014/main" id="{72709F46-814F-FC56-4196-F148299CAF9A}"/>
                    </a:ext>
                  </a:extLst>
                </p:cNvPr>
                <p:cNvSpPr/>
                <p:nvPr/>
              </p:nvSpPr>
              <p:spPr>
                <a:xfrm>
                  <a:off x="8309922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4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4 w 358129"/>
                    <a:gd name="connsiteY3" fmla="*/ 0 h 407859"/>
                    <a:gd name="connsiteX4" fmla="*/ 358129 w 358129"/>
                    <a:gd name="connsiteY4" fmla="*/ 204203 h 407859"/>
                    <a:gd name="connsiteX5" fmla="*/ 68128 w 358129"/>
                    <a:gd name="connsiteY5" fmla="*/ 203656 h 407859"/>
                    <a:gd name="connsiteX6" fmla="*/ 179064 w 358129"/>
                    <a:gd name="connsiteY6" fmla="*/ 338638 h 407859"/>
                    <a:gd name="connsiteX7" fmla="*/ 289454 w 358129"/>
                    <a:gd name="connsiteY7" fmla="*/ 203656 h 407859"/>
                    <a:gd name="connsiteX8" fmla="*/ 179064 w 358129"/>
                    <a:gd name="connsiteY8" fmla="*/ 69221 h 407859"/>
                    <a:gd name="connsiteX9" fmla="*/ 68128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7" y="407860"/>
                        <a:pt x="179064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8" y="0"/>
                        <a:pt x="179064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128" y="203656"/>
                      </a:moveTo>
                      <a:cubicBezTo>
                        <a:pt x="68128" y="294555"/>
                        <a:pt x="101646" y="338638"/>
                        <a:pt x="179064" y="338638"/>
                      </a:cubicBezTo>
                      <a:cubicBezTo>
                        <a:pt x="256483" y="338638"/>
                        <a:pt x="289454" y="294555"/>
                        <a:pt x="289454" y="203656"/>
                      </a:cubicBezTo>
                      <a:cubicBezTo>
                        <a:pt x="289454" y="112758"/>
                        <a:pt x="255937" y="69221"/>
                        <a:pt x="179064" y="69221"/>
                      </a:cubicBezTo>
                      <a:cubicBezTo>
                        <a:pt x="102192" y="69221"/>
                        <a:pt x="68128" y="113304"/>
                        <a:pt x="68128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" name="Freeform: Shape 97">
                  <a:extLst>
                    <a:ext uri="{FF2B5EF4-FFF2-40B4-BE49-F238E27FC236}">
                      <a16:creationId xmlns:a16="http://schemas.microsoft.com/office/drawing/2014/main" id="{246547ED-B5CE-9322-6121-20604B4EAFE2}"/>
                    </a:ext>
                  </a:extLst>
                </p:cNvPr>
                <p:cNvSpPr/>
                <p:nvPr/>
              </p:nvSpPr>
              <p:spPr>
                <a:xfrm>
                  <a:off x="8744558" y="2759273"/>
                  <a:ext cx="332262" cy="396201"/>
                </a:xfrm>
                <a:custGeom>
                  <a:avLst/>
                  <a:gdLst>
                    <a:gd name="connsiteX0" fmla="*/ 198374 w 332262"/>
                    <a:gd name="connsiteY0" fmla="*/ 182 h 396201"/>
                    <a:gd name="connsiteX1" fmla="*/ 330988 w 332262"/>
                    <a:gd name="connsiteY1" fmla="*/ 106382 h 396201"/>
                    <a:gd name="connsiteX2" fmla="*/ 274700 w 332262"/>
                    <a:gd name="connsiteY2" fmla="*/ 197281 h 396201"/>
                    <a:gd name="connsiteX3" fmla="*/ 332263 w 332262"/>
                    <a:gd name="connsiteY3" fmla="*/ 290001 h 396201"/>
                    <a:gd name="connsiteX4" fmla="*/ 200196 w 332262"/>
                    <a:gd name="connsiteY4" fmla="*/ 396201 h 396201"/>
                    <a:gd name="connsiteX5" fmla="*/ 0 w 332262"/>
                    <a:gd name="connsiteY5" fmla="*/ 396201 h 396201"/>
                    <a:gd name="connsiteX6" fmla="*/ 0 w 332262"/>
                    <a:gd name="connsiteY6" fmla="*/ 326980 h 396201"/>
                    <a:gd name="connsiteX7" fmla="*/ 200196 w 332262"/>
                    <a:gd name="connsiteY7" fmla="*/ 326980 h 396201"/>
                    <a:gd name="connsiteX8" fmla="*/ 260126 w 332262"/>
                    <a:gd name="connsiteY8" fmla="*/ 276521 h 396201"/>
                    <a:gd name="connsiteX9" fmla="*/ 199649 w 332262"/>
                    <a:gd name="connsiteY9" fmla="*/ 228977 h 396201"/>
                    <a:gd name="connsiteX10" fmla="*/ 77601 w 332262"/>
                    <a:gd name="connsiteY10" fmla="*/ 228977 h 396201"/>
                    <a:gd name="connsiteX11" fmla="*/ 77601 w 332262"/>
                    <a:gd name="connsiteY11" fmla="*/ 166131 h 396201"/>
                    <a:gd name="connsiteX12" fmla="*/ 197828 w 332262"/>
                    <a:gd name="connsiteY12" fmla="*/ 166131 h 396201"/>
                    <a:gd name="connsiteX13" fmla="*/ 258305 w 332262"/>
                    <a:gd name="connsiteY13" fmla="*/ 118587 h 396201"/>
                    <a:gd name="connsiteX14" fmla="*/ 198374 w 332262"/>
                    <a:gd name="connsiteY14" fmla="*/ 69403 h 396201"/>
                    <a:gd name="connsiteX15" fmla="*/ 546 w 332262"/>
                    <a:gd name="connsiteY15" fmla="*/ 69403 h 396201"/>
                    <a:gd name="connsiteX16" fmla="*/ 546 w 332262"/>
                    <a:gd name="connsiteY16" fmla="*/ 0 h 396201"/>
                    <a:gd name="connsiteX17" fmla="*/ 198374 w 332262"/>
                    <a:gd name="connsiteY17" fmla="*/ 0 h 39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262" h="396201">
                      <a:moveTo>
                        <a:pt x="198374" y="182"/>
                      </a:moveTo>
                      <a:cubicBezTo>
                        <a:pt x="291641" y="182"/>
                        <a:pt x="330988" y="45358"/>
                        <a:pt x="330988" y="106382"/>
                      </a:cubicBezTo>
                      <a:cubicBezTo>
                        <a:pt x="330988" y="153380"/>
                        <a:pt x="310950" y="182161"/>
                        <a:pt x="274700" y="197281"/>
                      </a:cubicBezTo>
                      <a:cubicBezTo>
                        <a:pt x="312225" y="213129"/>
                        <a:pt x="332263" y="242457"/>
                        <a:pt x="332263" y="290001"/>
                      </a:cubicBezTo>
                      <a:cubicBezTo>
                        <a:pt x="332263" y="349203"/>
                        <a:pt x="293462" y="396201"/>
                        <a:pt x="200196" y="396201"/>
                      </a:cubicBezTo>
                      <a:lnTo>
                        <a:pt x="0" y="396201"/>
                      </a:lnTo>
                      <a:lnTo>
                        <a:pt x="0" y="326980"/>
                      </a:lnTo>
                      <a:lnTo>
                        <a:pt x="200196" y="326980"/>
                      </a:lnTo>
                      <a:cubicBezTo>
                        <a:pt x="240636" y="326980"/>
                        <a:pt x="260126" y="308217"/>
                        <a:pt x="260126" y="276521"/>
                      </a:cubicBezTo>
                      <a:cubicBezTo>
                        <a:pt x="260126" y="244825"/>
                        <a:pt x="239542" y="228977"/>
                        <a:pt x="199649" y="228977"/>
                      </a:cubicBezTo>
                      <a:lnTo>
                        <a:pt x="77601" y="228977"/>
                      </a:lnTo>
                      <a:lnTo>
                        <a:pt x="77601" y="166131"/>
                      </a:lnTo>
                      <a:lnTo>
                        <a:pt x="197828" y="166131"/>
                      </a:lnTo>
                      <a:cubicBezTo>
                        <a:pt x="238267" y="166131"/>
                        <a:pt x="258305" y="151558"/>
                        <a:pt x="258305" y="118587"/>
                      </a:cubicBezTo>
                      <a:cubicBezTo>
                        <a:pt x="258305" y="88713"/>
                        <a:pt x="240089" y="69403"/>
                        <a:pt x="198374" y="69403"/>
                      </a:cubicBezTo>
                      <a:lnTo>
                        <a:pt x="546" y="69403"/>
                      </a:lnTo>
                      <a:lnTo>
                        <a:pt x="546" y="0"/>
                      </a:lnTo>
                      <a:lnTo>
                        <a:pt x="198374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F124A0D6-182B-0BB2-C97A-72D61103DB08}"/>
                    </a:ext>
                  </a:extLst>
                </p:cNvPr>
                <p:cNvSpPr/>
                <p:nvPr/>
              </p:nvSpPr>
              <p:spPr>
                <a:xfrm>
                  <a:off x="9137298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5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5 w 358129"/>
                    <a:gd name="connsiteY3" fmla="*/ 0 h 407859"/>
                    <a:gd name="connsiteX4" fmla="*/ 358129 w 358129"/>
                    <a:gd name="connsiteY4" fmla="*/ 204203 h 407859"/>
                    <a:gd name="connsiteX5" fmla="*/ 68311 w 358129"/>
                    <a:gd name="connsiteY5" fmla="*/ 203656 h 407859"/>
                    <a:gd name="connsiteX6" fmla="*/ 179247 w 358129"/>
                    <a:gd name="connsiteY6" fmla="*/ 338638 h 407859"/>
                    <a:gd name="connsiteX7" fmla="*/ 289637 w 358129"/>
                    <a:gd name="connsiteY7" fmla="*/ 203656 h 407859"/>
                    <a:gd name="connsiteX8" fmla="*/ 179247 w 358129"/>
                    <a:gd name="connsiteY8" fmla="*/ 69221 h 407859"/>
                    <a:gd name="connsiteX9" fmla="*/ 68311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8" y="407860"/>
                        <a:pt x="179065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9" y="0"/>
                        <a:pt x="179065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311" y="203656"/>
                      </a:moveTo>
                      <a:cubicBezTo>
                        <a:pt x="68311" y="294555"/>
                        <a:pt x="101646" y="338638"/>
                        <a:pt x="179247" y="338638"/>
                      </a:cubicBezTo>
                      <a:cubicBezTo>
                        <a:pt x="256848" y="338638"/>
                        <a:pt x="289637" y="294555"/>
                        <a:pt x="289637" y="203656"/>
                      </a:cubicBezTo>
                      <a:cubicBezTo>
                        <a:pt x="289637" y="112758"/>
                        <a:pt x="256301" y="69221"/>
                        <a:pt x="179247" y="69221"/>
                      </a:cubicBezTo>
                      <a:cubicBezTo>
                        <a:pt x="102193" y="69221"/>
                        <a:pt x="68311" y="113304"/>
                        <a:pt x="68311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2079351-61DA-E4BB-187F-8DC14334305B}"/>
                  </a:ext>
                </a:extLst>
              </p:cNvPr>
              <p:cNvSpPr/>
              <p:nvPr/>
            </p:nvSpPr>
            <p:spPr>
              <a:xfrm>
                <a:off x="2752724" y="1340236"/>
                <a:ext cx="2907478" cy="415692"/>
              </a:xfrm>
              <a:custGeom>
                <a:avLst/>
                <a:gdLst>
                  <a:gd name="connsiteX0" fmla="*/ 591296 w 2907478"/>
                  <a:gd name="connsiteY0" fmla="*/ 82701 h 415692"/>
                  <a:gd name="connsiteX1" fmla="*/ 676547 w 2907478"/>
                  <a:gd name="connsiteY1" fmla="*/ 82701 h 415692"/>
                  <a:gd name="connsiteX2" fmla="*/ 766535 w 2907478"/>
                  <a:gd name="connsiteY2" fmla="*/ 277978 h 415692"/>
                  <a:gd name="connsiteX3" fmla="*/ 772729 w 2907478"/>
                  <a:gd name="connsiteY3" fmla="*/ 277978 h 415692"/>
                  <a:gd name="connsiteX4" fmla="*/ 772729 w 2907478"/>
                  <a:gd name="connsiteY4" fmla="*/ 82701 h 415692"/>
                  <a:gd name="connsiteX5" fmla="*/ 821548 w 2907478"/>
                  <a:gd name="connsiteY5" fmla="*/ 82701 h 415692"/>
                  <a:gd name="connsiteX6" fmla="*/ 821548 w 2907478"/>
                  <a:gd name="connsiteY6" fmla="*/ 332991 h 415692"/>
                  <a:gd name="connsiteX7" fmla="*/ 736296 w 2907478"/>
                  <a:gd name="connsiteY7" fmla="*/ 332991 h 415692"/>
                  <a:gd name="connsiteX8" fmla="*/ 645944 w 2907478"/>
                  <a:gd name="connsiteY8" fmla="*/ 137714 h 415692"/>
                  <a:gd name="connsiteX9" fmla="*/ 640115 w 2907478"/>
                  <a:gd name="connsiteY9" fmla="*/ 137714 h 415692"/>
                  <a:gd name="connsiteX10" fmla="*/ 640115 w 2907478"/>
                  <a:gd name="connsiteY10" fmla="*/ 332991 h 415692"/>
                  <a:gd name="connsiteX11" fmla="*/ 591296 w 2907478"/>
                  <a:gd name="connsiteY11" fmla="*/ 332991 h 415692"/>
                  <a:gd name="connsiteX12" fmla="*/ 591296 w 2907478"/>
                  <a:gd name="connsiteY12" fmla="*/ 82701 h 415692"/>
                  <a:gd name="connsiteX13" fmla="*/ 869274 w 2907478"/>
                  <a:gd name="connsiteY13" fmla="*/ 207846 h 415692"/>
                  <a:gd name="connsiteX14" fmla="*/ 997152 w 2907478"/>
                  <a:gd name="connsiteY14" fmla="*/ 76872 h 415692"/>
                  <a:gd name="connsiteX15" fmla="*/ 1113371 w 2907478"/>
                  <a:gd name="connsiteY15" fmla="*/ 174328 h 415692"/>
                  <a:gd name="connsiteX16" fmla="*/ 1063276 w 2907478"/>
                  <a:gd name="connsiteY16" fmla="*/ 174328 h 415692"/>
                  <a:gd name="connsiteX17" fmla="*/ 1010085 w 2907478"/>
                  <a:gd name="connsiteY17" fmla="*/ 122777 h 415692"/>
                  <a:gd name="connsiteX18" fmla="*/ 981850 w 2907478"/>
                  <a:gd name="connsiteY18" fmla="*/ 122777 h 415692"/>
                  <a:gd name="connsiteX19" fmla="*/ 919733 w 2907478"/>
                  <a:gd name="connsiteY19" fmla="*/ 208028 h 415692"/>
                  <a:gd name="connsiteX20" fmla="*/ 981850 w 2907478"/>
                  <a:gd name="connsiteY20" fmla="*/ 293280 h 415692"/>
                  <a:gd name="connsiteX21" fmla="*/ 1010085 w 2907478"/>
                  <a:gd name="connsiteY21" fmla="*/ 293280 h 415692"/>
                  <a:gd name="connsiteX22" fmla="*/ 1064005 w 2907478"/>
                  <a:gd name="connsiteY22" fmla="*/ 241728 h 415692"/>
                  <a:gd name="connsiteX23" fmla="*/ 1114099 w 2907478"/>
                  <a:gd name="connsiteY23" fmla="*/ 241728 h 415692"/>
                  <a:gd name="connsiteX24" fmla="*/ 995512 w 2907478"/>
                  <a:gd name="connsiteY24" fmla="*/ 339185 h 415692"/>
                  <a:gd name="connsiteX25" fmla="*/ 869092 w 2907478"/>
                  <a:gd name="connsiteY25" fmla="*/ 208210 h 415692"/>
                  <a:gd name="connsiteX26" fmla="*/ 1162736 w 2907478"/>
                  <a:gd name="connsiteY26" fmla="*/ 82701 h 415692"/>
                  <a:gd name="connsiteX27" fmla="*/ 1280413 w 2907478"/>
                  <a:gd name="connsiteY27" fmla="*/ 82701 h 415692"/>
                  <a:gd name="connsiteX28" fmla="*/ 1363296 w 2907478"/>
                  <a:gd name="connsiteY28" fmla="*/ 158663 h 415692"/>
                  <a:gd name="connsiteX29" fmla="*/ 1314841 w 2907478"/>
                  <a:gd name="connsiteY29" fmla="*/ 227520 h 415692"/>
                  <a:gd name="connsiteX30" fmla="*/ 1373133 w 2907478"/>
                  <a:gd name="connsiteY30" fmla="*/ 333173 h 415692"/>
                  <a:gd name="connsiteX31" fmla="*/ 1317574 w 2907478"/>
                  <a:gd name="connsiteY31" fmla="*/ 333173 h 415692"/>
                  <a:gd name="connsiteX32" fmla="*/ 1264018 w 2907478"/>
                  <a:gd name="connsiteY32" fmla="*/ 234988 h 415692"/>
                  <a:gd name="connsiteX33" fmla="*/ 1212466 w 2907478"/>
                  <a:gd name="connsiteY33" fmla="*/ 234988 h 415692"/>
                  <a:gd name="connsiteX34" fmla="*/ 1212466 w 2907478"/>
                  <a:gd name="connsiteY34" fmla="*/ 333173 h 415692"/>
                  <a:gd name="connsiteX35" fmla="*/ 1162736 w 2907478"/>
                  <a:gd name="connsiteY35" fmla="*/ 333173 h 415692"/>
                  <a:gd name="connsiteX36" fmla="*/ 1162736 w 2907478"/>
                  <a:gd name="connsiteY36" fmla="*/ 82701 h 415692"/>
                  <a:gd name="connsiteX37" fmla="*/ 1276951 w 2907478"/>
                  <a:gd name="connsiteY37" fmla="*/ 194548 h 415692"/>
                  <a:gd name="connsiteX38" fmla="*/ 1313748 w 2907478"/>
                  <a:gd name="connsiteY38" fmla="*/ 159756 h 415692"/>
                  <a:gd name="connsiteX39" fmla="*/ 1276951 w 2907478"/>
                  <a:gd name="connsiteY39" fmla="*/ 124963 h 415692"/>
                  <a:gd name="connsiteX40" fmla="*/ 1212466 w 2907478"/>
                  <a:gd name="connsiteY40" fmla="*/ 124963 h 415692"/>
                  <a:gd name="connsiteX41" fmla="*/ 1212466 w 2907478"/>
                  <a:gd name="connsiteY41" fmla="*/ 194548 h 415692"/>
                  <a:gd name="connsiteX42" fmla="*/ 1276951 w 2907478"/>
                  <a:gd name="connsiteY42" fmla="*/ 194548 h 415692"/>
                  <a:gd name="connsiteX43" fmla="*/ 1555841 w 2907478"/>
                  <a:gd name="connsiteY43" fmla="*/ 82701 h 415692"/>
                  <a:gd name="connsiteX44" fmla="*/ 1645100 w 2907478"/>
                  <a:gd name="connsiteY44" fmla="*/ 82701 h 415692"/>
                  <a:gd name="connsiteX45" fmla="*/ 1728347 w 2907478"/>
                  <a:gd name="connsiteY45" fmla="*/ 332991 h 415692"/>
                  <a:gd name="connsiteX46" fmla="*/ 1677160 w 2907478"/>
                  <a:gd name="connsiteY46" fmla="*/ 332991 h 415692"/>
                  <a:gd name="connsiteX47" fmla="*/ 1656394 w 2907478"/>
                  <a:gd name="connsiteY47" fmla="*/ 270874 h 415692"/>
                  <a:gd name="connsiteX48" fmla="*/ 1543271 w 2907478"/>
                  <a:gd name="connsiteY48" fmla="*/ 270874 h 415692"/>
                  <a:gd name="connsiteX49" fmla="*/ 1522505 w 2907478"/>
                  <a:gd name="connsiteY49" fmla="*/ 332991 h 415692"/>
                  <a:gd name="connsiteX50" fmla="*/ 1472411 w 2907478"/>
                  <a:gd name="connsiteY50" fmla="*/ 332991 h 415692"/>
                  <a:gd name="connsiteX51" fmla="*/ 1555658 w 2907478"/>
                  <a:gd name="connsiteY51" fmla="*/ 82701 h 415692"/>
                  <a:gd name="connsiteX52" fmla="*/ 1641821 w 2907478"/>
                  <a:gd name="connsiteY52" fmla="*/ 227702 h 415692"/>
                  <a:gd name="connsiteX53" fmla="*/ 1609760 w 2907478"/>
                  <a:gd name="connsiteY53" fmla="*/ 131521 h 415692"/>
                  <a:gd name="connsiteX54" fmla="*/ 1589358 w 2907478"/>
                  <a:gd name="connsiteY54" fmla="*/ 131521 h 415692"/>
                  <a:gd name="connsiteX55" fmla="*/ 1557298 w 2907478"/>
                  <a:gd name="connsiteY55" fmla="*/ 227702 h 415692"/>
                  <a:gd name="connsiteX56" fmla="*/ 1641821 w 2907478"/>
                  <a:gd name="connsiteY56" fmla="*/ 227702 h 415692"/>
                  <a:gd name="connsiteX57" fmla="*/ 1797751 w 2907478"/>
                  <a:gd name="connsiteY57" fmla="*/ 127149 h 415692"/>
                  <a:gd name="connsiteX58" fmla="*/ 1719604 w 2907478"/>
                  <a:gd name="connsiteY58" fmla="*/ 127149 h 415692"/>
                  <a:gd name="connsiteX59" fmla="*/ 1719604 w 2907478"/>
                  <a:gd name="connsiteY59" fmla="*/ 82519 h 415692"/>
                  <a:gd name="connsiteX60" fmla="*/ 1925446 w 2907478"/>
                  <a:gd name="connsiteY60" fmla="*/ 82519 h 415692"/>
                  <a:gd name="connsiteX61" fmla="*/ 1925446 w 2907478"/>
                  <a:gd name="connsiteY61" fmla="*/ 127149 h 415692"/>
                  <a:gd name="connsiteX62" fmla="*/ 1847663 w 2907478"/>
                  <a:gd name="connsiteY62" fmla="*/ 127149 h 415692"/>
                  <a:gd name="connsiteX63" fmla="*/ 1847663 w 2907478"/>
                  <a:gd name="connsiteY63" fmla="*/ 332991 h 415692"/>
                  <a:gd name="connsiteX64" fmla="*/ 1797933 w 2907478"/>
                  <a:gd name="connsiteY64" fmla="*/ 332991 h 415692"/>
                  <a:gd name="connsiteX65" fmla="*/ 1797933 w 2907478"/>
                  <a:gd name="connsiteY65" fmla="*/ 127149 h 415692"/>
                  <a:gd name="connsiteX66" fmla="*/ 1969165 w 2907478"/>
                  <a:gd name="connsiteY66" fmla="*/ 82701 h 415692"/>
                  <a:gd name="connsiteX67" fmla="*/ 2018895 w 2907478"/>
                  <a:gd name="connsiteY67" fmla="*/ 82701 h 415692"/>
                  <a:gd name="connsiteX68" fmla="*/ 2018895 w 2907478"/>
                  <a:gd name="connsiteY68" fmla="*/ 288544 h 415692"/>
                  <a:gd name="connsiteX69" fmla="*/ 2144768 w 2907478"/>
                  <a:gd name="connsiteY69" fmla="*/ 288544 h 415692"/>
                  <a:gd name="connsiteX70" fmla="*/ 2144768 w 2907478"/>
                  <a:gd name="connsiteY70" fmla="*/ 333173 h 415692"/>
                  <a:gd name="connsiteX71" fmla="*/ 1969165 w 2907478"/>
                  <a:gd name="connsiteY71" fmla="*/ 333173 h 415692"/>
                  <a:gd name="connsiteX72" fmla="*/ 1969165 w 2907478"/>
                  <a:gd name="connsiteY72" fmla="*/ 82701 h 415692"/>
                  <a:gd name="connsiteX73" fmla="*/ 2188305 w 2907478"/>
                  <a:gd name="connsiteY73" fmla="*/ 82701 h 415692"/>
                  <a:gd name="connsiteX74" fmla="*/ 2371742 w 2907478"/>
                  <a:gd name="connsiteY74" fmla="*/ 82701 h 415692"/>
                  <a:gd name="connsiteX75" fmla="*/ 2371742 w 2907478"/>
                  <a:gd name="connsiteY75" fmla="*/ 124963 h 415692"/>
                  <a:gd name="connsiteX76" fmla="*/ 2237489 w 2907478"/>
                  <a:gd name="connsiteY76" fmla="*/ 124963 h 415692"/>
                  <a:gd name="connsiteX77" fmla="*/ 2237489 w 2907478"/>
                  <a:gd name="connsiteY77" fmla="*/ 183983 h 415692"/>
                  <a:gd name="connsiteX78" fmla="*/ 2361905 w 2907478"/>
                  <a:gd name="connsiteY78" fmla="*/ 183983 h 415692"/>
                  <a:gd name="connsiteX79" fmla="*/ 2361905 w 2907478"/>
                  <a:gd name="connsiteY79" fmla="*/ 225516 h 415692"/>
                  <a:gd name="connsiteX80" fmla="*/ 2237489 w 2907478"/>
                  <a:gd name="connsiteY80" fmla="*/ 225516 h 415692"/>
                  <a:gd name="connsiteX81" fmla="*/ 2237489 w 2907478"/>
                  <a:gd name="connsiteY81" fmla="*/ 290912 h 415692"/>
                  <a:gd name="connsiteX82" fmla="*/ 2373563 w 2907478"/>
                  <a:gd name="connsiteY82" fmla="*/ 290912 h 415692"/>
                  <a:gd name="connsiteX83" fmla="*/ 2373563 w 2907478"/>
                  <a:gd name="connsiteY83" fmla="*/ 333173 h 415692"/>
                  <a:gd name="connsiteX84" fmla="*/ 2188123 w 2907478"/>
                  <a:gd name="connsiteY84" fmla="*/ 333173 h 415692"/>
                  <a:gd name="connsiteX85" fmla="*/ 2188123 w 2907478"/>
                  <a:gd name="connsiteY85" fmla="*/ 82701 h 415692"/>
                  <a:gd name="connsiteX86" fmla="*/ 2409085 w 2907478"/>
                  <a:gd name="connsiteY86" fmla="*/ 207846 h 415692"/>
                  <a:gd name="connsiteX87" fmla="*/ 2538601 w 2907478"/>
                  <a:gd name="connsiteY87" fmla="*/ 76872 h 415692"/>
                  <a:gd name="connsiteX88" fmla="*/ 2667754 w 2907478"/>
                  <a:gd name="connsiteY88" fmla="*/ 207846 h 415692"/>
                  <a:gd name="connsiteX89" fmla="*/ 2538601 w 2907478"/>
                  <a:gd name="connsiteY89" fmla="*/ 338820 h 415692"/>
                  <a:gd name="connsiteX90" fmla="*/ 2409085 w 2907478"/>
                  <a:gd name="connsiteY90" fmla="*/ 207846 h 415692"/>
                  <a:gd name="connsiteX91" fmla="*/ 2525121 w 2907478"/>
                  <a:gd name="connsiteY91" fmla="*/ 293098 h 415692"/>
                  <a:gd name="connsiteX92" fmla="*/ 2552081 w 2907478"/>
                  <a:gd name="connsiteY92" fmla="*/ 293098 h 415692"/>
                  <a:gd name="connsiteX93" fmla="*/ 2616566 w 2907478"/>
                  <a:gd name="connsiteY93" fmla="*/ 207846 h 415692"/>
                  <a:gd name="connsiteX94" fmla="*/ 2552081 w 2907478"/>
                  <a:gd name="connsiteY94" fmla="*/ 122595 h 415692"/>
                  <a:gd name="connsiteX95" fmla="*/ 2525121 w 2907478"/>
                  <a:gd name="connsiteY95" fmla="*/ 122595 h 415692"/>
                  <a:gd name="connsiteX96" fmla="*/ 2459726 w 2907478"/>
                  <a:gd name="connsiteY96" fmla="*/ 207846 h 415692"/>
                  <a:gd name="connsiteX97" fmla="*/ 2525121 w 2907478"/>
                  <a:gd name="connsiteY97" fmla="*/ 293098 h 415692"/>
                  <a:gd name="connsiteX98" fmla="*/ 2701089 w 2907478"/>
                  <a:gd name="connsiteY98" fmla="*/ 255937 h 415692"/>
                  <a:gd name="connsiteX99" fmla="*/ 2751913 w 2907478"/>
                  <a:gd name="connsiteY99" fmla="*/ 255937 h 415692"/>
                  <a:gd name="connsiteX100" fmla="*/ 2791806 w 2907478"/>
                  <a:gd name="connsiteY100" fmla="*/ 294191 h 415692"/>
                  <a:gd name="connsiteX101" fmla="*/ 2823866 w 2907478"/>
                  <a:gd name="connsiteY101" fmla="*/ 294191 h 415692"/>
                  <a:gd name="connsiteX102" fmla="*/ 2858295 w 2907478"/>
                  <a:gd name="connsiteY102" fmla="*/ 262859 h 415692"/>
                  <a:gd name="connsiteX103" fmla="*/ 2828967 w 2907478"/>
                  <a:gd name="connsiteY103" fmla="*/ 232802 h 415692"/>
                  <a:gd name="connsiteX104" fmla="*/ 2775776 w 2907478"/>
                  <a:gd name="connsiteY104" fmla="*/ 226973 h 415692"/>
                  <a:gd name="connsiteX105" fmla="*/ 2707647 w 2907478"/>
                  <a:gd name="connsiteY105" fmla="*/ 154655 h 415692"/>
                  <a:gd name="connsiteX106" fmla="*/ 2803828 w 2907478"/>
                  <a:gd name="connsiteY106" fmla="*/ 76872 h 415692"/>
                  <a:gd name="connsiteX107" fmla="*/ 2902013 w 2907478"/>
                  <a:gd name="connsiteY107" fmla="*/ 159391 h 415692"/>
                  <a:gd name="connsiteX108" fmla="*/ 2851555 w 2907478"/>
                  <a:gd name="connsiteY108" fmla="*/ 159391 h 415692"/>
                  <a:gd name="connsiteX109" fmla="*/ 2815122 w 2907478"/>
                  <a:gd name="connsiteY109" fmla="*/ 121502 h 415692"/>
                  <a:gd name="connsiteX110" fmla="*/ 2788527 w 2907478"/>
                  <a:gd name="connsiteY110" fmla="*/ 121502 h 415692"/>
                  <a:gd name="connsiteX111" fmla="*/ 2756467 w 2907478"/>
                  <a:gd name="connsiteY111" fmla="*/ 151194 h 415692"/>
                  <a:gd name="connsiteX112" fmla="*/ 2787434 w 2907478"/>
                  <a:gd name="connsiteY112" fmla="*/ 182526 h 415692"/>
                  <a:gd name="connsiteX113" fmla="*/ 2840625 w 2907478"/>
                  <a:gd name="connsiteY113" fmla="*/ 188355 h 415692"/>
                  <a:gd name="connsiteX114" fmla="*/ 2907478 w 2907478"/>
                  <a:gd name="connsiteY114" fmla="*/ 260309 h 415692"/>
                  <a:gd name="connsiteX115" fmla="*/ 2804557 w 2907478"/>
                  <a:gd name="connsiteY115" fmla="*/ 339002 h 415692"/>
                  <a:gd name="connsiteX116" fmla="*/ 2700907 w 2907478"/>
                  <a:gd name="connsiteY116" fmla="*/ 256119 h 415692"/>
                  <a:gd name="connsiteX117" fmla="*/ 207846 w 2907478"/>
                  <a:gd name="connsiteY117" fmla="*/ 0 h 415692"/>
                  <a:gd name="connsiteX118" fmla="*/ 207846 w 2907478"/>
                  <a:gd name="connsiteY118" fmla="*/ 0 h 415692"/>
                  <a:gd name="connsiteX119" fmla="*/ 0 w 2907478"/>
                  <a:gd name="connsiteY119" fmla="*/ 207846 h 415692"/>
                  <a:gd name="connsiteX120" fmla="*/ 207846 w 2907478"/>
                  <a:gd name="connsiteY120" fmla="*/ 415692 h 415692"/>
                  <a:gd name="connsiteX121" fmla="*/ 207846 w 2907478"/>
                  <a:gd name="connsiteY121" fmla="*/ 415692 h 415692"/>
                  <a:gd name="connsiteX122" fmla="*/ 415692 w 2907478"/>
                  <a:gd name="connsiteY122" fmla="*/ 207846 h 415692"/>
                  <a:gd name="connsiteX123" fmla="*/ 207846 w 2907478"/>
                  <a:gd name="connsiteY123" fmla="*/ 0 h 415692"/>
                  <a:gd name="connsiteX124" fmla="*/ 207846 w 2907478"/>
                  <a:gd name="connsiteY124" fmla="*/ 398569 h 415692"/>
                  <a:gd name="connsiteX125" fmla="*/ 142815 w 2907478"/>
                  <a:gd name="connsiteY125" fmla="*/ 353940 h 415692"/>
                  <a:gd name="connsiteX126" fmla="*/ 149919 w 2907478"/>
                  <a:gd name="connsiteY126" fmla="*/ 351389 h 415692"/>
                  <a:gd name="connsiteX127" fmla="*/ 268870 w 2907478"/>
                  <a:gd name="connsiteY127" fmla="*/ 280529 h 415692"/>
                  <a:gd name="connsiteX128" fmla="*/ 307306 w 2907478"/>
                  <a:gd name="connsiteY128" fmla="*/ 244278 h 415692"/>
                  <a:gd name="connsiteX129" fmla="*/ 207846 w 2907478"/>
                  <a:gd name="connsiteY129" fmla="*/ 398569 h 415692"/>
                  <a:gd name="connsiteX130" fmla="*/ 62117 w 2907478"/>
                  <a:gd name="connsiteY130" fmla="*/ 330805 h 415692"/>
                  <a:gd name="connsiteX131" fmla="*/ 61388 w 2907478"/>
                  <a:gd name="connsiteY131" fmla="*/ 330076 h 415692"/>
                  <a:gd name="connsiteX132" fmla="*/ 91263 w 2907478"/>
                  <a:gd name="connsiteY132" fmla="*/ 247193 h 415692"/>
                  <a:gd name="connsiteX133" fmla="*/ 111301 w 2907478"/>
                  <a:gd name="connsiteY133" fmla="*/ 330076 h 415692"/>
                  <a:gd name="connsiteX134" fmla="*/ 62117 w 2907478"/>
                  <a:gd name="connsiteY134" fmla="*/ 330805 h 415692"/>
                  <a:gd name="connsiteX135" fmla="*/ 207846 w 2907478"/>
                  <a:gd name="connsiteY135" fmla="*/ 17123 h 415692"/>
                  <a:gd name="connsiteX136" fmla="*/ 207846 w 2907478"/>
                  <a:gd name="connsiteY136" fmla="*/ 17123 h 415692"/>
                  <a:gd name="connsiteX137" fmla="*/ 272878 w 2907478"/>
                  <a:gd name="connsiteY137" fmla="*/ 61753 h 415692"/>
                  <a:gd name="connsiteX138" fmla="*/ 265774 w 2907478"/>
                  <a:gd name="connsiteY138" fmla="*/ 64303 h 415692"/>
                  <a:gd name="connsiteX139" fmla="*/ 146822 w 2907478"/>
                  <a:gd name="connsiteY139" fmla="*/ 135164 h 415692"/>
                  <a:gd name="connsiteX140" fmla="*/ 108386 w 2907478"/>
                  <a:gd name="connsiteY140" fmla="*/ 171414 h 415692"/>
                  <a:gd name="connsiteX141" fmla="*/ 207846 w 2907478"/>
                  <a:gd name="connsiteY141" fmla="*/ 17123 h 415692"/>
                  <a:gd name="connsiteX142" fmla="*/ 353393 w 2907478"/>
                  <a:gd name="connsiteY142" fmla="*/ 84887 h 415692"/>
                  <a:gd name="connsiteX143" fmla="*/ 354122 w 2907478"/>
                  <a:gd name="connsiteY143" fmla="*/ 85616 h 415692"/>
                  <a:gd name="connsiteX144" fmla="*/ 324247 w 2907478"/>
                  <a:gd name="connsiteY144" fmla="*/ 168499 h 415692"/>
                  <a:gd name="connsiteX145" fmla="*/ 304210 w 2907478"/>
                  <a:gd name="connsiteY145" fmla="*/ 85616 h 415692"/>
                  <a:gd name="connsiteX146" fmla="*/ 353393 w 2907478"/>
                  <a:gd name="connsiteY146" fmla="*/ 84887 h 415692"/>
                  <a:gd name="connsiteX147" fmla="*/ 139171 w 2907478"/>
                  <a:gd name="connsiteY147" fmla="*/ 190177 h 415692"/>
                  <a:gd name="connsiteX148" fmla="*/ 207846 w 2907478"/>
                  <a:gd name="connsiteY148" fmla="*/ 188901 h 415692"/>
                  <a:gd name="connsiteX149" fmla="*/ 306942 w 2907478"/>
                  <a:gd name="connsiteY149" fmla="*/ 191634 h 415692"/>
                  <a:gd name="connsiteX150" fmla="*/ 276521 w 2907478"/>
                  <a:gd name="connsiteY150" fmla="*/ 225334 h 415692"/>
                  <a:gd name="connsiteX151" fmla="*/ 207846 w 2907478"/>
                  <a:gd name="connsiteY151" fmla="*/ 226609 h 415692"/>
                  <a:gd name="connsiteX152" fmla="*/ 108750 w 2907478"/>
                  <a:gd name="connsiteY152" fmla="*/ 223876 h 415692"/>
                  <a:gd name="connsiteX153" fmla="*/ 139171 w 2907478"/>
                  <a:gd name="connsiteY153" fmla="*/ 190177 h 415692"/>
                  <a:gd name="connsiteX154" fmla="*/ 307488 w 2907478"/>
                  <a:gd name="connsiteY154" fmla="*/ 174693 h 415692"/>
                  <a:gd name="connsiteX155" fmla="*/ 207664 w 2907478"/>
                  <a:gd name="connsiteY155" fmla="*/ 171960 h 415692"/>
                  <a:gd name="connsiteX156" fmla="*/ 157570 w 2907478"/>
                  <a:gd name="connsiteY156" fmla="*/ 172689 h 415692"/>
                  <a:gd name="connsiteX157" fmla="*/ 169410 w 2907478"/>
                  <a:gd name="connsiteY157" fmla="*/ 162306 h 415692"/>
                  <a:gd name="connsiteX158" fmla="*/ 247193 w 2907478"/>
                  <a:gd name="connsiteY158" fmla="*/ 109661 h 415692"/>
                  <a:gd name="connsiteX159" fmla="*/ 287815 w 2907478"/>
                  <a:gd name="connsiteY159" fmla="*/ 91445 h 415692"/>
                  <a:gd name="connsiteX160" fmla="*/ 307488 w 2907478"/>
                  <a:gd name="connsiteY160" fmla="*/ 174875 h 415692"/>
                  <a:gd name="connsiteX161" fmla="*/ 68675 w 2907478"/>
                  <a:gd name="connsiteY161" fmla="*/ 220597 h 415692"/>
                  <a:gd name="connsiteX162" fmla="*/ 17123 w 2907478"/>
                  <a:gd name="connsiteY162" fmla="*/ 207664 h 415692"/>
                  <a:gd name="connsiteX163" fmla="*/ 89259 w 2907478"/>
                  <a:gd name="connsiteY163" fmla="*/ 192909 h 415692"/>
                  <a:gd name="connsiteX164" fmla="*/ 68675 w 2907478"/>
                  <a:gd name="connsiteY164" fmla="*/ 220597 h 415692"/>
                  <a:gd name="connsiteX165" fmla="*/ 28235 w 2907478"/>
                  <a:gd name="connsiteY165" fmla="*/ 231709 h 415692"/>
                  <a:gd name="connsiteX166" fmla="*/ 58292 w 2907478"/>
                  <a:gd name="connsiteY166" fmla="*/ 236628 h 415692"/>
                  <a:gd name="connsiteX167" fmla="*/ 56288 w 2907478"/>
                  <a:gd name="connsiteY167" fmla="*/ 239907 h 415692"/>
                  <a:gd name="connsiteX168" fmla="*/ 35886 w 2907478"/>
                  <a:gd name="connsiteY168" fmla="*/ 290547 h 415692"/>
                  <a:gd name="connsiteX169" fmla="*/ 18216 w 2907478"/>
                  <a:gd name="connsiteY169" fmla="*/ 228977 h 415692"/>
                  <a:gd name="connsiteX170" fmla="*/ 28235 w 2907478"/>
                  <a:gd name="connsiteY170" fmla="*/ 231709 h 415692"/>
                  <a:gd name="connsiteX171" fmla="*/ 108022 w 2907478"/>
                  <a:gd name="connsiteY171" fmla="*/ 241000 h 415692"/>
                  <a:gd name="connsiteX172" fmla="*/ 207846 w 2907478"/>
                  <a:gd name="connsiteY172" fmla="*/ 243732 h 415692"/>
                  <a:gd name="connsiteX173" fmla="*/ 257941 w 2907478"/>
                  <a:gd name="connsiteY173" fmla="*/ 243003 h 415692"/>
                  <a:gd name="connsiteX174" fmla="*/ 246100 w 2907478"/>
                  <a:gd name="connsiteY174" fmla="*/ 253387 h 415692"/>
                  <a:gd name="connsiteX175" fmla="*/ 168317 w 2907478"/>
                  <a:gd name="connsiteY175" fmla="*/ 306031 h 415692"/>
                  <a:gd name="connsiteX176" fmla="*/ 127695 w 2907478"/>
                  <a:gd name="connsiteY176" fmla="*/ 324247 h 415692"/>
                  <a:gd name="connsiteX177" fmla="*/ 108022 w 2907478"/>
                  <a:gd name="connsiteY177" fmla="*/ 240817 h 415692"/>
                  <a:gd name="connsiteX178" fmla="*/ 347017 w 2907478"/>
                  <a:gd name="connsiteY178" fmla="*/ 194913 h 415692"/>
                  <a:gd name="connsiteX179" fmla="*/ 398569 w 2907478"/>
                  <a:gd name="connsiteY179" fmla="*/ 207846 h 415692"/>
                  <a:gd name="connsiteX180" fmla="*/ 326433 w 2907478"/>
                  <a:gd name="connsiteY180" fmla="*/ 222601 h 415692"/>
                  <a:gd name="connsiteX181" fmla="*/ 347017 w 2907478"/>
                  <a:gd name="connsiteY181" fmla="*/ 194913 h 415692"/>
                  <a:gd name="connsiteX182" fmla="*/ 387275 w 2907478"/>
                  <a:gd name="connsiteY182" fmla="*/ 183801 h 415692"/>
                  <a:gd name="connsiteX183" fmla="*/ 357219 w 2907478"/>
                  <a:gd name="connsiteY183" fmla="*/ 178882 h 415692"/>
                  <a:gd name="connsiteX184" fmla="*/ 359222 w 2907478"/>
                  <a:gd name="connsiteY184" fmla="*/ 175604 h 415692"/>
                  <a:gd name="connsiteX185" fmla="*/ 379624 w 2907478"/>
                  <a:gd name="connsiteY185" fmla="*/ 124963 h 415692"/>
                  <a:gd name="connsiteX186" fmla="*/ 397294 w 2907478"/>
                  <a:gd name="connsiteY186" fmla="*/ 186533 h 415692"/>
                  <a:gd name="connsiteX187" fmla="*/ 387275 w 2907478"/>
                  <a:gd name="connsiteY187" fmla="*/ 183801 h 415692"/>
                  <a:gd name="connsiteX188" fmla="*/ 318965 w 2907478"/>
                  <a:gd name="connsiteY188" fmla="*/ 53009 h 415692"/>
                  <a:gd name="connsiteX189" fmla="*/ 289819 w 2907478"/>
                  <a:gd name="connsiteY189" fmla="*/ 56652 h 415692"/>
                  <a:gd name="connsiteX190" fmla="*/ 266320 w 2907478"/>
                  <a:gd name="connsiteY190" fmla="*/ 26231 h 415692"/>
                  <a:gd name="connsiteX191" fmla="*/ 318965 w 2907478"/>
                  <a:gd name="connsiteY191" fmla="*/ 53009 h 415692"/>
                  <a:gd name="connsiteX192" fmla="*/ 149372 w 2907478"/>
                  <a:gd name="connsiteY192" fmla="*/ 26413 h 415692"/>
                  <a:gd name="connsiteX193" fmla="*/ 90716 w 2907478"/>
                  <a:gd name="connsiteY193" fmla="*/ 175786 h 415692"/>
                  <a:gd name="connsiteX194" fmla="*/ 71407 w 2907478"/>
                  <a:gd name="connsiteY194" fmla="*/ 177425 h 415692"/>
                  <a:gd name="connsiteX195" fmla="*/ 28417 w 2907478"/>
                  <a:gd name="connsiteY195" fmla="*/ 183801 h 415692"/>
                  <a:gd name="connsiteX196" fmla="*/ 18398 w 2907478"/>
                  <a:gd name="connsiteY196" fmla="*/ 186533 h 415692"/>
                  <a:gd name="connsiteX197" fmla="*/ 149372 w 2907478"/>
                  <a:gd name="connsiteY197" fmla="*/ 26231 h 415692"/>
                  <a:gd name="connsiteX198" fmla="*/ 96546 w 2907478"/>
                  <a:gd name="connsiteY198" fmla="*/ 362501 h 415692"/>
                  <a:gd name="connsiteX199" fmla="*/ 125691 w 2907478"/>
                  <a:gd name="connsiteY199" fmla="*/ 358858 h 415692"/>
                  <a:gd name="connsiteX200" fmla="*/ 149190 w 2907478"/>
                  <a:gd name="connsiteY200" fmla="*/ 389279 h 415692"/>
                  <a:gd name="connsiteX201" fmla="*/ 96546 w 2907478"/>
                  <a:gd name="connsiteY201" fmla="*/ 362501 h 415692"/>
                  <a:gd name="connsiteX202" fmla="*/ 266320 w 2907478"/>
                  <a:gd name="connsiteY202" fmla="*/ 389279 h 415692"/>
                  <a:gd name="connsiteX203" fmla="*/ 324976 w 2907478"/>
                  <a:gd name="connsiteY203" fmla="*/ 239907 h 415692"/>
                  <a:gd name="connsiteX204" fmla="*/ 344285 w 2907478"/>
                  <a:gd name="connsiteY204" fmla="*/ 238267 h 415692"/>
                  <a:gd name="connsiteX205" fmla="*/ 387275 w 2907478"/>
                  <a:gd name="connsiteY205" fmla="*/ 231891 h 415692"/>
                  <a:gd name="connsiteX206" fmla="*/ 397294 w 2907478"/>
                  <a:gd name="connsiteY206" fmla="*/ 229159 h 415692"/>
                  <a:gd name="connsiteX207" fmla="*/ 266320 w 2907478"/>
                  <a:gd name="connsiteY207" fmla="*/ 389461 h 415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</a:cxnLst>
                <a:rect l="l" t="t" r="r" b="b"/>
                <a:pathLst>
                  <a:path w="2907478" h="415692">
                    <a:moveTo>
                      <a:pt x="591296" y="82701"/>
                    </a:moveTo>
                    <a:lnTo>
                      <a:pt x="676547" y="82701"/>
                    </a:lnTo>
                    <a:cubicBezTo>
                      <a:pt x="676547" y="82701"/>
                      <a:pt x="766535" y="277978"/>
                      <a:pt x="766535" y="277978"/>
                    </a:cubicBezTo>
                    <a:lnTo>
                      <a:pt x="772729" y="277978"/>
                    </a:lnTo>
                    <a:lnTo>
                      <a:pt x="772729" y="82701"/>
                    </a:lnTo>
                    <a:lnTo>
                      <a:pt x="821548" y="82701"/>
                    </a:lnTo>
                    <a:lnTo>
                      <a:pt x="821548" y="332991"/>
                    </a:lnTo>
                    <a:lnTo>
                      <a:pt x="736296" y="332991"/>
                    </a:lnTo>
                    <a:lnTo>
                      <a:pt x="645944" y="137714"/>
                    </a:lnTo>
                    <a:lnTo>
                      <a:pt x="640115" y="137714"/>
                    </a:lnTo>
                    <a:lnTo>
                      <a:pt x="640115" y="332991"/>
                    </a:lnTo>
                    <a:lnTo>
                      <a:pt x="591296" y="332991"/>
                    </a:lnTo>
                    <a:lnTo>
                      <a:pt x="591296" y="82701"/>
                    </a:lnTo>
                    <a:close/>
                    <a:moveTo>
                      <a:pt x="869274" y="207846"/>
                    </a:moveTo>
                    <a:cubicBezTo>
                      <a:pt x="869274" y="130063"/>
                      <a:pt x="921372" y="76872"/>
                      <a:pt x="997152" y="76872"/>
                    </a:cubicBezTo>
                    <a:cubicBezTo>
                      <a:pt x="1064369" y="76872"/>
                      <a:pt x="1109727" y="115126"/>
                      <a:pt x="1113371" y="174328"/>
                    </a:cubicBezTo>
                    <a:lnTo>
                      <a:pt x="1063276" y="174328"/>
                    </a:lnTo>
                    <a:cubicBezTo>
                      <a:pt x="1055443" y="138261"/>
                      <a:pt x="1034312" y="122777"/>
                      <a:pt x="1010085" y="122777"/>
                    </a:cubicBezTo>
                    <a:lnTo>
                      <a:pt x="981850" y="122777"/>
                    </a:lnTo>
                    <a:cubicBezTo>
                      <a:pt x="947786" y="122777"/>
                      <a:pt x="919733" y="160302"/>
                      <a:pt x="919733" y="208028"/>
                    </a:cubicBezTo>
                    <a:cubicBezTo>
                      <a:pt x="919733" y="255755"/>
                      <a:pt x="947968" y="293280"/>
                      <a:pt x="981850" y="293280"/>
                    </a:cubicBezTo>
                    <a:lnTo>
                      <a:pt x="1010085" y="293280"/>
                    </a:lnTo>
                    <a:cubicBezTo>
                      <a:pt x="1034312" y="293280"/>
                      <a:pt x="1056172" y="277614"/>
                      <a:pt x="1064005" y="241728"/>
                    </a:cubicBezTo>
                    <a:lnTo>
                      <a:pt x="1114099" y="241728"/>
                    </a:lnTo>
                    <a:cubicBezTo>
                      <a:pt x="1110638" y="299291"/>
                      <a:pt x="1064369" y="339185"/>
                      <a:pt x="995512" y="339185"/>
                    </a:cubicBezTo>
                    <a:cubicBezTo>
                      <a:pt x="923194" y="339185"/>
                      <a:pt x="869092" y="294555"/>
                      <a:pt x="869092" y="208210"/>
                    </a:cubicBezTo>
                    <a:close/>
                    <a:moveTo>
                      <a:pt x="1162736" y="82701"/>
                    </a:moveTo>
                    <a:lnTo>
                      <a:pt x="1280413" y="82701"/>
                    </a:lnTo>
                    <a:cubicBezTo>
                      <a:pt x="1335607" y="82701"/>
                      <a:pt x="1363296" y="118769"/>
                      <a:pt x="1363296" y="158663"/>
                    </a:cubicBezTo>
                    <a:cubicBezTo>
                      <a:pt x="1363296" y="189994"/>
                      <a:pt x="1346173" y="216590"/>
                      <a:pt x="1314841" y="227520"/>
                    </a:cubicBezTo>
                    <a:lnTo>
                      <a:pt x="1373133" y="333173"/>
                    </a:lnTo>
                    <a:lnTo>
                      <a:pt x="1317574" y="333173"/>
                    </a:lnTo>
                    <a:lnTo>
                      <a:pt x="1264018" y="234988"/>
                    </a:lnTo>
                    <a:lnTo>
                      <a:pt x="1212466" y="234988"/>
                    </a:lnTo>
                    <a:lnTo>
                      <a:pt x="1212466" y="333173"/>
                    </a:lnTo>
                    <a:lnTo>
                      <a:pt x="1162736" y="333173"/>
                    </a:lnTo>
                    <a:lnTo>
                      <a:pt x="1162736" y="82701"/>
                    </a:lnTo>
                    <a:close/>
                    <a:moveTo>
                      <a:pt x="1276951" y="194548"/>
                    </a:moveTo>
                    <a:cubicBezTo>
                      <a:pt x="1300086" y="194548"/>
                      <a:pt x="1313748" y="179247"/>
                      <a:pt x="1313748" y="159756"/>
                    </a:cubicBezTo>
                    <a:cubicBezTo>
                      <a:pt x="1313748" y="140264"/>
                      <a:pt x="1300086" y="124963"/>
                      <a:pt x="1276951" y="124963"/>
                    </a:cubicBezTo>
                    <a:lnTo>
                      <a:pt x="1212466" y="124963"/>
                    </a:lnTo>
                    <a:lnTo>
                      <a:pt x="1212466" y="194548"/>
                    </a:lnTo>
                    <a:lnTo>
                      <a:pt x="1276951" y="194548"/>
                    </a:lnTo>
                    <a:close/>
                    <a:moveTo>
                      <a:pt x="1555841" y="82701"/>
                    </a:moveTo>
                    <a:lnTo>
                      <a:pt x="1645100" y="82701"/>
                    </a:lnTo>
                    <a:lnTo>
                      <a:pt x="1728347" y="332991"/>
                    </a:lnTo>
                    <a:lnTo>
                      <a:pt x="1677160" y="332991"/>
                    </a:lnTo>
                    <a:lnTo>
                      <a:pt x="1656394" y="270874"/>
                    </a:lnTo>
                    <a:lnTo>
                      <a:pt x="1543271" y="270874"/>
                    </a:lnTo>
                    <a:lnTo>
                      <a:pt x="1522505" y="332991"/>
                    </a:lnTo>
                    <a:lnTo>
                      <a:pt x="1472411" y="332991"/>
                    </a:lnTo>
                    <a:lnTo>
                      <a:pt x="1555658" y="82701"/>
                    </a:lnTo>
                    <a:close/>
                    <a:moveTo>
                      <a:pt x="1641821" y="227702"/>
                    </a:moveTo>
                    <a:lnTo>
                      <a:pt x="1609760" y="131521"/>
                    </a:lnTo>
                    <a:lnTo>
                      <a:pt x="1589358" y="131521"/>
                    </a:lnTo>
                    <a:lnTo>
                      <a:pt x="1557298" y="227702"/>
                    </a:lnTo>
                    <a:lnTo>
                      <a:pt x="1641821" y="227702"/>
                    </a:lnTo>
                    <a:close/>
                    <a:moveTo>
                      <a:pt x="1797751" y="127149"/>
                    </a:moveTo>
                    <a:lnTo>
                      <a:pt x="1719604" y="127149"/>
                    </a:lnTo>
                    <a:lnTo>
                      <a:pt x="1719604" y="82519"/>
                    </a:lnTo>
                    <a:lnTo>
                      <a:pt x="1925446" y="82519"/>
                    </a:lnTo>
                    <a:lnTo>
                      <a:pt x="1925446" y="127149"/>
                    </a:lnTo>
                    <a:lnTo>
                      <a:pt x="1847663" y="127149"/>
                    </a:lnTo>
                    <a:lnTo>
                      <a:pt x="1847663" y="332991"/>
                    </a:lnTo>
                    <a:lnTo>
                      <a:pt x="1797933" y="332991"/>
                    </a:lnTo>
                    <a:lnTo>
                      <a:pt x="1797933" y="127149"/>
                    </a:lnTo>
                    <a:close/>
                    <a:moveTo>
                      <a:pt x="1969165" y="82701"/>
                    </a:moveTo>
                    <a:lnTo>
                      <a:pt x="2018895" y="82701"/>
                    </a:lnTo>
                    <a:lnTo>
                      <a:pt x="2018895" y="288544"/>
                    </a:lnTo>
                    <a:lnTo>
                      <a:pt x="2144768" y="288544"/>
                    </a:lnTo>
                    <a:lnTo>
                      <a:pt x="2144768" y="333173"/>
                    </a:lnTo>
                    <a:lnTo>
                      <a:pt x="1969165" y="333173"/>
                    </a:lnTo>
                    <a:lnTo>
                      <a:pt x="1969165" y="82701"/>
                    </a:lnTo>
                    <a:close/>
                    <a:moveTo>
                      <a:pt x="2188305" y="82701"/>
                    </a:moveTo>
                    <a:lnTo>
                      <a:pt x="2371742" y="82701"/>
                    </a:lnTo>
                    <a:lnTo>
                      <a:pt x="2371742" y="124963"/>
                    </a:lnTo>
                    <a:lnTo>
                      <a:pt x="2237489" y="124963"/>
                    </a:lnTo>
                    <a:lnTo>
                      <a:pt x="2237489" y="183983"/>
                    </a:lnTo>
                    <a:lnTo>
                      <a:pt x="2361905" y="183983"/>
                    </a:lnTo>
                    <a:lnTo>
                      <a:pt x="2361905" y="225516"/>
                    </a:lnTo>
                    <a:lnTo>
                      <a:pt x="2237489" y="225516"/>
                    </a:lnTo>
                    <a:lnTo>
                      <a:pt x="2237489" y="290912"/>
                    </a:lnTo>
                    <a:lnTo>
                      <a:pt x="2373563" y="290912"/>
                    </a:lnTo>
                    <a:lnTo>
                      <a:pt x="2373563" y="333173"/>
                    </a:lnTo>
                    <a:lnTo>
                      <a:pt x="2188123" y="333173"/>
                    </a:lnTo>
                    <a:lnTo>
                      <a:pt x="2188123" y="82701"/>
                    </a:lnTo>
                    <a:close/>
                    <a:moveTo>
                      <a:pt x="2409085" y="207846"/>
                    </a:moveTo>
                    <a:cubicBezTo>
                      <a:pt x="2409085" y="129699"/>
                      <a:pt x="2461547" y="76872"/>
                      <a:pt x="2538601" y="76872"/>
                    </a:cubicBezTo>
                    <a:cubicBezTo>
                      <a:pt x="2615656" y="76872"/>
                      <a:pt x="2667754" y="129699"/>
                      <a:pt x="2667754" y="207846"/>
                    </a:cubicBezTo>
                    <a:cubicBezTo>
                      <a:pt x="2667754" y="285993"/>
                      <a:pt x="2614927" y="338820"/>
                      <a:pt x="2538601" y="338820"/>
                    </a:cubicBezTo>
                    <a:cubicBezTo>
                      <a:pt x="2462276" y="338820"/>
                      <a:pt x="2409085" y="285993"/>
                      <a:pt x="2409085" y="207846"/>
                    </a:cubicBezTo>
                    <a:close/>
                    <a:moveTo>
                      <a:pt x="2525121" y="293098"/>
                    </a:moveTo>
                    <a:lnTo>
                      <a:pt x="2552081" y="293098"/>
                    </a:lnTo>
                    <a:cubicBezTo>
                      <a:pt x="2588878" y="293098"/>
                      <a:pt x="2616566" y="255572"/>
                      <a:pt x="2616566" y="207846"/>
                    </a:cubicBezTo>
                    <a:cubicBezTo>
                      <a:pt x="2616566" y="160120"/>
                      <a:pt x="2588878" y="122595"/>
                      <a:pt x="2552081" y="122595"/>
                    </a:cubicBezTo>
                    <a:lnTo>
                      <a:pt x="2525121" y="122595"/>
                    </a:lnTo>
                    <a:cubicBezTo>
                      <a:pt x="2487961" y="122595"/>
                      <a:pt x="2459726" y="160849"/>
                      <a:pt x="2459726" y="207846"/>
                    </a:cubicBezTo>
                    <a:cubicBezTo>
                      <a:pt x="2459726" y="254844"/>
                      <a:pt x="2487961" y="293098"/>
                      <a:pt x="2525121" y="293098"/>
                    </a:cubicBezTo>
                    <a:close/>
                    <a:moveTo>
                      <a:pt x="2701089" y="255937"/>
                    </a:moveTo>
                    <a:lnTo>
                      <a:pt x="2751913" y="255937"/>
                    </a:lnTo>
                    <a:cubicBezTo>
                      <a:pt x="2754645" y="277796"/>
                      <a:pt x="2767943" y="294191"/>
                      <a:pt x="2791806" y="294191"/>
                    </a:cubicBezTo>
                    <a:lnTo>
                      <a:pt x="2823866" y="294191"/>
                    </a:lnTo>
                    <a:cubicBezTo>
                      <a:pt x="2845726" y="294191"/>
                      <a:pt x="2858295" y="280893"/>
                      <a:pt x="2858295" y="262859"/>
                    </a:cubicBezTo>
                    <a:cubicBezTo>
                      <a:pt x="2858295" y="246464"/>
                      <a:pt x="2847365" y="234624"/>
                      <a:pt x="2828967" y="232802"/>
                    </a:cubicBezTo>
                    <a:lnTo>
                      <a:pt x="2775776" y="226973"/>
                    </a:lnTo>
                    <a:cubicBezTo>
                      <a:pt x="2730417" y="221873"/>
                      <a:pt x="2707647" y="194913"/>
                      <a:pt x="2707647" y="154655"/>
                    </a:cubicBezTo>
                    <a:cubicBezTo>
                      <a:pt x="2707647" y="105836"/>
                      <a:pt x="2744079" y="76872"/>
                      <a:pt x="2803828" y="76872"/>
                    </a:cubicBezTo>
                    <a:cubicBezTo>
                      <a:pt x="2863577" y="76872"/>
                      <a:pt x="2899645" y="104561"/>
                      <a:pt x="2902013" y="159391"/>
                    </a:cubicBezTo>
                    <a:lnTo>
                      <a:pt x="2851555" y="159391"/>
                    </a:lnTo>
                    <a:cubicBezTo>
                      <a:pt x="2849915" y="140264"/>
                      <a:pt x="2837892" y="121502"/>
                      <a:pt x="2815122" y="121502"/>
                    </a:cubicBezTo>
                    <a:lnTo>
                      <a:pt x="2788527" y="121502"/>
                    </a:lnTo>
                    <a:cubicBezTo>
                      <a:pt x="2769400" y="121502"/>
                      <a:pt x="2756467" y="132796"/>
                      <a:pt x="2756467" y="151194"/>
                    </a:cubicBezTo>
                    <a:cubicBezTo>
                      <a:pt x="2756467" y="169592"/>
                      <a:pt x="2770129" y="180522"/>
                      <a:pt x="2787434" y="182526"/>
                    </a:cubicBezTo>
                    <a:lnTo>
                      <a:pt x="2840625" y="188355"/>
                    </a:lnTo>
                    <a:cubicBezTo>
                      <a:pt x="2883251" y="193091"/>
                      <a:pt x="2907478" y="216954"/>
                      <a:pt x="2907478" y="260309"/>
                    </a:cubicBezTo>
                    <a:cubicBezTo>
                      <a:pt x="2907478" y="309674"/>
                      <a:pt x="2873050" y="339002"/>
                      <a:pt x="2804557" y="339002"/>
                    </a:cubicBezTo>
                    <a:cubicBezTo>
                      <a:pt x="2736064" y="339002"/>
                      <a:pt x="2702000" y="310767"/>
                      <a:pt x="2700907" y="256119"/>
                    </a:cubicBezTo>
                    <a:close/>
                    <a:moveTo>
                      <a:pt x="207846" y="0"/>
                    </a:moveTo>
                    <a:lnTo>
                      <a:pt x="207846" y="0"/>
                    </a:lnTo>
                    <a:cubicBezTo>
                      <a:pt x="93267" y="0"/>
                      <a:pt x="0" y="93267"/>
                      <a:pt x="0" y="207846"/>
                    </a:cubicBezTo>
                    <a:cubicBezTo>
                      <a:pt x="0" y="322426"/>
                      <a:pt x="93267" y="415692"/>
                      <a:pt x="207846" y="415692"/>
                    </a:cubicBezTo>
                    <a:lnTo>
                      <a:pt x="207846" y="415692"/>
                    </a:lnTo>
                    <a:cubicBezTo>
                      <a:pt x="322426" y="415692"/>
                      <a:pt x="415692" y="322426"/>
                      <a:pt x="415692" y="207846"/>
                    </a:cubicBezTo>
                    <a:cubicBezTo>
                      <a:pt x="415692" y="93267"/>
                      <a:pt x="322426" y="0"/>
                      <a:pt x="207846" y="0"/>
                    </a:cubicBezTo>
                    <a:close/>
                    <a:moveTo>
                      <a:pt x="207846" y="398569"/>
                    </a:moveTo>
                    <a:cubicBezTo>
                      <a:pt x="183072" y="398569"/>
                      <a:pt x="160484" y="381810"/>
                      <a:pt x="142815" y="353940"/>
                    </a:cubicBezTo>
                    <a:cubicBezTo>
                      <a:pt x="145183" y="353029"/>
                      <a:pt x="147551" y="352300"/>
                      <a:pt x="149919" y="351389"/>
                    </a:cubicBezTo>
                    <a:cubicBezTo>
                      <a:pt x="192362" y="335541"/>
                      <a:pt x="232984" y="310767"/>
                      <a:pt x="268870" y="280529"/>
                    </a:cubicBezTo>
                    <a:cubicBezTo>
                      <a:pt x="282350" y="269235"/>
                      <a:pt x="295284" y="257030"/>
                      <a:pt x="307306" y="244278"/>
                    </a:cubicBezTo>
                    <a:cubicBezTo>
                      <a:pt x="298198" y="332080"/>
                      <a:pt x="257030" y="398569"/>
                      <a:pt x="207846" y="398569"/>
                    </a:cubicBezTo>
                    <a:close/>
                    <a:moveTo>
                      <a:pt x="62117" y="330805"/>
                    </a:moveTo>
                    <a:cubicBezTo>
                      <a:pt x="62117" y="330805"/>
                      <a:pt x="61571" y="330259"/>
                      <a:pt x="61388" y="330076"/>
                    </a:cubicBezTo>
                    <a:cubicBezTo>
                      <a:pt x="49730" y="314411"/>
                      <a:pt x="74322" y="272149"/>
                      <a:pt x="91263" y="247193"/>
                    </a:cubicBezTo>
                    <a:cubicBezTo>
                      <a:pt x="94542" y="277796"/>
                      <a:pt x="101464" y="306031"/>
                      <a:pt x="111301" y="330076"/>
                    </a:cubicBezTo>
                    <a:cubicBezTo>
                      <a:pt x="90534" y="336452"/>
                      <a:pt x="70314" y="339367"/>
                      <a:pt x="62117" y="330805"/>
                    </a:cubicBezTo>
                    <a:close/>
                    <a:moveTo>
                      <a:pt x="207846" y="17123"/>
                    </a:moveTo>
                    <a:lnTo>
                      <a:pt x="207846" y="17123"/>
                    </a:lnTo>
                    <a:cubicBezTo>
                      <a:pt x="232620" y="17123"/>
                      <a:pt x="255208" y="33882"/>
                      <a:pt x="272878" y="61753"/>
                    </a:cubicBezTo>
                    <a:cubicBezTo>
                      <a:pt x="270510" y="62664"/>
                      <a:pt x="268142" y="63392"/>
                      <a:pt x="265774" y="64303"/>
                    </a:cubicBezTo>
                    <a:cubicBezTo>
                      <a:pt x="223330" y="80151"/>
                      <a:pt x="182708" y="104925"/>
                      <a:pt x="146822" y="135164"/>
                    </a:cubicBezTo>
                    <a:cubicBezTo>
                      <a:pt x="133342" y="146458"/>
                      <a:pt x="120409" y="158663"/>
                      <a:pt x="108386" y="171414"/>
                    </a:cubicBezTo>
                    <a:cubicBezTo>
                      <a:pt x="117494" y="83612"/>
                      <a:pt x="158480" y="17123"/>
                      <a:pt x="207846" y="17123"/>
                    </a:cubicBezTo>
                    <a:close/>
                    <a:moveTo>
                      <a:pt x="353393" y="84887"/>
                    </a:moveTo>
                    <a:cubicBezTo>
                      <a:pt x="353393" y="84887"/>
                      <a:pt x="353940" y="85434"/>
                      <a:pt x="354122" y="85616"/>
                    </a:cubicBezTo>
                    <a:cubicBezTo>
                      <a:pt x="365780" y="101282"/>
                      <a:pt x="341188" y="143543"/>
                      <a:pt x="324247" y="168499"/>
                    </a:cubicBezTo>
                    <a:cubicBezTo>
                      <a:pt x="320968" y="137896"/>
                      <a:pt x="314046" y="109661"/>
                      <a:pt x="304210" y="85616"/>
                    </a:cubicBezTo>
                    <a:cubicBezTo>
                      <a:pt x="324976" y="79240"/>
                      <a:pt x="345196" y="76326"/>
                      <a:pt x="353393" y="84887"/>
                    </a:cubicBezTo>
                    <a:close/>
                    <a:moveTo>
                      <a:pt x="139171" y="190177"/>
                    </a:moveTo>
                    <a:cubicBezTo>
                      <a:pt x="160484" y="189448"/>
                      <a:pt x="183619" y="188901"/>
                      <a:pt x="207846" y="188901"/>
                    </a:cubicBezTo>
                    <a:cubicBezTo>
                      <a:pt x="244096" y="188901"/>
                      <a:pt x="277978" y="189812"/>
                      <a:pt x="306942" y="191634"/>
                    </a:cubicBezTo>
                    <a:cubicBezTo>
                      <a:pt x="297470" y="203292"/>
                      <a:pt x="287269" y="214404"/>
                      <a:pt x="276521" y="225334"/>
                    </a:cubicBezTo>
                    <a:cubicBezTo>
                      <a:pt x="255208" y="226062"/>
                      <a:pt x="232074" y="226609"/>
                      <a:pt x="207846" y="226609"/>
                    </a:cubicBezTo>
                    <a:cubicBezTo>
                      <a:pt x="171596" y="226609"/>
                      <a:pt x="137714" y="225698"/>
                      <a:pt x="108750" y="223876"/>
                    </a:cubicBezTo>
                    <a:cubicBezTo>
                      <a:pt x="118223" y="212218"/>
                      <a:pt x="128424" y="201106"/>
                      <a:pt x="139171" y="190177"/>
                    </a:cubicBezTo>
                    <a:close/>
                    <a:moveTo>
                      <a:pt x="307488" y="174693"/>
                    </a:moveTo>
                    <a:cubicBezTo>
                      <a:pt x="277614" y="172871"/>
                      <a:pt x="243368" y="171960"/>
                      <a:pt x="207664" y="171960"/>
                    </a:cubicBezTo>
                    <a:cubicBezTo>
                      <a:pt x="190541" y="171960"/>
                      <a:pt x="173782" y="172143"/>
                      <a:pt x="157570" y="172689"/>
                    </a:cubicBezTo>
                    <a:cubicBezTo>
                      <a:pt x="161395" y="169228"/>
                      <a:pt x="165403" y="165767"/>
                      <a:pt x="169410" y="162306"/>
                    </a:cubicBezTo>
                    <a:cubicBezTo>
                      <a:pt x="193820" y="142086"/>
                      <a:pt x="220051" y="124416"/>
                      <a:pt x="247193" y="109661"/>
                    </a:cubicBezTo>
                    <a:cubicBezTo>
                      <a:pt x="252658" y="106747"/>
                      <a:pt x="269235" y="98549"/>
                      <a:pt x="287815" y="91445"/>
                    </a:cubicBezTo>
                    <a:cubicBezTo>
                      <a:pt x="297652" y="115308"/>
                      <a:pt x="304574" y="143725"/>
                      <a:pt x="307488" y="174875"/>
                    </a:cubicBezTo>
                    <a:close/>
                    <a:moveTo>
                      <a:pt x="68675" y="220597"/>
                    </a:moveTo>
                    <a:cubicBezTo>
                      <a:pt x="36797" y="217319"/>
                      <a:pt x="17123" y="212765"/>
                      <a:pt x="17123" y="207664"/>
                    </a:cubicBezTo>
                    <a:cubicBezTo>
                      <a:pt x="17123" y="201653"/>
                      <a:pt x="45358" y="196370"/>
                      <a:pt x="89259" y="192909"/>
                    </a:cubicBezTo>
                    <a:cubicBezTo>
                      <a:pt x="81973" y="201835"/>
                      <a:pt x="75050" y="211125"/>
                      <a:pt x="68675" y="220597"/>
                    </a:cubicBezTo>
                    <a:close/>
                    <a:moveTo>
                      <a:pt x="28235" y="231709"/>
                    </a:moveTo>
                    <a:cubicBezTo>
                      <a:pt x="36068" y="233531"/>
                      <a:pt x="46087" y="235170"/>
                      <a:pt x="58292" y="236628"/>
                    </a:cubicBezTo>
                    <a:cubicBezTo>
                      <a:pt x="57563" y="237721"/>
                      <a:pt x="57017" y="238814"/>
                      <a:pt x="56288" y="239907"/>
                    </a:cubicBezTo>
                    <a:cubicBezTo>
                      <a:pt x="47544" y="254844"/>
                      <a:pt x="38800" y="272513"/>
                      <a:pt x="35886" y="290547"/>
                    </a:cubicBezTo>
                    <a:cubicBezTo>
                      <a:pt x="26596" y="271603"/>
                      <a:pt x="20584" y="250836"/>
                      <a:pt x="18216" y="228977"/>
                    </a:cubicBezTo>
                    <a:cubicBezTo>
                      <a:pt x="22042" y="230434"/>
                      <a:pt x="25685" y="231163"/>
                      <a:pt x="28235" y="231709"/>
                    </a:cubicBezTo>
                    <a:close/>
                    <a:moveTo>
                      <a:pt x="108022" y="241000"/>
                    </a:moveTo>
                    <a:cubicBezTo>
                      <a:pt x="137896" y="242821"/>
                      <a:pt x="172143" y="243732"/>
                      <a:pt x="207846" y="243732"/>
                    </a:cubicBezTo>
                    <a:cubicBezTo>
                      <a:pt x="224969" y="243732"/>
                      <a:pt x="241728" y="243550"/>
                      <a:pt x="257941" y="243003"/>
                    </a:cubicBezTo>
                    <a:cubicBezTo>
                      <a:pt x="254115" y="246464"/>
                      <a:pt x="250108" y="249925"/>
                      <a:pt x="246100" y="253387"/>
                    </a:cubicBezTo>
                    <a:cubicBezTo>
                      <a:pt x="221690" y="273606"/>
                      <a:pt x="195459" y="291276"/>
                      <a:pt x="168317" y="306031"/>
                    </a:cubicBezTo>
                    <a:cubicBezTo>
                      <a:pt x="162852" y="308946"/>
                      <a:pt x="146276" y="317143"/>
                      <a:pt x="127695" y="324247"/>
                    </a:cubicBezTo>
                    <a:cubicBezTo>
                      <a:pt x="117858" y="300384"/>
                      <a:pt x="110936" y="271967"/>
                      <a:pt x="108022" y="240817"/>
                    </a:cubicBezTo>
                    <a:close/>
                    <a:moveTo>
                      <a:pt x="347017" y="194913"/>
                    </a:moveTo>
                    <a:cubicBezTo>
                      <a:pt x="378896" y="198192"/>
                      <a:pt x="398569" y="202746"/>
                      <a:pt x="398569" y="207846"/>
                    </a:cubicBezTo>
                    <a:cubicBezTo>
                      <a:pt x="398569" y="213857"/>
                      <a:pt x="370334" y="219140"/>
                      <a:pt x="326433" y="222601"/>
                    </a:cubicBezTo>
                    <a:cubicBezTo>
                      <a:pt x="333720" y="213675"/>
                      <a:pt x="340642" y="204385"/>
                      <a:pt x="347017" y="194913"/>
                    </a:cubicBezTo>
                    <a:close/>
                    <a:moveTo>
                      <a:pt x="387275" y="183801"/>
                    </a:moveTo>
                    <a:cubicBezTo>
                      <a:pt x="379442" y="181979"/>
                      <a:pt x="369423" y="180340"/>
                      <a:pt x="357219" y="178882"/>
                    </a:cubicBezTo>
                    <a:cubicBezTo>
                      <a:pt x="357947" y="177790"/>
                      <a:pt x="358494" y="176697"/>
                      <a:pt x="359222" y="175604"/>
                    </a:cubicBezTo>
                    <a:cubicBezTo>
                      <a:pt x="367966" y="160666"/>
                      <a:pt x="376710" y="142997"/>
                      <a:pt x="379624" y="124963"/>
                    </a:cubicBezTo>
                    <a:cubicBezTo>
                      <a:pt x="388915" y="143908"/>
                      <a:pt x="394926" y="164674"/>
                      <a:pt x="397294" y="186533"/>
                    </a:cubicBezTo>
                    <a:cubicBezTo>
                      <a:pt x="393469" y="185076"/>
                      <a:pt x="389825" y="184347"/>
                      <a:pt x="387275" y="183801"/>
                    </a:cubicBezTo>
                    <a:close/>
                    <a:moveTo>
                      <a:pt x="318965" y="53009"/>
                    </a:moveTo>
                    <a:cubicBezTo>
                      <a:pt x="309310" y="53009"/>
                      <a:pt x="299291" y="54284"/>
                      <a:pt x="289819" y="56652"/>
                    </a:cubicBezTo>
                    <a:cubicBezTo>
                      <a:pt x="282715" y="44812"/>
                      <a:pt x="274882" y="34611"/>
                      <a:pt x="266320" y="26231"/>
                    </a:cubicBezTo>
                    <a:cubicBezTo>
                      <a:pt x="285447" y="32425"/>
                      <a:pt x="303117" y="41533"/>
                      <a:pt x="318965" y="53009"/>
                    </a:cubicBezTo>
                    <a:close/>
                    <a:moveTo>
                      <a:pt x="149372" y="26413"/>
                    </a:moveTo>
                    <a:cubicBezTo>
                      <a:pt x="118405" y="56834"/>
                      <a:pt x="96363" y="110936"/>
                      <a:pt x="90716" y="175786"/>
                    </a:cubicBezTo>
                    <a:cubicBezTo>
                      <a:pt x="83976" y="176332"/>
                      <a:pt x="77419" y="176879"/>
                      <a:pt x="71407" y="177425"/>
                    </a:cubicBezTo>
                    <a:cubicBezTo>
                      <a:pt x="53191" y="179247"/>
                      <a:pt x="38618" y="181433"/>
                      <a:pt x="28417" y="183801"/>
                    </a:cubicBezTo>
                    <a:cubicBezTo>
                      <a:pt x="25867" y="184347"/>
                      <a:pt x="22224" y="185258"/>
                      <a:pt x="18398" y="186533"/>
                    </a:cubicBezTo>
                    <a:cubicBezTo>
                      <a:pt x="26778" y="111118"/>
                      <a:pt x="79240" y="48819"/>
                      <a:pt x="149372" y="26231"/>
                    </a:cubicBezTo>
                    <a:close/>
                    <a:moveTo>
                      <a:pt x="96546" y="362501"/>
                    </a:moveTo>
                    <a:cubicBezTo>
                      <a:pt x="106200" y="362501"/>
                      <a:pt x="116219" y="361226"/>
                      <a:pt x="125691" y="358858"/>
                    </a:cubicBezTo>
                    <a:cubicBezTo>
                      <a:pt x="132796" y="370698"/>
                      <a:pt x="140629" y="380900"/>
                      <a:pt x="149190" y="389279"/>
                    </a:cubicBezTo>
                    <a:cubicBezTo>
                      <a:pt x="130063" y="383085"/>
                      <a:pt x="112394" y="373977"/>
                      <a:pt x="96546" y="362501"/>
                    </a:cubicBezTo>
                    <a:close/>
                    <a:moveTo>
                      <a:pt x="266320" y="389279"/>
                    </a:moveTo>
                    <a:cubicBezTo>
                      <a:pt x="297287" y="358858"/>
                      <a:pt x="319329" y="304756"/>
                      <a:pt x="324976" y="239907"/>
                    </a:cubicBezTo>
                    <a:cubicBezTo>
                      <a:pt x="331716" y="239360"/>
                      <a:pt x="338274" y="238814"/>
                      <a:pt x="344285" y="238267"/>
                    </a:cubicBezTo>
                    <a:cubicBezTo>
                      <a:pt x="362501" y="236445"/>
                      <a:pt x="377074" y="234260"/>
                      <a:pt x="387275" y="231891"/>
                    </a:cubicBezTo>
                    <a:cubicBezTo>
                      <a:pt x="389825" y="231345"/>
                      <a:pt x="393469" y="230434"/>
                      <a:pt x="397294" y="229159"/>
                    </a:cubicBezTo>
                    <a:cubicBezTo>
                      <a:pt x="388915" y="304574"/>
                      <a:pt x="336452" y="366873"/>
                      <a:pt x="266320" y="38946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91D96D83-B402-3AFF-1D2A-949410CA657C}"/>
                  </a:ext>
                </a:extLst>
              </p:cNvPr>
              <p:cNvSpPr/>
              <p:nvPr/>
            </p:nvSpPr>
            <p:spPr>
              <a:xfrm>
                <a:off x="7838670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175BAACB-D5B4-8738-96F6-1040F289CD6A}"/>
                  </a:ext>
                </a:extLst>
              </p:cNvPr>
              <p:cNvSpPr/>
              <p:nvPr/>
            </p:nvSpPr>
            <p:spPr>
              <a:xfrm>
                <a:off x="8667869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D040E512-C2E3-1606-E384-055990E05DA2}"/>
                  </a:ext>
                </a:extLst>
              </p:cNvPr>
              <p:cNvSpPr/>
              <p:nvPr/>
            </p:nvSpPr>
            <p:spPr>
              <a:xfrm>
                <a:off x="8090963" y="2067424"/>
                <a:ext cx="364869" cy="344649"/>
              </a:xfrm>
              <a:custGeom>
                <a:avLst/>
                <a:gdLst>
                  <a:gd name="connsiteX0" fmla="*/ 146822 w 364869"/>
                  <a:gd name="connsiteY0" fmla="*/ 182 h 344649"/>
                  <a:gd name="connsiteX1" fmla="*/ 0 w 364869"/>
                  <a:gd name="connsiteY1" fmla="*/ 173600 h 344649"/>
                  <a:gd name="connsiteX2" fmla="*/ 146822 w 364869"/>
                  <a:gd name="connsiteY2" fmla="*/ 344649 h 344649"/>
                  <a:gd name="connsiteX3" fmla="*/ 218958 w 364869"/>
                  <a:gd name="connsiteY3" fmla="*/ 344649 h 344649"/>
                  <a:gd name="connsiteX4" fmla="*/ 364869 w 364869"/>
                  <a:gd name="connsiteY4" fmla="*/ 172689 h 344649"/>
                  <a:gd name="connsiteX5" fmla="*/ 218958 w 364869"/>
                  <a:gd name="connsiteY5" fmla="*/ 0 h 344649"/>
                  <a:gd name="connsiteX6" fmla="*/ 146822 w 364869"/>
                  <a:gd name="connsiteY6" fmla="*/ 0 h 344649"/>
                  <a:gd name="connsiteX7" fmla="*/ 258123 w 364869"/>
                  <a:gd name="connsiteY7" fmla="*/ 287997 h 344649"/>
                  <a:gd name="connsiteX8" fmla="*/ 277068 w 364869"/>
                  <a:gd name="connsiteY8" fmla="*/ 273789 h 344649"/>
                  <a:gd name="connsiteX9" fmla="*/ 301113 w 364869"/>
                  <a:gd name="connsiteY9" fmla="*/ 218958 h 344649"/>
                  <a:gd name="connsiteX10" fmla="*/ 316961 w 364869"/>
                  <a:gd name="connsiteY10" fmla="*/ 204203 h 344649"/>
                  <a:gd name="connsiteX11" fmla="*/ 331716 w 364869"/>
                  <a:gd name="connsiteY11" fmla="*/ 220233 h 344649"/>
                  <a:gd name="connsiteX12" fmla="*/ 298745 w 364869"/>
                  <a:gd name="connsiteY12" fmla="*/ 295648 h 344649"/>
                  <a:gd name="connsiteX13" fmla="*/ 272514 w 364869"/>
                  <a:gd name="connsiteY13" fmla="*/ 315321 h 344649"/>
                  <a:gd name="connsiteX14" fmla="*/ 265409 w 364869"/>
                  <a:gd name="connsiteY14" fmla="*/ 317143 h 344649"/>
                  <a:gd name="connsiteX15" fmla="*/ 251747 w 364869"/>
                  <a:gd name="connsiteY15" fmla="*/ 308946 h 344649"/>
                  <a:gd name="connsiteX16" fmla="*/ 258123 w 364869"/>
                  <a:gd name="connsiteY16" fmla="*/ 288179 h 344649"/>
                  <a:gd name="connsiteX17" fmla="*/ 258123 w 364869"/>
                  <a:gd name="connsiteY17" fmla="*/ 288179 h 344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4869" h="344649">
                    <a:moveTo>
                      <a:pt x="146822" y="182"/>
                    </a:moveTo>
                    <a:cubicBezTo>
                      <a:pt x="44812" y="182"/>
                      <a:pt x="0" y="51916"/>
                      <a:pt x="0" y="173600"/>
                    </a:cubicBezTo>
                    <a:cubicBezTo>
                      <a:pt x="0" y="295284"/>
                      <a:pt x="43901" y="344649"/>
                      <a:pt x="146822" y="344649"/>
                    </a:cubicBezTo>
                    <a:lnTo>
                      <a:pt x="218958" y="344649"/>
                    </a:lnTo>
                    <a:cubicBezTo>
                      <a:pt x="320969" y="344649"/>
                      <a:pt x="364869" y="294373"/>
                      <a:pt x="364869" y="172689"/>
                    </a:cubicBezTo>
                    <a:cubicBezTo>
                      <a:pt x="364869" y="51005"/>
                      <a:pt x="320969" y="0"/>
                      <a:pt x="218958" y="0"/>
                    </a:cubicBezTo>
                    <a:lnTo>
                      <a:pt x="146822" y="0"/>
                    </a:lnTo>
                    <a:close/>
                    <a:moveTo>
                      <a:pt x="258123" y="287997"/>
                    </a:moveTo>
                    <a:cubicBezTo>
                      <a:pt x="265045" y="284354"/>
                      <a:pt x="271421" y="279618"/>
                      <a:pt x="277068" y="273789"/>
                    </a:cubicBezTo>
                    <a:cubicBezTo>
                      <a:pt x="291823" y="259216"/>
                      <a:pt x="300202" y="239724"/>
                      <a:pt x="301113" y="218958"/>
                    </a:cubicBezTo>
                    <a:cubicBezTo>
                      <a:pt x="301477" y="210396"/>
                      <a:pt x="308764" y="203839"/>
                      <a:pt x="316961" y="204203"/>
                    </a:cubicBezTo>
                    <a:cubicBezTo>
                      <a:pt x="325523" y="204567"/>
                      <a:pt x="332080" y="211672"/>
                      <a:pt x="331716" y="220233"/>
                    </a:cubicBezTo>
                    <a:cubicBezTo>
                      <a:pt x="330623" y="248650"/>
                      <a:pt x="318965" y="275428"/>
                      <a:pt x="298745" y="295648"/>
                    </a:cubicBezTo>
                    <a:cubicBezTo>
                      <a:pt x="290912" y="303481"/>
                      <a:pt x="281986" y="310039"/>
                      <a:pt x="272514" y="315321"/>
                    </a:cubicBezTo>
                    <a:cubicBezTo>
                      <a:pt x="270328" y="316597"/>
                      <a:pt x="267777" y="317143"/>
                      <a:pt x="265409" y="317143"/>
                    </a:cubicBezTo>
                    <a:cubicBezTo>
                      <a:pt x="259945" y="317143"/>
                      <a:pt x="254480" y="314228"/>
                      <a:pt x="251747" y="308946"/>
                    </a:cubicBezTo>
                    <a:cubicBezTo>
                      <a:pt x="247740" y="301477"/>
                      <a:pt x="250472" y="292187"/>
                      <a:pt x="258123" y="288179"/>
                    </a:cubicBezTo>
                    <a:lnTo>
                      <a:pt x="258123" y="288179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97E46F1D-B9B7-83FE-49E2-EA6211D73CE4}"/>
              </a:ext>
            </a:extLst>
          </p:cNvPr>
          <p:cNvGrpSpPr/>
          <p:nvPr userDrawn="1"/>
        </p:nvGrpSpPr>
        <p:grpSpPr>
          <a:xfrm>
            <a:off x="4416536" y="273404"/>
            <a:ext cx="5380038" cy="6013861"/>
            <a:chOff x="6611525" y="467263"/>
            <a:chExt cx="5018430" cy="5609652"/>
          </a:xfrm>
        </p:grpSpPr>
        <p:grpSp>
          <p:nvGrpSpPr>
            <p:cNvPr id="168" name="Graphic 8">
              <a:extLst>
                <a:ext uri="{FF2B5EF4-FFF2-40B4-BE49-F238E27FC236}">
                  <a16:creationId xmlns:a16="http://schemas.microsoft.com/office/drawing/2014/main" id="{25E69430-7ADA-4F56-81B1-843FBC8C165A}"/>
                </a:ext>
              </a:extLst>
            </p:cNvPr>
            <p:cNvGrpSpPr/>
            <p:nvPr/>
          </p:nvGrpSpPr>
          <p:grpSpPr>
            <a:xfrm>
              <a:off x="6611525" y="5225114"/>
              <a:ext cx="5018430" cy="553158"/>
              <a:chOff x="6611525" y="5225114"/>
              <a:chExt cx="5018430" cy="553158"/>
            </a:xfrm>
            <a:solidFill>
              <a:srgbClr val="789F90"/>
            </a:solidFill>
          </p:grpSpPr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56D51FA5-0C09-3936-B36C-71FC5363C1C5}"/>
                  </a:ext>
                </a:extLst>
              </p:cNvPr>
              <p:cNvSpPr/>
              <p:nvPr/>
            </p:nvSpPr>
            <p:spPr>
              <a:xfrm>
                <a:off x="6611525" y="5225114"/>
                <a:ext cx="841060" cy="553158"/>
              </a:xfrm>
              <a:custGeom>
                <a:avLst/>
                <a:gdLst>
                  <a:gd name="connsiteX0" fmla="*/ 99658 w 841060"/>
                  <a:gd name="connsiteY0" fmla="*/ 543574 h 553158"/>
                  <a:gd name="connsiteX1" fmla="*/ 0 w 841060"/>
                  <a:gd name="connsiteY1" fmla="*/ 543574 h 553158"/>
                  <a:gd name="connsiteX2" fmla="*/ 165436 w 841060"/>
                  <a:gd name="connsiteY2" fmla="*/ 98997 h 553158"/>
                  <a:gd name="connsiteX3" fmla="*/ 291206 w 841060"/>
                  <a:gd name="connsiteY3" fmla="*/ 0 h 553158"/>
                  <a:gd name="connsiteX4" fmla="*/ 409870 w 841060"/>
                  <a:gd name="connsiteY4" fmla="*/ 116350 h 553158"/>
                  <a:gd name="connsiteX5" fmla="*/ 409870 w 841060"/>
                  <a:gd name="connsiteY5" fmla="*/ 432016 h 553158"/>
                  <a:gd name="connsiteX6" fmla="*/ 436809 w 841060"/>
                  <a:gd name="connsiteY6" fmla="*/ 462095 h 553158"/>
                  <a:gd name="connsiteX7" fmla="*/ 466888 w 841060"/>
                  <a:gd name="connsiteY7" fmla="*/ 439949 h 553158"/>
                  <a:gd name="connsiteX8" fmla="*/ 596626 w 841060"/>
                  <a:gd name="connsiteY8" fmla="*/ 99162 h 553158"/>
                  <a:gd name="connsiteX9" fmla="*/ 722396 w 841060"/>
                  <a:gd name="connsiteY9" fmla="*/ 165 h 553158"/>
                  <a:gd name="connsiteX10" fmla="*/ 841060 w 841060"/>
                  <a:gd name="connsiteY10" fmla="*/ 116515 h 553158"/>
                  <a:gd name="connsiteX11" fmla="*/ 841060 w 841060"/>
                  <a:gd name="connsiteY11" fmla="*/ 543574 h 553158"/>
                  <a:gd name="connsiteX12" fmla="*/ 746856 w 841060"/>
                  <a:gd name="connsiteY12" fmla="*/ 543574 h 553158"/>
                  <a:gd name="connsiteX13" fmla="*/ 746856 w 841060"/>
                  <a:gd name="connsiteY13" fmla="*/ 121143 h 553158"/>
                  <a:gd name="connsiteX14" fmla="*/ 719917 w 841060"/>
                  <a:gd name="connsiteY14" fmla="*/ 90402 h 553158"/>
                  <a:gd name="connsiteX15" fmla="*/ 690664 w 841060"/>
                  <a:gd name="connsiteY15" fmla="*/ 113375 h 553158"/>
                  <a:gd name="connsiteX16" fmla="*/ 560927 w 841060"/>
                  <a:gd name="connsiteY16" fmla="*/ 454328 h 553158"/>
                  <a:gd name="connsiteX17" fmla="*/ 434330 w 841060"/>
                  <a:gd name="connsiteY17" fmla="*/ 553159 h 553158"/>
                  <a:gd name="connsiteX18" fmla="*/ 316493 w 841060"/>
                  <a:gd name="connsiteY18" fmla="*/ 435982 h 553158"/>
                  <a:gd name="connsiteX19" fmla="*/ 316493 w 841060"/>
                  <a:gd name="connsiteY19" fmla="*/ 121143 h 553158"/>
                  <a:gd name="connsiteX20" fmla="*/ 288892 w 841060"/>
                  <a:gd name="connsiteY20" fmla="*/ 90402 h 553158"/>
                  <a:gd name="connsiteX21" fmla="*/ 259640 w 841060"/>
                  <a:gd name="connsiteY21" fmla="*/ 113375 h 553158"/>
                  <a:gd name="connsiteX22" fmla="*/ 99823 w 841060"/>
                  <a:gd name="connsiteY22" fmla="*/ 543739 h 553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41060" h="553158">
                    <a:moveTo>
                      <a:pt x="99658" y="543574"/>
                    </a:moveTo>
                    <a:lnTo>
                      <a:pt x="0" y="543574"/>
                    </a:lnTo>
                    <a:lnTo>
                      <a:pt x="165436" y="98997"/>
                    </a:lnTo>
                    <a:cubicBezTo>
                      <a:pt x="185929" y="38012"/>
                      <a:pt x="219975" y="0"/>
                      <a:pt x="291206" y="0"/>
                    </a:cubicBezTo>
                    <a:cubicBezTo>
                      <a:pt x="370371" y="0"/>
                      <a:pt x="409870" y="46606"/>
                      <a:pt x="409870" y="116350"/>
                    </a:cubicBezTo>
                    <a:lnTo>
                      <a:pt x="409870" y="432016"/>
                    </a:lnTo>
                    <a:cubicBezTo>
                      <a:pt x="409870" y="450196"/>
                      <a:pt x="420943" y="462095"/>
                      <a:pt x="436809" y="462095"/>
                    </a:cubicBezTo>
                    <a:cubicBezTo>
                      <a:pt x="451022" y="462095"/>
                      <a:pt x="462096" y="453336"/>
                      <a:pt x="466888" y="439949"/>
                    </a:cubicBezTo>
                    <a:lnTo>
                      <a:pt x="596626" y="99162"/>
                    </a:lnTo>
                    <a:cubicBezTo>
                      <a:pt x="617284" y="38177"/>
                      <a:pt x="651165" y="165"/>
                      <a:pt x="722396" y="165"/>
                    </a:cubicBezTo>
                    <a:cubicBezTo>
                      <a:pt x="801395" y="165"/>
                      <a:pt x="841060" y="46771"/>
                      <a:pt x="841060" y="116515"/>
                    </a:cubicBezTo>
                    <a:lnTo>
                      <a:pt x="841060" y="543574"/>
                    </a:lnTo>
                    <a:lnTo>
                      <a:pt x="746856" y="543574"/>
                    </a:lnTo>
                    <a:lnTo>
                      <a:pt x="746856" y="121143"/>
                    </a:lnTo>
                    <a:cubicBezTo>
                      <a:pt x="746856" y="102137"/>
                      <a:pt x="735783" y="90402"/>
                      <a:pt x="719917" y="90402"/>
                    </a:cubicBezTo>
                    <a:cubicBezTo>
                      <a:pt x="706530" y="90402"/>
                      <a:pt x="695457" y="99823"/>
                      <a:pt x="690664" y="113375"/>
                    </a:cubicBezTo>
                    <a:lnTo>
                      <a:pt x="560927" y="454328"/>
                    </a:lnTo>
                    <a:cubicBezTo>
                      <a:pt x="540268" y="515147"/>
                      <a:pt x="505562" y="553159"/>
                      <a:pt x="434330" y="553159"/>
                    </a:cubicBezTo>
                    <a:cubicBezTo>
                      <a:pt x="355992" y="553159"/>
                      <a:pt x="316493" y="506553"/>
                      <a:pt x="316493" y="435982"/>
                    </a:cubicBezTo>
                    <a:lnTo>
                      <a:pt x="316493" y="121143"/>
                    </a:lnTo>
                    <a:cubicBezTo>
                      <a:pt x="316493" y="102137"/>
                      <a:pt x="304758" y="90402"/>
                      <a:pt x="288892" y="90402"/>
                    </a:cubicBezTo>
                    <a:cubicBezTo>
                      <a:pt x="274514" y="90402"/>
                      <a:pt x="265093" y="99823"/>
                      <a:pt x="259640" y="113375"/>
                    </a:cubicBezTo>
                    <a:lnTo>
                      <a:pt x="99823" y="54373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19DD1CAE-59EB-7AE0-7A02-26BD4C786350}"/>
                  </a:ext>
                </a:extLst>
              </p:cNvPr>
              <p:cNvSpPr/>
              <p:nvPr/>
            </p:nvSpPr>
            <p:spPr>
              <a:xfrm>
                <a:off x="7524147" y="5225278"/>
                <a:ext cx="590841" cy="543408"/>
              </a:xfrm>
              <a:custGeom>
                <a:avLst/>
                <a:gdLst>
                  <a:gd name="connsiteX0" fmla="*/ 102798 w 590841"/>
                  <a:gd name="connsiteY0" fmla="*/ 543409 h 543408"/>
                  <a:gd name="connsiteX1" fmla="*/ 0 w 590841"/>
                  <a:gd name="connsiteY1" fmla="*/ 543409 h 543408"/>
                  <a:gd name="connsiteX2" fmla="*/ 187416 w 590841"/>
                  <a:gd name="connsiteY2" fmla="*/ 68918 h 543408"/>
                  <a:gd name="connsiteX3" fmla="*/ 299800 w 590841"/>
                  <a:gd name="connsiteY3" fmla="*/ 0 h 543408"/>
                  <a:gd name="connsiteX4" fmla="*/ 410531 w 590841"/>
                  <a:gd name="connsiteY4" fmla="*/ 68918 h 543408"/>
                  <a:gd name="connsiteX5" fmla="*/ 590841 w 590841"/>
                  <a:gd name="connsiteY5" fmla="*/ 543409 h 543408"/>
                  <a:gd name="connsiteX6" fmla="*/ 487217 w 590841"/>
                  <a:gd name="connsiteY6" fmla="*/ 543409 h 543408"/>
                  <a:gd name="connsiteX7" fmla="*/ 325087 w 590841"/>
                  <a:gd name="connsiteY7" fmla="*/ 113871 h 543408"/>
                  <a:gd name="connsiteX8" fmla="*/ 298974 w 590841"/>
                  <a:gd name="connsiteY8" fmla="*/ 95692 h 543408"/>
                  <a:gd name="connsiteX9" fmla="*/ 272035 w 590841"/>
                  <a:gd name="connsiteY9" fmla="*/ 113871 h 543408"/>
                  <a:gd name="connsiteX10" fmla="*/ 102798 w 590841"/>
                  <a:gd name="connsiteY10" fmla="*/ 543409 h 54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0841" h="543408">
                    <a:moveTo>
                      <a:pt x="102798" y="543409"/>
                    </a:moveTo>
                    <a:lnTo>
                      <a:pt x="0" y="543409"/>
                    </a:lnTo>
                    <a:lnTo>
                      <a:pt x="187416" y="68918"/>
                    </a:lnTo>
                    <a:cubicBezTo>
                      <a:pt x="207249" y="19006"/>
                      <a:pt x="243608" y="0"/>
                      <a:pt x="299800" y="0"/>
                    </a:cubicBezTo>
                    <a:cubicBezTo>
                      <a:pt x="355992" y="0"/>
                      <a:pt x="391525" y="19006"/>
                      <a:pt x="410531" y="68918"/>
                    </a:cubicBezTo>
                    <a:lnTo>
                      <a:pt x="590841" y="543409"/>
                    </a:lnTo>
                    <a:lnTo>
                      <a:pt x="487217" y="543409"/>
                    </a:lnTo>
                    <a:lnTo>
                      <a:pt x="325087" y="113871"/>
                    </a:lnTo>
                    <a:cubicBezTo>
                      <a:pt x="320294" y="101145"/>
                      <a:pt x="311700" y="95692"/>
                      <a:pt x="298974" y="95692"/>
                    </a:cubicBezTo>
                    <a:cubicBezTo>
                      <a:pt x="286248" y="95692"/>
                      <a:pt x="277654" y="101145"/>
                      <a:pt x="272035" y="113871"/>
                    </a:cubicBezTo>
                    <a:lnTo>
                      <a:pt x="102798" y="54340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4653BAAB-7EA8-1623-4190-683A8387F99B}"/>
                  </a:ext>
                </a:extLst>
              </p:cNvPr>
              <p:cNvSpPr/>
              <p:nvPr/>
            </p:nvSpPr>
            <p:spPr>
              <a:xfrm>
                <a:off x="8185062" y="5234699"/>
                <a:ext cx="472177" cy="534153"/>
              </a:xfrm>
              <a:custGeom>
                <a:avLst/>
                <a:gdLst>
                  <a:gd name="connsiteX0" fmla="*/ 289388 w 472177"/>
                  <a:gd name="connsiteY0" fmla="*/ 0 h 534153"/>
                  <a:gd name="connsiteX1" fmla="*/ 461104 w 472177"/>
                  <a:gd name="connsiteY1" fmla="*/ 159817 h 534153"/>
                  <a:gd name="connsiteX2" fmla="*/ 347894 w 472177"/>
                  <a:gd name="connsiteY2" fmla="*/ 320459 h 534153"/>
                  <a:gd name="connsiteX3" fmla="*/ 472177 w 472177"/>
                  <a:gd name="connsiteY3" fmla="*/ 534154 h 534153"/>
                  <a:gd name="connsiteX4" fmla="*/ 368553 w 472177"/>
                  <a:gd name="connsiteY4" fmla="*/ 534154 h 534153"/>
                  <a:gd name="connsiteX5" fmla="*/ 246748 w 472177"/>
                  <a:gd name="connsiteY5" fmla="*/ 327731 h 534153"/>
                  <a:gd name="connsiteX6" fmla="*/ 107591 w 472177"/>
                  <a:gd name="connsiteY6" fmla="*/ 327731 h 534153"/>
                  <a:gd name="connsiteX7" fmla="*/ 94204 w 472177"/>
                  <a:gd name="connsiteY7" fmla="*/ 341118 h 534153"/>
                  <a:gd name="connsiteX8" fmla="*/ 94204 w 472177"/>
                  <a:gd name="connsiteY8" fmla="*/ 534154 h 534153"/>
                  <a:gd name="connsiteX9" fmla="*/ 826 w 472177"/>
                  <a:gd name="connsiteY9" fmla="*/ 534154 h 534153"/>
                  <a:gd name="connsiteX10" fmla="*/ 826 w 472177"/>
                  <a:gd name="connsiteY10" fmla="*/ 322938 h 534153"/>
                  <a:gd name="connsiteX11" fmla="*/ 84618 w 472177"/>
                  <a:gd name="connsiteY11" fmla="*/ 238320 h 534153"/>
                  <a:gd name="connsiteX12" fmla="*/ 292694 w 472177"/>
                  <a:gd name="connsiteY12" fmla="*/ 238320 h 534153"/>
                  <a:gd name="connsiteX13" fmla="*/ 367065 w 472177"/>
                  <a:gd name="connsiteY13" fmla="*/ 163948 h 534153"/>
                  <a:gd name="connsiteX14" fmla="*/ 292694 w 472177"/>
                  <a:gd name="connsiteY14" fmla="*/ 93543 h 534153"/>
                  <a:gd name="connsiteX15" fmla="*/ 0 w 472177"/>
                  <a:gd name="connsiteY15" fmla="*/ 93543 h 534153"/>
                  <a:gd name="connsiteX16" fmla="*/ 0 w 472177"/>
                  <a:gd name="connsiteY16" fmla="*/ 165 h 534153"/>
                  <a:gd name="connsiteX17" fmla="*/ 289388 w 472177"/>
                  <a:gd name="connsiteY17" fmla="*/ 165 h 534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72177" h="534153">
                    <a:moveTo>
                      <a:pt x="289388" y="0"/>
                    </a:moveTo>
                    <a:cubicBezTo>
                      <a:pt x="409705" y="0"/>
                      <a:pt x="461104" y="74372"/>
                      <a:pt x="461104" y="159817"/>
                    </a:cubicBezTo>
                    <a:cubicBezTo>
                      <a:pt x="461104" y="226255"/>
                      <a:pt x="429537" y="297486"/>
                      <a:pt x="347894" y="320459"/>
                    </a:cubicBezTo>
                    <a:lnTo>
                      <a:pt x="472177" y="534154"/>
                    </a:lnTo>
                    <a:lnTo>
                      <a:pt x="368553" y="534154"/>
                    </a:lnTo>
                    <a:lnTo>
                      <a:pt x="246748" y="327731"/>
                    </a:lnTo>
                    <a:lnTo>
                      <a:pt x="107591" y="327731"/>
                    </a:lnTo>
                    <a:cubicBezTo>
                      <a:pt x="98832" y="327731"/>
                      <a:pt x="94204" y="331698"/>
                      <a:pt x="94204" y="341118"/>
                    </a:cubicBezTo>
                    <a:lnTo>
                      <a:pt x="94204" y="534154"/>
                    </a:lnTo>
                    <a:lnTo>
                      <a:pt x="826" y="534154"/>
                    </a:lnTo>
                    <a:lnTo>
                      <a:pt x="826" y="322938"/>
                    </a:lnTo>
                    <a:cubicBezTo>
                      <a:pt x="826" y="262780"/>
                      <a:pt x="26113" y="238320"/>
                      <a:pt x="84618" y="238320"/>
                    </a:cubicBezTo>
                    <a:lnTo>
                      <a:pt x="292694" y="238320"/>
                    </a:lnTo>
                    <a:cubicBezTo>
                      <a:pt x="345745" y="238320"/>
                      <a:pt x="367065" y="201960"/>
                      <a:pt x="367065" y="163948"/>
                    </a:cubicBezTo>
                    <a:cubicBezTo>
                      <a:pt x="367065" y="125936"/>
                      <a:pt x="344093" y="93543"/>
                      <a:pt x="292694" y="93543"/>
                    </a:cubicBezTo>
                    <a:lnTo>
                      <a:pt x="0" y="93543"/>
                    </a:lnTo>
                    <a:lnTo>
                      <a:pt x="0" y="165"/>
                    </a:lnTo>
                    <a:lnTo>
                      <a:pt x="289388" y="165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2144E3C1-1058-955E-80EB-F48AB37617A5}"/>
                  </a:ext>
                </a:extLst>
              </p:cNvPr>
              <p:cNvSpPr/>
              <p:nvPr/>
            </p:nvSpPr>
            <p:spPr>
              <a:xfrm>
                <a:off x="8719381" y="5234699"/>
                <a:ext cx="476804" cy="533988"/>
              </a:xfrm>
              <a:custGeom>
                <a:avLst/>
                <a:gdLst>
                  <a:gd name="connsiteX0" fmla="*/ 436479 w 476804"/>
                  <a:gd name="connsiteY0" fmla="*/ 0 h 533988"/>
                  <a:gd name="connsiteX1" fmla="*/ 436479 w 476804"/>
                  <a:gd name="connsiteY1" fmla="*/ 93378 h 533988"/>
                  <a:gd name="connsiteX2" fmla="*/ 162791 w 476804"/>
                  <a:gd name="connsiteY2" fmla="*/ 93378 h 533988"/>
                  <a:gd name="connsiteX3" fmla="*/ 93212 w 476804"/>
                  <a:gd name="connsiteY3" fmla="*/ 156676 h 533988"/>
                  <a:gd name="connsiteX4" fmla="*/ 172377 w 476804"/>
                  <a:gd name="connsiteY4" fmla="*/ 219975 h 533988"/>
                  <a:gd name="connsiteX5" fmla="*/ 297321 w 476804"/>
                  <a:gd name="connsiteY5" fmla="*/ 219975 h 533988"/>
                  <a:gd name="connsiteX6" fmla="*/ 476805 w 476804"/>
                  <a:gd name="connsiteY6" fmla="*/ 377312 h 533988"/>
                  <a:gd name="connsiteX7" fmla="*/ 306742 w 476804"/>
                  <a:gd name="connsiteY7" fmla="*/ 533988 h 533988"/>
                  <a:gd name="connsiteX8" fmla="*/ 9420 w 476804"/>
                  <a:gd name="connsiteY8" fmla="*/ 533988 h 533988"/>
                  <a:gd name="connsiteX9" fmla="*/ 9420 w 476804"/>
                  <a:gd name="connsiteY9" fmla="*/ 440611 h 533988"/>
                  <a:gd name="connsiteX10" fmla="*/ 310047 w 476804"/>
                  <a:gd name="connsiteY10" fmla="*/ 440611 h 533988"/>
                  <a:gd name="connsiteX11" fmla="*/ 383592 w 476804"/>
                  <a:gd name="connsiteY11" fmla="*/ 374172 h 533988"/>
                  <a:gd name="connsiteX12" fmla="*/ 299800 w 476804"/>
                  <a:gd name="connsiteY12" fmla="*/ 307733 h 533988"/>
                  <a:gd name="connsiteX13" fmla="*/ 175682 w 476804"/>
                  <a:gd name="connsiteY13" fmla="*/ 307733 h 533988"/>
                  <a:gd name="connsiteX14" fmla="*/ 0 w 476804"/>
                  <a:gd name="connsiteY14" fmla="*/ 153536 h 533988"/>
                  <a:gd name="connsiteX15" fmla="*/ 166097 w 476804"/>
                  <a:gd name="connsiteY15" fmla="*/ 0 h 533988"/>
                  <a:gd name="connsiteX16" fmla="*/ 436644 w 476804"/>
                  <a:gd name="connsiteY16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6804" h="533988">
                    <a:moveTo>
                      <a:pt x="436479" y="0"/>
                    </a:moveTo>
                    <a:lnTo>
                      <a:pt x="436479" y="93378"/>
                    </a:lnTo>
                    <a:lnTo>
                      <a:pt x="162791" y="93378"/>
                    </a:lnTo>
                    <a:cubicBezTo>
                      <a:pt x="114532" y="93378"/>
                      <a:pt x="93212" y="119491"/>
                      <a:pt x="93212" y="156676"/>
                    </a:cubicBezTo>
                    <a:cubicBezTo>
                      <a:pt x="93212" y="189069"/>
                      <a:pt x="109905" y="219975"/>
                      <a:pt x="172377" y="219975"/>
                    </a:cubicBezTo>
                    <a:lnTo>
                      <a:pt x="297321" y="219975"/>
                    </a:lnTo>
                    <a:cubicBezTo>
                      <a:pt x="442759" y="219975"/>
                      <a:pt x="476805" y="300627"/>
                      <a:pt x="476805" y="377312"/>
                    </a:cubicBezTo>
                    <a:cubicBezTo>
                      <a:pt x="476805" y="467384"/>
                      <a:pt x="428546" y="533988"/>
                      <a:pt x="306742" y="533988"/>
                    </a:cubicBezTo>
                    <a:lnTo>
                      <a:pt x="9420" y="533988"/>
                    </a:lnTo>
                    <a:lnTo>
                      <a:pt x="9420" y="440611"/>
                    </a:lnTo>
                    <a:lnTo>
                      <a:pt x="310047" y="440611"/>
                    </a:lnTo>
                    <a:cubicBezTo>
                      <a:pt x="360620" y="440611"/>
                      <a:pt x="383592" y="412845"/>
                      <a:pt x="383592" y="374172"/>
                    </a:cubicBezTo>
                    <a:cubicBezTo>
                      <a:pt x="383592" y="339465"/>
                      <a:pt x="365412" y="307733"/>
                      <a:pt x="299800" y="307733"/>
                    </a:cubicBezTo>
                    <a:lnTo>
                      <a:pt x="175682" y="307733"/>
                    </a:lnTo>
                    <a:cubicBezTo>
                      <a:pt x="33219" y="307733"/>
                      <a:pt x="0" y="227908"/>
                      <a:pt x="0" y="153536"/>
                    </a:cubicBezTo>
                    <a:cubicBezTo>
                      <a:pt x="0" y="64951"/>
                      <a:pt x="47598" y="0"/>
                      <a:pt x="166097" y="0"/>
                    </a:cubicBezTo>
                    <a:lnTo>
                      <a:pt x="436644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C45E799A-21EC-7E7A-C357-E3B8943F57E6}"/>
                  </a:ext>
                </a:extLst>
              </p:cNvPr>
              <p:cNvSpPr/>
              <p:nvPr/>
            </p:nvSpPr>
            <p:spPr>
              <a:xfrm>
                <a:off x="9483756" y="5234699"/>
                <a:ext cx="484241" cy="533988"/>
              </a:xfrm>
              <a:custGeom>
                <a:avLst/>
                <a:gdLst>
                  <a:gd name="connsiteX0" fmla="*/ 323599 w 484241"/>
                  <a:gd name="connsiteY0" fmla="*/ 0 h 533988"/>
                  <a:gd name="connsiteX1" fmla="*/ 484242 w 484241"/>
                  <a:gd name="connsiteY1" fmla="*/ 151057 h 533988"/>
                  <a:gd name="connsiteX2" fmla="*/ 359959 w 484241"/>
                  <a:gd name="connsiteY2" fmla="*/ 294181 h 533988"/>
                  <a:gd name="connsiteX3" fmla="*/ 137670 w 484241"/>
                  <a:gd name="connsiteY3" fmla="*/ 344093 h 533988"/>
                  <a:gd name="connsiteX4" fmla="*/ 93378 w 484241"/>
                  <a:gd name="connsiteY4" fmla="*/ 402598 h 533988"/>
                  <a:gd name="connsiteX5" fmla="*/ 93378 w 484241"/>
                  <a:gd name="connsiteY5" fmla="*/ 429537 h 533988"/>
                  <a:gd name="connsiteX6" fmla="*/ 103625 w 484241"/>
                  <a:gd name="connsiteY6" fmla="*/ 440611 h 533988"/>
                  <a:gd name="connsiteX7" fmla="*/ 469863 w 484241"/>
                  <a:gd name="connsiteY7" fmla="*/ 440611 h 533988"/>
                  <a:gd name="connsiteX8" fmla="*/ 469863 w 484241"/>
                  <a:gd name="connsiteY8" fmla="*/ 533988 h 533988"/>
                  <a:gd name="connsiteX9" fmla="*/ 44293 w 484241"/>
                  <a:gd name="connsiteY9" fmla="*/ 533988 h 533988"/>
                  <a:gd name="connsiteX10" fmla="*/ 0 w 484241"/>
                  <a:gd name="connsiteY10" fmla="*/ 490522 h 533988"/>
                  <a:gd name="connsiteX11" fmla="*/ 0 w 484241"/>
                  <a:gd name="connsiteY11" fmla="*/ 409870 h 533988"/>
                  <a:gd name="connsiteX12" fmla="*/ 117177 w 484241"/>
                  <a:gd name="connsiteY12" fmla="*/ 256334 h 533988"/>
                  <a:gd name="connsiteX13" fmla="*/ 341779 w 484241"/>
                  <a:gd name="connsiteY13" fmla="*/ 204935 h 533988"/>
                  <a:gd name="connsiteX14" fmla="*/ 391691 w 484241"/>
                  <a:gd name="connsiteY14" fmla="*/ 152710 h 533988"/>
                  <a:gd name="connsiteX15" fmla="*/ 325913 w 484241"/>
                  <a:gd name="connsiteY15" fmla="*/ 93378 h 533988"/>
                  <a:gd name="connsiteX16" fmla="*/ 17353 w 484241"/>
                  <a:gd name="connsiteY16" fmla="*/ 93378 h 533988"/>
                  <a:gd name="connsiteX17" fmla="*/ 17353 w 484241"/>
                  <a:gd name="connsiteY17" fmla="*/ 0 h 533988"/>
                  <a:gd name="connsiteX18" fmla="*/ 323599 w 484241"/>
                  <a:gd name="connsiteY18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4241" h="533988">
                    <a:moveTo>
                      <a:pt x="323599" y="0"/>
                    </a:moveTo>
                    <a:cubicBezTo>
                      <a:pt x="426397" y="0"/>
                      <a:pt x="484242" y="53052"/>
                      <a:pt x="484242" y="151057"/>
                    </a:cubicBezTo>
                    <a:cubicBezTo>
                      <a:pt x="484242" y="230221"/>
                      <a:pt x="446230" y="274514"/>
                      <a:pt x="359959" y="294181"/>
                    </a:cubicBezTo>
                    <a:lnTo>
                      <a:pt x="137670" y="344093"/>
                    </a:lnTo>
                    <a:cubicBezTo>
                      <a:pt x="100650" y="352852"/>
                      <a:pt x="93378" y="372519"/>
                      <a:pt x="93378" y="402598"/>
                    </a:cubicBezTo>
                    <a:lnTo>
                      <a:pt x="93378" y="429537"/>
                    </a:lnTo>
                    <a:cubicBezTo>
                      <a:pt x="93378" y="438296"/>
                      <a:pt x="96518" y="440611"/>
                      <a:pt x="103625" y="440611"/>
                    </a:cubicBezTo>
                    <a:lnTo>
                      <a:pt x="469863" y="440611"/>
                    </a:lnTo>
                    <a:lnTo>
                      <a:pt x="469863" y="533988"/>
                    </a:lnTo>
                    <a:lnTo>
                      <a:pt x="44293" y="533988"/>
                    </a:lnTo>
                    <a:cubicBezTo>
                      <a:pt x="14213" y="533988"/>
                      <a:pt x="0" y="519775"/>
                      <a:pt x="0" y="490522"/>
                    </a:cubicBezTo>
                    <a:lnTo>
                      <a:pt x="0" y="409870"/>
                    </a:lnTo>
                    <a:cubicBezTo>
                      <a:pt x="0" y="322773"/>
                      <a:pt x="26113" y="276993"/>
                      <a:pt x="117177" y="256334"/>
                    </a:cubicBezTo>
                    <a:lnTo>
                      <a:pt x="341779" y="204935"/>
                    </a:lnTo>
                    <a:cubicBezTo>
                      <a:pt x="379791" y="196176"/>
                      <a:pt x="391691" y="177996"/>
                      <a:pt x="391691" y="152710"/>
                    </a:cubicBezTo>
                    <a:cubicBezTo>
                      <a:pt x="391691" y="117011"/>
                      <a:pt x="368718" y="93378"/>
                      <a:pt x="325913" y="93378"/>
                    </a:cubicBezTo>
                    <a:lnTo>
                      <a:pt x="17353" y="93378"/>
                    </a:lnTo>
                    <a:lnTo>
                      <a:pt x="17353" y="0"/>
                    </a:lnTo>
                    <a:lnTo>
                      <a:pt x="323599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AF27323D-6A1A-CA81-AE97-FAD11650E5AA}"/>
                  </a:ext>
                </a:extLst>
              </p:cNvPr>
              <p:cNvSpPr/>
              <p:nvPr/>
            </p:nvSpPr>
            <p:spPr>
              <a:xfrm>
                <a:off x="10032122" y="5226931"/>
                <a:ext cx="482589" cy="549688"/>
              </a:xfrm>
              <a:custGeom>
                <a:avLst/>
                <a:gdLst>
                  <a:gd name="connsiteX0" fmla="*/ 482589 w 482589"/>
                  <a:gd name="connsiteY0" fmla="*/ 275175 h 549688"/>
                  <a:gd name="connsiteX1" fmla="*/ 241295 w 482589"/>
                  <a:gd name="connsiteY1" fmla="*/ 549689 h 549688"/>
                  <a:gd name="connsiteX2" fmla="*/ 0 w 482589"/>
                  <a:gd name="connsiteY2" fmla="*/ 275175 h 549688"/>
                  <a:gd name="connsiteX3" fmla="*/ 241295 w 482589"/>
                  <a:gd name="connsiteY3" fmla="*/ 0 h 549688"/>
                  <a:gd name="connsiteX4" fmla="*/ 482589 w 482589"/>
                  <a:gd name="connsiteY4" fmla="*/ 275175 h 549688"/>
                  <a:gd name="connsiteX5" fmla="*/ 91890 w 482589"/>
                  <a:gd name="connsiteY5" fmla="*/ 274514 h 549688"/>
                  <a:gd name="connsiteX6" fmla="*/ 241460 w 482589"/>
                  <a:gd name="connsiteY6" fmla="*/ 456476 h 549688"/>
                  <a:gd name="connsiteX7" fmla="*/ 390203 w 482589"/>
                  <a:gd name="connsiteY7" fmla="*/ 274514 h 549688"/>
                  <a:gd name="connsiteX8" fmla="*/ 241460 w 482589"/>
                  <a:gd name="connsiteY8" fmla="*/ 93378 h 549688"/>
                  <a:gd name="connsiteX9" fmla="*/ 91890 w 482589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9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5" y="549689"/>
                    </a:cubicBezTo>
                    <a:cubicBezTo>
                      <a:pt x="85445" y="549689"/>
                      <a:pt x="0" y="453997"/>
                      <a:pt x="0" y="275175"/>
                    </a:cubicBezTo>
                    <a:cubicBezTo>
                      <a:pt x="0" y="96352"/>
                      <a:pt x="86271" y="0"/>
                      <a:pt x="241295" y="0"/>
                    </a:cubicBezTo>
                    <a:cubicBezTo>
                      <a:pt x="396318" y="0"/>
                      <a:pt x="482589" y="95692"/>
                      <a:pt x="482589" y="275175"/>
                    </a:cubicBezTo>
                    <a:close/>
                    <a:moveTo>
                      <a:pt x="91890" y="274514"/>
                    </a:moveTo>
                    <a:cubicBezTo>
                      <a:pt x="91890" y="397144"/>
                      <a:pt x="137009" y="456476"/>
                      <a:pt x="241460" y="456476"/>
                    </a:cubicBezTo>
                    <a:cubicBezTo>
                      <a:pt x="345910" y="456476"/>
                      <a:pt x="390203" y="397144"/>
                      <a:pt x="390203" y="274514"/>
                    </a:cubicBezTo>
                    <a:cubicBezTo>
                      <a:pt x="390203" y="151883"/>
                      <a:pt x="345084" y="93378"/>
                      <a:pt x="241460" y="93378"/>
                    </a:cubicBezTo>
                    <a:cubicBezTo>
                      <a:pt x="137835" y="93378"/>
                      <a:pt x="91890" y="152710"/>
                      <a:pt x="91890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BFEA5C3B-655C-886C-6634-A46694379A25}"/>
                  </a:ext>
                </a:extLst>
              </p:cNvPr>
              <p:cNvSpPr/>
              <p:nvPr/>
            </p:nvSpPr>
            <p:spPr>
              <a:xfrm>
                <a:off x="10618005" y="5234203"/>
                <a:ext cx="447717" cy="534318"/>
              </a:xfrm>
              <a:custGeom>
                <a:avLst/>
                <a:gdLst>
                  <a:gd name="connsiteX0" fmla="*/ 267242 w 447717"/>
                  <a:gd name="connsiteY0" fmla="*/ 496 h 534318"/>
                  <a:gd name="connsiteX1" fmla="*/ 446064 w 447717"/>
                  <a:gd name="connsiteY1" fmla="*/ 143620 h 534318"/>
                  <a:gd name="connsiteX2" fmla="*/ 370205 w 447717"/>
                  <a:gd name="connsiteY2" fmla="*/ 266250 h 534318"/>
                  <a:gd name="connsiteX3" fmla="*/ 447717 w 447717"/>
                  <a:gd name="connsiteY3" fmla="*/ 391194 h 534318"/>
                  <a:gd name="connsiteX4" fmla="*/ 269721 w 447717"/>
                  <a:gd name="connsiteY4" fmla="*/ 534318 h 534318"/>
                  <a:gd name="connsiteX5" fmla="*/ 0 w 447717"/>
                  <a:gd name="connsiteY5" fmla="*/ 534318 h 534318"/>
                  <a:gd name="connsiteX6" fmla="*/ 0 w 447717"/>
                  <a:gd name="connsiteY6" fmla="*/ 440941 h 534318"/>
                  <a:gd name="connsiteX7" fmla="*/ 269721 w 447717"/>
                  <a:gd name="connsiteY7" fmla="*/ 440941 h 534318"/>
                  <a:gd name="connsiteX8" fmla="*/ 350373 w 447717"/>
                  <a:gd name="connsiteY8" fmla="*/ 372850 h 534318"/>
                  <a:gd name="connsiteX9" fmla="*/ 268895 w 447717"/>
                  <a:gd name="connsiteY9" fmla="*/ 308725 h 534318"/>
                  <a:gd name="connsiteX10" fmla="*/ 104285 w 447717"/>
                  <a:gd name="connsiteY10" fmla="*/ 308725 h 534318"/>
                  <a:gd name="connsiteX11" fmla="*/ 104285 w 447717"/>
                  <a:gd name="connsiteY11" fmla="*/ 223941 h 534318"/>
                  <a:gd name="connsiteX12" fmla="*/ 266416 w 447717"/>
                  <a:gd name="connsiteY12" fmla="*/ 223941 h 534318"/>
                  <a:gd name="connsiteX13" fmla="*/ 347894 w 447717"/>
                  <a:gd name="connsiteY13" fmla="*/ 159816 h 534318"/>
                  <a:gd name="connsiteX14" fmla="*/ 267242 w 447717"/>
                  <a:gd name="connsiteY14" fmla="*/ 93378 h 534318"/>
                  <a:gd name="connsiteX15" fmla="*/ 661 w 447717"/>
                  <a:gd name="connsiteY15" fmla="*/ 93378 h 534318"/>
                  <a:gd name="connsiteX16" fmla="*/ 661 w 447717"/>
                  <a:gd name="connsiteY16" fmla="*/ 0 h 534318"/>
                  <a:gd name="connsiteX17" fmla="*/ 267242 w 447717"/>
                  <a:gd name="connsiteY17" fmla="*/ 0 h 53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7717" h="534318">
                    <a:moveTo>
                      <a:pt x="267242" y="496"/>
                    </a:moveTo>
                    <a:cubicBezTo>
                      <a:pt x="393013" y="496"/>
                      <a:pt x="446064" y="61481"/>
                      <a:pt x="446064" y="143620"/>
                    </a:cubicBezTo>
                    <a:cubicBezTo>
                      <a:pt x="446064" y="206918"/>
                      <a:pt x="419125" y="245757"/>
                      <a:pt x="370205" y="266250"/>
                    </a:cubicBezTo>
                    <a:cubicBezTo>
                      <a:pt x="420778" y="287736"/>
                      <a:pt x="447717" y="327235"/>
                      <a:pt x="447717" y="391194"/>
                    </a:cubicBezTo>
                    <a:cubicBezTo>
                      <a:pt x="447717" y="471020"/>
                      <a:pt x="395492" y="534318"/>
                      <a:pt x="269721" y="534318"/>
                    </a:cubicBezTo>
                    <a:lnTo>
                      <a:pt x="0" y="534318"/>
                    </a:lnTo>
                    <a:lnTo>
                      <a:pt x="0" y="440941"/>
                    </a:lnTo>
                    <a:lnTo>
                      <a:pt x="269721" y="440941"/>
                    </a:lnTo>
                    <a:cubicBezTo>
                      <a:pt x="324260" y="440941"/>
                      <a:pt x="350373" y="415655"/>
                      <a:pt x="350373" y="372850"/>
                    </a:cubicBezTo>
                    <a:cubicBezTo>
                      <a:pt x="350373" y="330045"/>
                      <a:pt x="322608" y="308725"/>
                      <a:pt x="268895" y="308725"/>
                    </a:cubicBezTo>
                    <a:lnTo>
                      <a:pt x="104285" y="308725"/>
                    </a:lnTo>
                    <a:lnTo>
                      <a:pt x="104285" y="223941"/>
                    </a:lnTo>
                    <a:lnTo>
                      <a:pt x="266416" y="223941"/>
                    </a:lnTo>
                    <a:cubicBezTo>
                      <a:pt x="320955" y="223941"/>
                      <a:pt x="347894" y="204274"/>
                      <a:pt x="347894" y="159816"/>
                    </a:cubicBezTo>
                    <a:cubicBezTo>
                      <a:pt x="347894" y="119491"/>
                      <a:pt x="323434" y="93378"/>
                      <a:pt x="267242" y="93378"/>
                    </a:cubicBezTo>
                    <a:lnTo>
                      <a:pt x="661" y="93378"/>
                    </a:lnTo>
                    <a:lnTo>
                      <a:pt x="661" y="0"/>
                    </a:lnTo>
                    <a:lnTo>
                      <a:pt x="267242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7B3D0444-36C4-EF6D-5213-18E1F3367474}"/>
                  </a:ext>
                </a:extLst>
              </p:cNvPr>
              <p:cNvSpPr/>
              <p:nvPr/>
            </p:nvSpPr>
            <p:spPr>
              <a:xfrm>
                <a:off x="11147366" y="5226931"/>
                <a:ext cx="482588" cy="549688"/>
              </a:xfrm>
              <a:custGeom>
                <a:avLst/>
                <a:gdLst>
                  <a:gd name="connsiteX0" fmla="*/ 482589 w 482588"/>
                  <a:gd name="connsiteY0" fmla="*/ 275175 h 549688"/>
                  <a:gd name="connsiteX1" fmla="*/ 241294 w 482588"/>
                  <a:gd name="connsiteY1" fmla="*/ 549689 h 549688"/>
                  <a:gd name="connsiteX2" fmla="*/ 0 w 482588"/>
                  <a:gd name="connsiteY2" fmla="*/ 275175 h 549688"/>
                  <a:gd name="connsiteX3" fmla="*/ 241294 w 482588"/>
                  <a:gd name="connsiteY3" fmla="*/ 0 h 549688"/>
                  <a:gd name="connsiteX4" fmla="*/ 482589 w 482588"/>
                  <a:gd name="connsiteY4" fmla="*/ 275175 h 549688"/>
                  <a:gd name="connsiteX5" fmla="*/ 91725 w 482588"/>
                  <a:gd name="connsiteY5" fmla="*/ 274514 h 549688"/>
                  <a:gd name="connsiteX6" fmla="*/ 241129 w 482588"/>
                  <a:gd name="connsiteY6" fmla="*/ 456476 h 549688"/>
                  <a:gd name="connsiteX7" fmla="*/ 389872 w 482588"/>
                  <a:gd name="connsiteY7" fmla="*/ 274514 h 549688"/>
                  <a:gd name="connsiteX8" fmla="*/ 241129 w 482588"/>
                  <a:gd name="connsiteY8" fmla="*/ 93378 h 549688"/>
                  <a:gd name="connsiteX9" fmla="*/ 91725 w 482588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8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4" y="549689"/>
                    </a:cubicBezTo>
                    <a:cubicBezTo>
                      <a:pt x="85444" y="549689"/>
                      <a:pt x="0" y="453997"/>
                      <a:pt x="0" y="275175"/>
                    </a:cubicBezTo>
                    <a:cubicBezTo>
                      <a:pt x="0" y="96352"/>
                      <a:pt x="86106" y="0"/>
                      <a:pt x="241294" y="0"/>
                    </a:cubicBezTo>
                    <a:cubicBezTo>
                      <a:pt x="396483" y="0"/>
                      <a:pt x="482589" y="95692"/>
                      <a:pt x="482589" y="275175"/>
                    </a:cubicBezTo>
                    <a:close/>
                    <a:moveTo>
                      <a:pt x="91725" y="274514"/>
                    </a:moveTo>
                    <a:cubicBezTo>
                      <a:pt x="91725" y="397144"/>
                      <a:pt x="136678" y="456476"/>
                      <a:pt x="241129" y="456476"/>
                    </a:cubicBezTo>
                    <a:cubicBezTo>
                      <a:pt x="345580" y="456476"/>
                      <a:pt x="389872" y="397144"/>
                      <a:pt x="389872" y="274514"/>
                    </a:cubicBezTo>
                    <a:cubicBezTo>
                      <a:pt x="389872" y="151883"/>
                      <a:pt x="344919" y="93378"/>
                      <a:pt x="241129" y="93378"/>
                    </a:cubicBezTo>
                    <a:cubicBezTo>
                      <a:pt x="137340" y="93378"/>
                      <a:pt x="91725" y="152710"/>
                      <a:pt x="91725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69" name="Graphic 8">
              <a:extLst>
                <a:ext uri="{FF2B5EF4-FFF2-40B4-BE49-F238E27FC236}">
                  <a16:creationId xmlns:a16="http://schemas.microsoft.com/office/drawing/2014/main" id="{630904A3-20B0-DAD4-93F9-4B6443E6C140}"/>
                </a:ext>
              </a:extLst>
            </p:cNvPr>
            <p:cNvGrpSpPr/>
            <p:nvPr/>
          </p:nvGrpSpPr>
          <p:grpSpPr>
            <a:xfrm>
              <a:off x="6611525" y="5883880"/>
              <a:ext cx="5018265" cy="193035"/>
              <a:chOff x="6611525" y="5883880"/>
              <a:chExt cx="5018265" cy="193035"/>
            </a:xfrm>
            <a:solidFill>
              <a:srgbClr val="FFFFFF"/>
            </a:solidFill>
          </p:grpSpPr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5E8CCB26-F65B-3DB3-B7C0-8A352FFB655A}"/>
                  </a:ext>
                </a:extLst>
              </p:cNvPr>
              <p:cNvSpPr/>
              <p:nvPr/>
            </p:nvSpPr>
            <p:spPr>
              <a:xfrm>
                <a:off x="6611525" y="5897929"/>
                <a:ext cx="212206" cy="139322"/>
              </a:xfrm>
              <a:custGeom>
                <a:avLst/>
                <a:gdLst>
                  <a:gd name="connsiteX0" fmla="*/ 25121 w 212206"/>
                  <a:gd name="connsiteY0" fmla="*/ 137009 h 139322"/>
                  <a:gd name="connsiteX1" fmla="*/ 0 w 212206"/>
                  <a:gd name="connsiteY1" fmla="*/ 137009 h 139322"/>
                  <a:gd name="connsiteX2" fmla="*/ 41813 w 212206"/>
                  <a:gd name="connsiteY2" fmla="*/ 24955 h 139322"/>
                  <a:gd name="connsiteX3" fmla="*/ 73545 w 212206"/>
                  <a:gd name="connsiteY3" fmla="*/ 0 h 139322"/>
                  <a:gd name="connsiteX4" fmla="*/ 103459 w 212206"/>
                  <a:gd name="connsiteY4" fmla="*/ 29253 h 139322"/>
                  <a:gd name="connsiteX5" fmla="*/ 103459 w 212206"/>
                  <a:gd name="connsiteY5" fmla="*/ 108913 h 139322"/>
                  <a:gd name="connsiteX6" fmla="*/ 110235 w 212206"/>
                  <a:gd name="connsiteY6" fmla="*/ 116515 h 139322"/>
                  <a:gd name="connsiteX7" fmla="*/ 117838 w 212206"/>
                  <a:gd name="connsiteY7" fmla="*/ 110896 h 139322"/>
                  <a:gd name="connsiteX8" fmla="*/ 150561 w 212206"/>
                  <a:gd name="connsiteY8" fmla="*/ 24955 h 139322"/>
                  <a:gd name="connsiteX9" fmla="*/ 182293 w 212206"/>
                  <a:gd name="connsiteY9" fmla="*/ 0 h 139322"/>
                  <a:gd name="connsiteX10" fmla="*/ 212207 w 212206"/>
                  <a:gd name="connsiteY10" fmla="*/ 29253 h 139322"/>
                  <a:gd name="connsiteX11" fmla="*/ 212207 w 212206"/>
                  <a:gd name="connsiteY11" fmla="*/ 137009 h 139322"/>
                  <a:gd name="connsiteX12" fmla="*/ 188408 w 212206"/>
                  <a:gd name="connsiteY12" fmla="*/ 137009 h 139322"/>
                  <a:gd name="connsiteX13" fmla="*/ 188408 w 212206"/>
                  <a:gd name="connsiteY13" fmla="*/ 30410 h 139322"/>
                  <a:gd name="connsiteX14" fmla="*/ 181632 w 212206"/>
                  <a:gd name="connsiteY14" fmla="*/ 22642 h 139322"/>
                  <a:gd name="connsiteX15" fmla="*/ 174195 w 212206"/>
                  <a:gd name="connsiteY15" fmla="*/ 28427 h 139322"/>
                  <a:gd name="connsiteX16" fmla="*/ 141471 w 212206"/>
                  <a:gd name="connsiteY16" fmla="*/ 114367 h 139322"/>
                  <a:gd name="connsiteX17" fmla="*/ 109574 w 212206"/>
                  <a:gd name="connsiteY17" fmla="*/ 139323 h 139322"/>
                  <a:gd name="connsiteX18" fmla="*/ 79826 w 212206"/>
                  <a:gd name="connsiteY18" fmla="*/ 109739 h 139322"/>
                  <a:gd name="connsiteX19" fmla="*/ 79826 w 212206"/>
                  <a:gd name="connsiteY19" fmla="*/ 30410 h 139322"/>
                  <a:gd name="connsiteX20" fmla="*/ 72884 w 212206"/>
                  <a:gd name="connsiteY20" fmla="*/ 22642 h 139322"/>
                  <a:gd name="connsiteX21" fmla="*/ 65447 w 212206"/>
                  <a:gd name="connsiteY21" fmla="*/ 28427 h 139322"/>
                  <a:gd name="connsiteX22" fmla="*/ 25121 w 212206"/>
                  <a:gd name="connsiteY22" fmla="*/ 137009 h 13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12206" h="139322">
                    <a:moveTo>
                      <a:pt x="25121" y="137009"/>
                    </a:moveTo>
                    <a:lnTo>
                      <a:pt x="0" y="137009"/>
                    </a:lnTo>
                    <a:lnTo>
                      <a:pt x="41813" y="24955"/>
                    </a:lnTo>
                    <a:cubicBezTo>
                      <a:pt x="46937" y="9585"/>
                      <a:pt x="55531" y="0"/>
                      <a:pt x="73545" y="0"/>
                    </a:cubicBezTo>
                    <a:cubicBezTo>
                      <a:pt x="93543" y="0"/>
                      <a:pt x="103459" y="11734"/>
                      <a:pt x="103459" y="29253"/>
                    </a:cubicBezTo>
                    <a:lnTo>
                      <a:pt x="103459" y="108913"/>
                    </a:lnTo>
                    <a:cubicBezTo>
                      <a:pt x="103459" y="113541"/>
                      <a:pt x="106269" y="116515"/>
                      <a:pt x="110235" y="116515"/>
                    </a:cubicBezTo>
                    <a:cubicBezTo>
                      <a:pt x="113871" y="116515"/>
                      <a:pt x="116681" y="114367"/>
                      <a:pt x="117838" y="110896"/>
                    </a:cubicBezTo>
                    <a:lnTo>
                      <a:pt x="150561" y="24955"/>
                    </a:lnTo>
                    <a:cubicBezTo>
                      <a:pt x="155685" y="9585"/>
                      <a:pt x="164279" y="0"/>
                      <a:pt x="182293" y="0"/>
                    </a:cubicBezTo>
                    <a:cubicBezTo>
                      <a:pt x="202291" y="0"/>
                      <a:pt x="212207" y="11734"/>
                      <a:pt x="212207" y="29253"/>
                    </a:cubicBezTo>
                    <a:lnTo>
                      <a:pt x="212207" y="137009"/>
                    </a:lnTo>
                    <a:lnTo>
                      <a:pt x="188408" y="137009"/>
                    </a:lnTo>
                    <a:lnTo>
                      <a:pt x="188408" y="30410"/>
                    </a:lnTo>
                    <a:cubicBezTo>
                      <a:pt x="188408" y="25617"/>
                      <a:pt x="185598" y="22642"/>
                      <a:pt x="181632" y="22642"/>
                    </a:cubicBezTo>
                    <a:cubicBezTo>
                      <a:pt x="178161" y="22642"/>
                      <a:pt x="175517" y="24955"/>
                      <a:pt x="174195" y="28427"/>
                    </a:cubicBezTo>
                    <a:lnTo>
                      <a:pt x="141471" y="114367"/>
                    </a:lnTo>
                    <a:cubicBezTo>
                      <a:pt x="136348" y="129737"/>
                      <a:pt x="127423" y="139323"/>
                      <a:pt x="109574" y="139323"/>
                    </a:cubicBezTo>
                    <a:cubicBezTo>
                      <a:pt x="89742" y="139323"/>
                      <a:pt x="79826" y="127589"/>
                      <a:pt x="79826" y="109739"/>
                    </a:cubicBezTo>
                    <a:lnTo>
                      <a:pt x="79826" y="30410"/>
                    </a:lnTo>
                    <a:cubicBezTo>
                      <a:pt x="79826" y="25617"/>
                      <a:pt x="76851" y="22642"/>
                      <a:pt x="72884" y="22642"/>
                    </a:cubicBezTo>
                    <a:cubicBezTo>
                      <a:pt x="69248" y="22642"/>
                      <a:pt x="66934" y="24955"/>
                      <a:pt x="65447" y="28427"/>
                    </a:cubicBezTo>
                    <a:lnTo>
                      <a:pt x="25121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8C0E956F-0325-BCC7-587B-84ADB8C822C3}"/>
                  </a:ext>
                </a:extLst>
              </p:cNvPr>
              <p:cNvSpPr/>
              <p:nvPr/>
            </p:nvSpPr>
            <p:spPr>
              <a:xfrm>
                <a:off x="6851662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386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3" y="84949"/>
                      <a:pt x="92386" y="75528"/>
                      <a:pt x="92386" y="52886"/>
                    </a:cubicBezTo>
                    <a:cubicBezTo>
                      <a:pt x="92386" y="30244"/>
                      <a:pt x="84123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C47280FE-82FC-AF35-3664-EC2BFA0F8334}"/>
                  </a:ext>
                </a:extLst>
              </p:cNvPr>
              <p:cNvSpPr/>
              <p:nvPr/>
            </p:nvSpPr>
            <p:spPr>
              <a:xfrm>
                <a:off x="6987184" y="5883880"/>
                <a:ext cx="113705" cy="151057"/>
              </a:xfrm>
              <a:custGeom>
                <a:avLst/>
                <a:gdLst>
                  <a:gd name="connsiteX0" fmla="*/ 113541 w 113705"/>
                  <a:gd name="connsiteY0" fmla="*/ 0 h 151057"/>
                  <a:gd name="connsiteX1" fmla="*/ 113541 w 113705"/>
                  <a:gd name="connsiteY1" fmla="*/ 105938 h 151057"/>
                  <a:gd name="connsiteX2" fmla="*/ 74867 w 113705"/>
                  <a:gd name="connsiteY2" fmla="*/ 151057 h 151057"/>
                  <a:gd name="connsiteX3" fmla="*/ 45780 w 113705"/>
                  <a:gd name="connsiteY3" fmla="*/ 151057 h 151057"/>
                  <a:gd name="connsiteX4" fmla="*/ 0 w 113705"/>
                  <a:gd name="connsiteY4" fmla="*/ 98336 h 151057"/>
                  <a:gd name="connsiteX5" fmla="*/ 45780 w 113705"/>
                  <a:gd name="connsiteY5" fmla="*/ 45615 h 151057"/>
                  <a:gd name="connsiteX6" fmla="*/ 92386 w 113705"/>
                  <a:gd name="connsiteY6" fmla="*/ 45615 h 151057"/>
                  <a:gd name="connsiteX7" fmla="*/ 92386 w 113705"/>
                  <a:gd name="connsiteY7" fmla="*/ 0 h 151057"/>
                  <a:gd name="connsiteX8" fmla="*/ 113706 w 113705"/>
                  <a:gd name="connsiteY8" fmla="*/ 0 h 151057"/>
                  <a:gd name="connsiteX9" fmla="*/ 92221 w 113705"/>
                  <a:gd name="connsiteY9" fmla="*/ 104947 h 151057"/>
                  <a:gd name="connsiteX10" fmla="*/ 92221 w 113705"/>
                  <a:gd name="connsiteY10" fmla="*/ 66108 h 151057"/>
                  <a:gd name="connsiteX11" fmla="*/ 47598 w 113705"/>
                  <a:gd name="connsiteY11" fmla="*/ 66108 h 151057"/>
                  <a:gd name="connsiteX12" fmla="*/ 21320 w 113705"/>
                  <a:gd name="connsiteY12" fmla="*/ 98501 h 151057"/>
                  <a:gd name="connsiteX13" fmla="*/ 47598 w 113705"/>
                  <a:gd name="connsiteY13" fmla="*/ 130563 h 151057"/>
                  <a:gd name="connsiteX14" fmla="*/ 68587 w 113705"/>
                  <a:gd name="connsiteY14" fmla="*/ 130563 h 151057"/>
                  <a:gd name="connsiteX15" fmla="*/ 92221 w 113705"/>
                  <a:gd name="connsiteY15" fmla="*/ 105112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705" h="151057">
                    <a:moveTo>
                      <a:pt x="113541" y="0"/>
                    </a:moveTo>
                    <a:lnTo>
                      <a:pt x="113541" y="105938"/>
                    </a:lnTo>
                    <a:cubicBezTo>
                      <a:pt x="113541" y="136183"/>
                      <a:pt x="99989" y="151057"/>
                      <a:pt x="74867" y="151057"/>
                    </a:cubicBezTo>
                    <a:lnTo>
                      <a:pt x="45780" y="151057"/>
                    </a:lnTo>
                    <a:cubicBezTo>
                      <a:pt x="17684" y="151057"/>
                      <a:pt x="0" y="133869"/>
                      <a:pt x="0" y="98336"/>
                    </a:cubicBezTo>
                    <a:cubicBezTo>
                      <a:pt x="0" y="62802"/>
                      <a:pt x="17519" y="45615"/>
                      <a:pt x="45780" y="45615"/>
                    </a:cubicBezTo>
                    <a:lnTo>
                      <a:pt x="92386" y="45615"/>
                    </a:lnTo>
                    <a:lnTo>
                      <a:pt x="92386" y="0"/>
                    </a:lnTo>
                    <a:lnTo>
                      <a:pt x="113706" y="0"/>
                    </a:lnTo>
                    <a:close/>
                    <a:moveTo>
                      <a:pt x="92221" y="104947"/>
                    </a:moveTo>
                    <a:lnTo>
                      <a:pt x="92221" y="66108"/>
                    </a:lnTo>
                    <a:lnTo>
                      <a:pt x="47598" y="66108"/>
                    </a:lnTo>
                    <a:cubicBezTo>
                      <a:pt x="29418" y="66108"/>
                      <a:pt x="21320" y="75694"/>
                      <a:pt x="21320" y="98501"/>
                    </a:cubicBezTo>
                    <a:cubicBezTo>
                      <a:pt x="21320" y="121308"/>
                      <a:pt x="29583" y="130563"/>
                      <a:pt x="47598" y="130563"/>
                    </a:cubicBezTo>
                    <a:lnTo>
                      <a:pt x="68587" y="130563"/>
                    </a:lnTo>
                    <a:cubicBezTo>
                      <a:pt x="85610" y="130563"/>
                      <a:pt x="92221" y="122961"/>
                      <a:pt x="92221" y="1051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1C5D9545-2984-5C97-FBB4-2005634E51AF}"/>
                  </a:ext>
                </a:extLst>
              </p:cNvPr>
              <p:cNvSpPr/>
              <p:nvPr/>
            </p:nvSpPr>
            <p:spPr>
              <a:xfrm>
                <a:off x="7130308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525 w 106268"/>
                  <a:gd name="connsiteY17" fmla="*/ 20328 h 105277"/>
                  <a:gd name="connsiteX18" fmla="*/ 20328 w 106268"/>
                  <a:gd name="connsiteY18" fmla="*/ 34872 h 105277"/>
                  <a:gd name="connsiteX19" fmla="*/ 20328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636012ED-38E9-9BC9-1D24-51837E5152FD}"/>
                  </a:ext>
                </a:extLst>
              </p:cNvPr>
              <p:cNvSpPr/>
              <p:nvPr/>
            </p:nvSpPr>
            <p:spPr>
              <a:xfrm>
                <a:off x="7263681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2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2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E6E1B1C6-F75B-1BA1-9E26-148F570F2D83}"/>
                  </a:ext>
                </a:extLst>
              </p:cNvPr>
              <p:cNvSpPr/>
              <p:nvPr/>
            </p:nvSpPr>
            <p:spPr>
              <a:xfrm>
                <a:off x="735772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B73D0C1E-6881-5DDD-6AA4-195A1EB52896}"/>
                  </a:ext>
                </a:extLst>
              </p:cNvPr>
              <p:cNvSpPr/>
              <p:nvPr/>
            </p:nvSpPr>
            <p:spPr>
              <a:xfrm>
                <a:off x="7500513" y="5889830"/>
                <a:ext cx="21319" cy="144942"/>
              </a:xfrm>
              <a:custGeom>
                <a:avLst/>
                <a:gdLst>
                  <a:gd name="connsiteX0" fmla="*/ 21320 w 21319"/>
                  <a:gd name="connsiteY0" fmla="*/ 0 h 144942"/>
                  <a:gd name="connsiteX1" fmla="*/ 21320 w 21319"/>
                  <a:gd name="connsiteY1" fmla="*/ 24460 h 144942"/>
                  <a:gd name="connsiteX2" fmla="*/ 0 w 21319"/>
                  <a:gd name="connsiteY2" fmla="*/ 24460 h 144942"/>
                  <a:gd name="connsiteX3" fmla="*/ 0 w 21319"/>
                  <a:gd name="connsiteY3" fmla="*/ 0 h 144942"/>
                  <a:gd name="connsiteX4" fmla="*/ 21320 w 21319"/>
                  <a:gd name="connsiteY4" fmla="*/ 0 h 144942"/>
                  <a:gd name="connsiteX5" fmla="*/ 21155 w 21319"/>
                  <a:gd name="connsiteY5" fmla="*/ 39665 h 144942"/>
                  <a:gd name="connsiteX6" fmla="*/ 21155 w 21319"/>
                  <a:gd name="connsiteY6" fmla="*/ 144942 h 144942"/>
                  <a:gd name="connsiteX7" fmla="*/ 0 w 21319"/>
                  <a:gd name="connsiteY7" fmla="*/ 144942 h 144942"/>
                  <a:gd name="connsiteX8" fmla="*/ 0 w 21319"/>
                  <a:gd name="connsiteY8" fmla="*/ 39665 h 144942"/>
                  <a:gd name="connsiteX9" fmla="*/ 21155 w 21319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19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E782B3C3-F238-772B-C159-46CD53098C0F}"/>
                  </a:ext>
                </a:extLst>
              </p:cNvPr>
              <p:cNvSpPr/>
              <p:nvPr/>
            </p:nvSpPr>
            <p:spPr>
              <a:xfrm>
                <a:off x="7548276" y="5929495"/>
                <a:ext cx="104450" cy="105277"/>
              </a:xfrm>
              <a:custGeom>
                <a:avLst/>
                <a:gdLst>
                  <a:gd name="connsiteX0" fmla="*/ 77346 w 104450"/>
                  <a:gd name="connsiteY0" fmla="*/ 0 h 105277"/>
                  <a:gd name="connsiteX1" fmla="*/ 104451 w 104450"/>
                  <a:gd name="connsiteY1" fmla="*/ 24129 h 105277"/>
                  <a:gd name="connsiteX2" fmla="*/ 86436 w 104450"/>
                  <a:gd name="connsiteY2" fmla="*/ 49416 h 105277"/>
                  <a:gd name="connsiteX3" fmla="*/ 25947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4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6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6" y="0"/>
                    </a:moveTo>
                    <a:cubicBezTo>
                      <a:pt x="95691" y="0"/>
                      <a:pt x="104451" y="9585"/>
                      <a:pt x="104451" y="24129"/>
                    </a:cubicBezTo>
                    <a:cubicBezTo>
                      <a:pt x="104451" y="37020"/>
                      <a:pt x="97509" y="45449"/>
                      <a:pt x="86436" y="49416"/>
                    </a:cubicBezTo>
                    <a:lnTo>
                      <a:pt x="25947" y="71396"/>
                    </a:lnTo>
                    <a:cubicBezTo>
                      <a:pt x="22311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4" y="59993"/>
                      <a:pt x="18014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3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4A91FB04-BE3D-7AA2-0633-34654CDC9CB6}"/>
                  </a:ext>
                </a:extLst>
              </p:cNvPr>
              <p:cNvSpPr/>
              <p:nvPr/>
            </p:nvSpPr>
            <p:spPr>
              <a:xfrm>
                <a:off x="7679335" y="5889830"/>
                <a:ext cx="21485" cy="144942"/>
              </a:xfrm>
              <a:custGeom>
                <a:avLst/>
                <a:gdLst>
                  <a:gd name="connsiteX0" fmla="*/ 21485 w 21485"/>
                  <a:gd name="connsiteY0" fmla="*/ 0 h 144942"/>
                  <a:gd name="connsiteX1" fmla="*/ 21485 w 21485"/>
                  <a:gd name="connsiteY1" fmla="*/ 24460 h 144942"/>
                  <a:gd name="connsiteX2" fmla="*/ 165 w 21485"/>
                  <a:gd name="connsiteY2" fmla="*/ 24460 h 144942"/>
                  <a:gd name="connsiteX3" fmla="*/ 165 w 21485"/>
                  <a:gd name="connsiteY3" fmla="*/ 0 h 144942"/>
                  <a:gd name="connsiteX4" fmla="*/ 21485 w 21485"/>
                  <a:gd name="connsiteY4" fmla="*/ 0 h 144942"/>
                  <a:gd name="connsiteX5" fmla="*/ 21155 w 21485"/>
                  <a:gd name="connsiteY5" fmla="*/ 39665 h 144942"/>
                  <a:gd name="connsiteX6" fmla="*/ 21155 w 21485"/>
                  <a:gd name="connsiteY6" fmla="*/ 144942 h 144942"/>
                  <a:gd name="connsiteX7" fmla="*/ 0 w 21485"/>
                  <a:gd name="connsiteY7" fmla="*/ 144942 h 144942"/>
                  <a:gd name="connsiteX8" fmla="*/ 0 w 21485"/>
                  <a:gd name="connsiteY8" fmla="*/ 39665 h 144942"/>
                  <a:gd name="connsiteX9" fmla="*/ 21155 w 21485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485" h="144942">
                    <a:moveTo>
                      <a:pt x="21485" y="0"/>
                    </a:moveTo>
                    <a:lnTo>
                      <a:pt x="21485" y="24460"/>
                    </a:lnTo>
                    <a:lnTo>
                      <a:pt x="165" y="24460"/>
                    </a:lnTo>
                    <a:lnTo>
                      <a:pt x="165" y="0"/>
                    </a:lnTo>
                    <a:lnTo>
                      <a:pt x="21485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00161241-9806-193D-B341-E693B4A9557A}"/>
                  </a:ext>
                </a:extLst>
              </p:cNvPr>
              <p:cNvSpPr/>
              <p:nvPr/>
            </p:nvSpPr>
            <p:spPr>
              <a:xfrm>
                <a:off x="773238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039A487D-3BEB-83CD-13AA-DC9EB471BBB6}"/>
                  </a:ext>
                </a:extLst>
              </p:cNvPr>
              <p:cNvSpPr/>
              <p:nvPr/>
            </p:nvSpPr>
            <p:spPr>
              <a:xfrm>
                <a:off x="7869892" y="5929495"/>
                <a:ext cx="113705" cy="147420"/>
              </a:xfrm>
              <a:custGeom>
                <a:avLst/>
                <a:gdLst>
                  <a:gd name="connsiteX0" fmla="*/ 75033 w 113705"/>
                  <a:gd name="connsiteY0" fmla="*/ 0 h 147420"/>
                  <a:gd name="connsiteX1" fmla="*/ 113706 w 113705"/>
                  <a:gd name="connsiteY1" fmla="*/ 45118 h 147420"/>
                  <a:gd name="connsiteX2" fmla="*/ 113706 w 113705"/>
                  <a:gd name="connsiteY2" fmla="*/ 105773 h 147420"/>
                  <a:gd name="connsiteX3" fmla="*/ 73711 w 113705"/>
                  <a:gd name="connsiteY3" fmla="*/ 147421 h 147420"/>
                  <a:gd name="connsiteX4" fmla="*/ 11073 w 113705"/>
                  <a:gd name="connsiteY4" fmla="*/ 147421 h 147420"/>
                  <a:gd name="connsiteX5" fmla="*/ 11073 w 113705"/>
                  <a:gd name="connsiteY5" fmla="*/ 127093 h 147420"/>
                  <a:gd name="connsiteX6" fmla="*/ 71397 w 113705"/>
                  <a:gd name="connsiteY6" fmla="*/ 127093 h 147420"/>
                  <a:gd name="connsiteX7" fmla="*/ 92386 w 113705"/>
                  <a:gd name="connsiteY7" fmla="*/ 105773 h 147420"/>
                  <a:gd name="connsiteX8" fmla="*/ 92386 w 113705"/>
                  <a:gd name="connsiteY8" fmla="*/ 100980 h 147420"/>
                  <a:gd name="connsiteX9" fmla="*/ 45780 w 113705"/>
                  <a:gd name="connsiteY9" fmla="*/ 100980 h 147420"/>
                  <a:gd name="connsiteX10" fmla="*/ 0 w 113705"/>
                  <a:gd name="connsiteY10" fmla="*/ 50242 h 147420"/>
                  <a:gd name="connsiteX11" fmla="*/ 45780 w 113705"/>
                  <a:gd name="connsiteY11" fmla="*/ 0 h 147420"/>
                  <a:gd name="connsiteX12" fmla="*/ 74867 w 113705"/>
                  <a:gd name="connsiteY12" fmla="*/ 0 h 147420"/>
                  <a:gd name="connsiteX13" fmla="*/ 47763 w 113705"/>
                  <a:gd name="connsiteY13" fmla="*/ 81808 h 147420"/>
                  <a:gd name="connsiteX14" fmla="*/ 92386 w 113705"/>
                  <a:gd name="connsiteY14" fmla="*/ 81808 h 147420"/>
                  <a:gd name="connsiteX15" fmla="*/ 92386 w 113705"/>
                  <a:gd name="connsiteY15" fmla="*/ 44954 h 147420"/>
                  <a:gd name="connsiteX16" fmla="*/ 68752 w 113705"/>
                  <a:gd name="connsiteY16" fmla="*/ 20493 h 147420"/>
                  <a:gd name="connsiteX17" fmla="*/ 47763 w 113705"/>
                  <a:gd name="connsiteY17" fmla="*/ 20493 h 147420"/>
                  <a:gd name="connsiteX18" fmla="*/ 21485 w 113705"/>
                  <a:gd name="connsiteY18" fmla="*/ 51233 h 147420"/>
                  <a:gd name="connsiteX19" fmla="*/ 47763 w 113705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705" h="147420">
                    <a:moveTo>
                      <a:pt x="75033" y="0"/>
                    </a:moveTo>
                    <a:cubicBezTo>
                      <a:pt x="100154" y="0"/>
                      <a:pt x="113706" y="14709"/>
                      <a:pt x="113706" y="45118"/>
                    </a:cubicBezTo>
                    <a:lnTo>
                      <a:pt x="113706" y="105773"/>
                    </a:lnTo>
                    <a:cubicBezTo>
                      <a:pt x="113706" y="135687"/>
                      <a:pt x="103294" y="147421"/>
                      <a:pt x="73711" y="147421"/>
                    </a:cubicBezTo>
                    <a:lnTo>
                      <a:pt x="11073" y="147421"/>
                    </a:lnTo>
                    <a:lnTo>
                      <a:pt x="11073" y="127093"/>
                    </a:lnTo>
                    <a:lnTo>
                      <a:pt x="71397" y="127093"/>
                    </a:lnTo>
                    <a:cubicBezTo>
                      <a:pt x="87097" y="127093"/>
                      <a:pt x="92386" y="120977"/>
                      <a:pt x="92386" y="105773"/>
                    </a:cubicBezTo>
                    <a:lnTo>
                      <a:pt x="92386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763" y="81808"/>
                    </a:moveTo>
                    <a:lnTo>
                      <a:pt x="92386" y="81808"/>
                    </a:lnTo>
                    <a:lnTo>
                      <a:pt x="92386" y="44954"/>
                    </a:lnTo>
                    <a:cubicBezTo>
                      <a:pt x="92386" y="27765"/>
                      <a:pt x="85775" y="20493"/>
                      <a:pt x="68752" y="20493"/>
                    </a:cubicBezTo>
                    <a:lnTo>
                      <a:pt x="47763" y="20493"/>
                    </a:lnTo>
                    <a:cubicBezTo>
                      <a:pt x="29583" y="20493"/>
                      <a:pt x="21485" y="29583"/>
                      <a:pt x="21485" y="51233"/>
                    </a:cubicBezTo>
                    <a:cubicBezTo>
                      <a:pt x="21485" y="72884"/>
                      <a:pt x="29749" y="81974"/>
                      <a:pt x="4776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9F663C3F-A5DC-1995-6FF8-2274DC3C8653}"/>
                  </a:ext>
                </a:extLst>
              </p:cNvPr>
              <p:cNvSpPr/>
              <p:nvPr/>
            </p:nvSpPr>
            <p:spPr>
              <a:xfrm>
                <a:off x="8057969" y="5897929"/>
                <a:ext cx="149239" cy="137009"/>
              </a:xfrm>
              <a:custGeom>
                <a:avLst/>
                <a:gdLst>
                  <a:gd name="connsiteX0" fmla="*/ 25947 w 149239"/>
                  <a:gd name="connsiteY0" fmla="*/ 137009 h 137009"/>
                  <a:gd name="connsiteX1" fmla="*/ 0 w 149239"/>
                  <a:gd name="connsiteY1" fmla="*/ 137009 h 137009"/>
                  <a:gd name="connsiteX2" fmla="*/ 47267 w 149239"/>
                  <a:gd name="connsiteY2" fmla="*/ 17353 h 137009"/>
                  <a:gd name="connsiteX3" fmla="*/ 75694 w 149239"/>
                  <a:gd name="connsiteY3" fmla="*/ 0 h 137009"/>
                  <a:gd name="connsiteX4" fmla="*/ 103625 w 149239"/>
                  <a:gd name="connsiteY4" fmla="*/ 17353 h 137009"/>
                  <a:gd name="connsiteX5" fmla="*/ 149239 w 149239"/>
                  <a:gd name="connsiteY5" fmla="*/ 137009 h 137009"/>
                  <a:gd name="connsiteX6" fmla="*/ 123126 w 149239"/>
                  <a:gd name="connsiteY6" fmla="*/ 137009 h 137009"/>
                  <a:gd name="connsiteX7" fmla="*/ 82139 w 149239"/>
                  <a:gd name="connsiteY7" fmla="*/ 28757 h 137009"/>
                  <a:gd name="connsiteX8" fmla="*/ 75528 w 149239"/>
                  <a:gd name="connsiteY8" fmla="*/ 24129 h 137009"/>
                  <a:gd name="connsiteX9" fmla="*/ 68752 w 149239"/>
                  <a:gd name="connsiteY9" fmla="*/ 28757 h 137009"/>
                  <a:gd name="connsiteX10" fmla="*/ 25947 w 149239"/>
                  <a:gd name="connsiteY10" fmla="*/ 137009 h 137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239" h="137009">
                    <a:moveTo>
                      <a:pt x="25947" y="137009"/>
                    </a:moveTo>
                    <a:lnTo>
                      <a:pt x="0" y="137009"/>
                    </a:lnTo>
                    <a:lnTo>
                      <a:pt x="47267" y="17353"/>
                    </a:lnTo>
                    <a:cubicBezTo>
                      <a:pt x="52225" y="4793"/>
                      <a:pt x="61481" y="0"/>
                      <a:pt x="75694" y="0"/>
                    </a:cubicBezTo>
                    <a:cubicBezTo>
                      <a:pt x="89907" y="0"/>
                      <a:pt x="98832" y="4793"/>
                      <a:pt x="103625" y="17353"/>
                    </a:cubicBezTo>
                    <a:lnTo>
                      <a:pt x="149239" y="137009"/>
                    </a:lnTo>
                    <a:lnTo>
                      <a:pt x="123126" y="137009"/>
                    </a:lnTo>
                    <a:lnTo>
                      <a:pt x="82139" y="28757"/>
                    </a:lnTo>
                    <a:cubicBezTo>
                      <a:pt x="80982" y="25617"/>
                      <a:pt x="78669" y="24129"/>
                      <a:pt x="75528" y="24129"/>
                    </a:cubicBezTo>
                    <a:cubicBezTo>
                      <a:pt x="72388" y="24129"/>
                      <a:pt x="70075" y="25452"/>
                      <a:pt x="68752" y="28757"/>
                    </a:cubicBezTo>
                    <a:lnTo>
                      <a:pt x="25947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E91CFB6A-06C1-6DE1-DE31-360CAB30158F}"/>
                  </a:ext>
                </a:extLst>
              </p:cNvPr>
              <p:cNvSpPr/>
              <p:nvPr/>
            </p:nvSpPr>
            <p:spPr>
              <a:xfrm>
                <a:off x="8216464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386C9947-BE39-2CEC-66B8-46A35858A931}"/>
                  </a:ext>
                </a:extLst>
              </p:cNvPr>
              <p:cNvSpPr/>
              <p:nvPr/>
            </p:nvSpPr>
            <p:spPr>
              <a:xfrm>
                <a:off x="8338103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6BE42608-E9F5-A496-95D7-4D361C54C5D0}"/>
                  </a:ext>
                </a:extLst>
              </p:cNvPr>
              <p:cNvSpPr/>
              <p:nvPr/>
            </p:nvSpPr>
            <p:spPr>
              <a:xfrm>
                <a:off x="8462716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493 w 106268"/>
                  <a:gd name="connsiteY13" fmla="*/ 46110 h 105277"/>
                  <a:gd name="connsiteX14" fmla="*/ 70075 w 106268"/>
                  <a:gd name="connsiteY14" fmla="*/ 46110 h 105277"/>
                  <a:gd name="connsiteX15" fmla="*/ 85610 w 106268"/>
                  <a:gd name="connsiteY15" fmla="*/ 33550 h 105277"/>
                  <a:gd name="connsiteX16" fmla="*/ 70570 w 106268"/>
                  <a:gd name="connsiteY16" fmla="*/ 20328 h 105277"/>
                  <a:gd name="connsiteX17" fmla="*/ 36690 w 106268"/>
                  <a:gd name="connsiteY17" fmla="*/ 20328 h 105277"/>
                  <a:gd name="connsiteX18" fmla="*/ 20493 w 106268"/>
                  <a:gd name="connsiteY18" fmla="*/ 34872 h 105277"/>
                  <a:gd name="connsiteX19" fmla="*/ 2049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3" y="46110"/>
                    </a:moveTo>
                    <a:lnTo>
                      <a:pt x="70075" y="46110"/>
                    </a:lnTo>
                    <a:cubicBezTo>
                      <a:pt x="81478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0" y="20328"/>
                    </a:cubicBezTo>
                    <a:lnTo>
                      <a:pt x="36690" y="20328"/>
                    </a:lnTo>
                    <a:cubicBezTo>
                      <a:pt x="25121" y="20328"/>
                      <a:pt x="20493" y="26774"/>
                      <a:pt x="20493" y="34872"/>
                    </a:cubicBezTo>
                    <a:lnTo>
                      <a:pt x="2049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5BF1CCEE-9723-B23F-93BC-58ED3B1701C7}"/>
                  </a:ext>
                </a:extLst>
              </p:cNvPr>
              <p:cNvSpPr/>
              <p:nvPr/>
            </p:nvSpPr>
            <p:spPr>
              <a:xfrm>
                <a:off x="8591462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4A0B8A53-0809-D145-1403-D909C2CEA922}"/>
                  </a:ext>
                </a:extLst>
              </p:cNvPr>
              <p:cNvSpPr/>
              <p:nvPr/>
            </p:nvSpPr>
            <p:spPr>
              <a:xfrm>
                <a:off x="8709961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C295CD2C-8609-50E0-1D99-1421FFA6A6C9}"/>
                  </a:ext>
                </a:extLst>
              </p:cNvPr>
              <p:cNvSpPr/>
              <p:nvPr/>
            </p:nvSpPr>
            <p:spPr>
              <a:xfrm>
                <a:off x="8940347" y="5939411"/>
                <a:ext cx="60984" cy="52225"/>
              </a:xfrm>
              <a:custGeom>
                <a:avLst/>
                <a:gdLst>
                  <a:gd name="connsiteX0" fmla="*/ 39004 w 60984"/>
                  <a:gd name="connsiteY0" fmla="*/ 0 h 52225"/>
                  <a:gd name="connsiteX1" fmla="*/ 60985 w 60984"/>
                  <a:gd name="connsiteY1" fmla="*/ 26113 h 52225"/>
                  <a:gd name="connsiteX2" fmla="*/ 39004 w 60984"/>
                  <a:gd name="connsiteY2" fmla="*/ 52225 h 52225"/>
                  <a:gd name="connsiteX3" fmla="*/ 21816 w 60984"/>
                  <a:gd name="connsiteY3" fmla="*/ 52225 h 52225"/>
                  <a:gd name="connsiteX4" fmla="*/ 0 w 60984"/>
                  <a:gd name="connsiteY4" fmla="*/ 26113 h 52225"/>
                  <a:gd name="connsiteX5" fmla="*/ 21816 w 60984"/>
                  <a:gd name="connsiteY5" fmla="*/ 0 h 52225"/>
                  <a:gd name="connsiteX6" fmla="*/ 39004 w 60984"/>
                  <a:gd name="connsiteY6" fmla="*/ 0 h 5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984" h="52225">
                    <a:moveTo>
                      <a:pt x="39004" y="0"/>
                    </a:moveTo>
                    <a:cubicBezTo>
                      <a:pt x="52391" y="0"/>
                      <a:pt x="60985" y="8429"/>
                      <a:pt x="60985" y="26113"/>
                    </a:cubicBezTo>
                    <a:cubicBezTo>
                      <a:pt x="60985" y="43797"/>
                      <a:pt x="52391" y="52225"/>
                      <a:pt x="39004" y="52225"/>
                    </a:cubicBezTo>
                    <a:lnTo>
                      <a:pt x="21816" y="52225"/>
                    </a:lnTo>
                    <a:cubicBezTo>
                      <a:pt x="8429" y="52225"/>
                      <a:pt x="0" y="43797"/>
                      <a:pt x="0" y="26113"/>
                    </a:cubicBezTo>
                    <a:cubicBezTo>
                      <a:pt x="0" y="8429"/>
                      <a:pt x="8429" y="0"/>
                      <a:pt x="21816" y="0"/>
                    </a:cubicBezTo>
                    <a:lnTo>
                      <a:pt x="3900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7FA776CF-708A-038D-8354-9F8D4158C070}"/>
                  </a:ext>
                </a:extLst>
              </p:cNvPr>
              <p:cNvSpPr/>
              <p:nvPr/>
            </p:nvSpPr>
            <p:spPr>
              <a:xfrm>
                <a:off x="9141646" y="5900242"/>
                <a:ext cx="119325" cy="134860"/>
              </a:xfrm>
              <a:custGeom>
                <a:avLst/>
                <a:gdLst>
                  <a:gd name="connsiteX0" fmla="*/ 73215 w 119325"/>
                  <a:gd name="connsiteY0" fmla="*/ 0 h 134860"/>
                  <a:gd name="connsiteX1" fmla="*/ 116516 w 119325"/>
                  <a:gd name="connsiteY1" fmla="*/ 40326 h 134860"/>
                  <a:gd name="connsiteX2" fmla="*/ 87924 w 119325"/>
                  <a:gd name="connsiteY2" fmla="*/ 80817 h 134860"/>
                  <a:gd name="connsiteX3" fmla="*/ 119325 w 119325"/>
                  <a:gd name="connsiteY3" fmla="*/ 134696 h 134860"/>
                  <a:gd name="connsiteX4" fmla="*/ 93212 w 119325"/>
                  <a:gd name="connsiteY4" fmla="*/ 134696 h 134860"/>
                  <a:gd name="connsiteX5" fmla="*/ 62472 w 119325"/>
                  <a:gd name="connsiteY5" fmla="*/ 82635 h 134860"/>
                  <a:gd name="connsiteX6" fmla="*/ 27270 w 119325"/>
                  <a:gd name="connsiteY6" fmla="*/ 82635 h 134860"/>
                  <a:gd name="connsiteX7" fmla="*/ 23799 w 119325"/>
                  <a:gd name="connsiteY7" fmla="*/ 86106 h 134860"/>
                  <a:gd name="connsiteX8" fmla="*/ 23799 w 119325"/>
                  <a:gd name="connsiteY8" fmla="*/ 134861 h 134860"/>
                  <a:gd name="connsiteX9" fmla="*/ 165 w 119325"/>
                  <a:gd name="connsiteY9" fmla="*/ 134861 h 134860"/>
                  <a:gd name="connsiteX10" fmla="*/ 165 w 119325"/>
                  <a:gd name="connsiteY10" fmla="*/ 81644 h 134860"/>
                  <a:gd name="connsiteX11" fmla="*/ 21320 w 119325"/>
                  <a:gd name="connsiteY11" fmla="*/ 60324 h 134860"/>
                  <a:gd name="connsiteX12" fmla="*/ 73876 w 119325"/>
                  <a:gd name="connsiteY12" fmla="*/ 60324 h 134860"/>
                  <a:gd name="connsiteX13" fmla="*/ 92717 w 119325"/>
                  <a:gd name="connsiteY13" fmla="*/ 41648 h 134860"/>
                  <a:gd name="connsiteX14" fmla="*/ 73876 w 119325"/>
                  <a:gd name="connsiteY14" fmla="*/ 23964 h 134860"/>
                  <a:gd name="connsiteX15" fmla="*/ 0 w 119325"/>
                  <a:gd name="connsiteY15" fmla="*/ 23964 h 134860"/>
                  <a:gd name="connsiteX16" fmla="*/ 0 w 119325"/>
                  <a:gd name="connsiteY16" fmla="*/ 496 h 134860"/>
                  <a:gd name="connsiteX17" fmla="*/ 73049 w 119325"/>
                  <a:gd name="connsiteY17" fmla="*/ 496 h 13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9325" h="134860">
                    <a:moveTo>
                      <a:pt x="73215" y="0"/>
                    </a:moveTo>
                    <a:cubicBezTo>
                      <a:pt x="103625" y="0"/>
                      <a:pt x="116516" y="18676"/>
                      <a:pt x="116516" y="40326"/>
                    </a:cubicBezTo>
                    <a:cubicBezTo>
                      <a:pt x="116516" y="57018"/>
                      <a:pt x="108583" y="75033"/>
                      <a:pt x="87924" y="80817"/>
                    </a:cubicBezTo>
                    <a:lnTo>
                      <a:pt x="119325" y="134696"/>
                    </a:lnTo>
                    <a:lnTo>
                      <a:pt x="93212" y="134696"/>
                    </a:lnTo>
                    <a:lnTo>
                      <a:pt x="62472" y="82635"/>
                    </a:lnTo>
                    <a:lnTo>
                      <a:pt x="27270" y="82635"/>
                    </a:lnTo>
                    <a:cubicBezTo>
                      <a:pt x="25121" y="82635"/>
                      <a:pt x="23799" y="83627"/>
                      <a:pt x="23799" y="86106"/>
                    </a:cubicBezTo>
                    <a:lnTo>
                      <a:pt x="23799" y="134861"/>
                    </a:lnTo>
                    <a:lnTo>
                      <a:pt x="165" y="134861"/>
                    </a:lnTo>
                    <a:lnTo>
                      <a:pt x="165" y="81644"/>
                    </a:lnTo>
                    <a:cubicBezTo>
                      <a:pt x="165" y="66439"/>
                      <a:pt x="6611" y="60324"/>
                      <a:pt x="21320" y="60324"/>
                    </a:cubicBezTo>
                    <a:lnTo>
                      <a:pt x="73876" y="60324"/>
                    </a:lnTo>
                    <a:cubicBezTo>
                      <a:pt x="87263" y="60324"/>
                      <a:pt x="92717" y="51068"/>
                      <a:pt x="92717" y="41648"/>
                    </a:cubicBezTo>
                    <a:cubicBezTo>
                      <a:pt x="92717" y="32228"/>
                      <a:pt x="86932" y="23964"/>
                      <a:pt x="73876" y="23964"/>
                    </a:cubicBezTo>
                    <a:lnTo>
                      <a:pt x="0" y="23964"/>
                    </a:lnTo>
                    <a:lnTo>
                      <a:pt x="0" y="496"/>
                    </a:lnTo>
                    <a:lnTo>
                      <a:pt x="73049" y="49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F0C65D0E-0D25-AA93-84B9-DFAB5F5DD4C4}"/>
                  </a:ext>
                </a:extLst>
              </p:cNvPr>
              <p:cNvSpPr/>
              <p:nvPr/>
            </p:nvSpPr>
            <p:spPr>
              <a:xfrm>
                <a:off x="9276011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59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59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501EE5E1-158C-18A6-F5BD-0FD20E951F61}"/>
                  </a:ext>
                </a:extLst>
              </p:cNvPr>
              <p:cNvSpPr/>
              <p:nvPr/>
            </p:nvSpPr>
            <p:spPr>
              <a:xfrm>
                <a:off x="9394841" y="5929495"/>
                <a:ext cx="127423" cy="107756"/>
              </a:xfrm>
              <a:custGeom>
                <a:avLst/>
                <a:gdLst>
                  <a:gd name="connsiteX0" fmla="*/ 22146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1 w 127423"/>
                  <a:gd name="connsiteY3" fmla="*/ 84618 h 107756"/>
                  <a:gd name="connsiteX4" fmla="*/ 104616 w 127423"/>
                  <a:gd name="connsiteY4" fmla="*/ 0 h 107756"/>
                  <a:gd name="connsiteX5" fmla="*/ 127423 w 127423"/>
                  <a:gd name="connsiteY5" fmla="*/ 0 h 107756"/>
                  <a:gd name="connsiteX6" fmla="*/ 86767 w 127423"/>
                  <a:gd name="connsiteY6" fmla="*/ 94039 h 107756"/>
                  <a:gd name="connsiteX7" fmla="*/ 62637 w 127423"/>
                  <a:gd name="connsiteY7" fmla="*/ 107756 h 107756"/>
                  <a:gd name="connsiteX8" fmla="*/ 38673 w 127423"/>
                  <a:gd name="connsiteY8" fmla="*/ 94039 h 107756"/>
                  <a:gd name="connsiteX9" fmla="*/ 0 w 127423"/>
                  <a:gd name="connsiteY9" fmla="*/ 0 h 107756"/>
                  <a:gd name="connsiteX10" fmla="*/ 22311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6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1" y="84618"/>
                    </a:cubicBezTo>
                    <a:lnTo>
                      <a:pt x="104616" y="0"/>
                    </a:lnTo>
                    <a:lnTo>
                      <a:pt x="127423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7" y="107756"/>
                    </a:cubicBezTo>
                    <a:cubicBezTo>
                      <a:pt x="50738" y="107756"/>
                      <a:pt x="42640" y="103790"/>
                      <a:pt x="38673" y="94039"/>
                    </a:cubicBezTo>
                    <a:lnTo>
                      <a:pt x="0" y="0"/>
                    </a:lnTo>
                    <a:lnTo>
                      <a:pt x="2231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F069B8CE-0AD4-13B5-F0E5-762309558540}"/>
                  </a:ext>
                </a:extLst>
              </p:cNvPr>
              <p:cNvSpPr/>
              <p:nvPr/>
            </p:nvSpPr>
            <p:spPr>
              <a:xfrm>
                <a:off x="9531849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A611DD71-C7A5-1BD0-5F67-58A83FE40950}"/>
                  </a:ext>
                </a:extLst>
              </p:cNvPr>
              <p:cNvSpPr/>
              <p:nvPr/>
            </p:nvSpPr>
            <p:spPr>
              <a:xfrm>
                <a:off x="9672329" y="5883880"/>
                <a:ext cx="21154" cy="151057"/>
              </a:xfrm>
              <a:custGeom>
                <a:avLst/>
                <a:gdLst>
                  <a:gd name="connsiteX0" fmla="*/ 21155 w 21154"/>
                  <a:gd name="connsiteY0" fmla="*/ 0 h 151057"/>
                  <a:gd name="connsiteX1" fmla="*/ 21155 w 21154"/>
                  <a:gd name="connsiteY1" fmla="*/ 151057 h 151057"/>
                  <a:gd name="connsiteX2" fmla="*/ 0 w 21154"/>
                  <a:gd name="connsiteY2" fmla="*/ 151057 h 151057"/>
                  <a:gd name="connsiteX3" fmla="*/ 0 w 21154"/>
                  <a:gd name="connsiteY3" fmla="*/ 0 h 151057"/>
                  <a:gd name="connsiteX4" fmla="*/ 21155 w 21154"/>
                  <a:gd name="connsiteY4" fmla="*/ 0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54" h="151057">
                    <a:moveTo>
                      <a:pt x="21155" y="0"/>
                    </a:moveTo>
                    <a:lnTo>
                      <a:pt x="21155" y="151057"/>
                    </a:lnTo>
                    <a:lnTo>
                      <a:pt x="0" y="151057"/>
                    </a:lnTo>
                    <a:lnTo>
                      <a:pt x="0" y="0"/>
                    </a:lnTo>
                    <a:lnTo>
                      <a:pt x="2115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61827DE3-D549-C883-E8D1-4D1EBD29DA06}"/>
                  </a:ext>
                </a:extLst>
              </p:cNvPr>
              <p:cNvSpPr/>
              <p:nvPr/>
            </p:nvSpPr>
            <p:spPr>
              <a:xfrm>
                <a:off x="9724720" y="5929495"/>
                <a:ext cx="111061" cy="105277"/>
              </a:xfrm>
              <a:custGeom>
                <a:avLst/>
                <a:gdLst>
                  <a:gd name="connsiteX0" fmla="*/ 21320 w 111061"/>
                  <a:gd name="connsiteY0" fmla="*/ 0 h 105277"/>
                  <a:gd name="connsiteX1" fmla="*/ 21320 w 111061"/>
                  <a:gd name="connsiteY1" fmla="*/ 62968 h 105277"/>
                  <a:gd name="connsiteX2" fmla="*/ 47267 w 111061"/>
                  <a:gd name="connsiteY2" fmla="*/ 84784 h 105277"/>
                  <a:gd name="connsiteX3" fmla="*/ 64456 w 111061"/>
                  <a:gd name="connsiteY3" fmla="*/ 84784 h 105277"/>
                  <a:gd name="connsiteX4" fmla="*/ 90238 w 111061"/>
                  <a:gd name="connsiteY4" fmla="*/ 62968 h 105277"/>
                  <a:gd name="connsiteX5" fmla="*/ 90238 w 111061"/>
                  <a:gd name="connsiteY5" fmla="*/ 0 h 105277"/>
                  <a:gd name="connsiteX6" fmla="*/ 111062 w 111061"/>
                  <a:gd name="connsiteY6" fmla="*/ 0 h 105277"/>
                  <a:gd name="connsiteX7" fmla="*/ 111062 w 111061"/>
                  <a:gd name="connsiteY7" fmla="*/ 63794 h 105277"/>
                  <a:gd name="connsiteX8" fmla="*/ 65282 w 111061"/>
                  <a:gd name="connsiteY8" fmla="*/ 105277 h 105277"/>
                  <a:gd name="connsiteX9" fmla="*/ 45780 w 111061"/>
                  <a:gd name="connsiteY9" fmla="*/ 105277 h 105277"/>
                  <a:gd name="connsiteX10" fmla="*/ 0 w 111061"/>
                  <a:gd name="connsiteY10" fmla="*/ 63794 h 105277"/>
                  <a:gd name="connsiteX11" fmla="*/ 0 w 111061"/>
                  <a:gd name="connsiteY11" fmla="*/ 0 h 105277"/>
                  <a:gd name="connsiteX12" fmla="*/ 21320 w 111061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61" h="105277">
                    <a:moveTo>
                      <a:pt x="21320" y="0"/>
                    </a:moveTo>
                    <a:lnTo>
                      <a:pt x="21320" y="62968"/>
                    </a:lnTo>
                    <a:cubicBezTo>
                      <a:pt x="21320" y="75363"/>
                      <a:pt x="30575" y="84784"/>
                      <a:pt x="47267" y="84784"/>
                    </a:cubicBezTo>
                    <a:lnTo>
                      <a:pt x="64456" y="84784"/>
                    </a:lnTo>
                    <a:cubicBezTo>
                      <a:pt x="81148" y="84784"/>
                      <a:pt x="90238" y="75363"/>
                      <a:pt x="90238" y="62968"/>
                    </a:cubicBezTo>
                    <a:lnTo>
                      <a:pt x="90238" y="0"/>
                    </a:lnTo>
                    <a:lnTo>
                      <a:pt x="111062" y="0"/>
                    </a:lnTo>
                    <a:lnTo>
                      <a:pt x="111062" y="63794"/>
                    </a:lnTo>
                    <a:cubicBezTo>
                      <a:pt x="111062" y="88089"/>
                      <a:pt x="95526" y="105277"/>
                      <a:pt x="65282" y="105277"/>
                    </a:cubicBezTo>
                    <a:lnTo>
                      <a:pt x="45780" y="105277"/>
                    </a:lnTo>
                    <a:cubicBezTo>
                      <a:pt x="15535" y="105277"/>
                      <a:pt x="0" y="88089"/>
                      <a:pt x="0" y="63794"/>
                    </a:cubicBezTo>
                    <a:lnTo>
                      <a:pt x="0" y="0"/>
                    </a:lnTo>
                    <a:lnTo>
                      <a:pt x="2132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F01734C2-F0DA-1728-B54C-C38DDE8C4E2D}"/>
                  </a:ext>
                </a:extLst>
              </p:cNvPr>
              <p:cNvSpPr/>
              <p:nvPr/>
            </p:nvSpPr>
            <p:spPr>
              <a:xfrm>
                <a:off x="9856110" y="5904539"/>
                <a:ext cx="64951" cy="130233"/>
              </a:xfrm>
              <a:custGeom>
                <a:avLst/>
                <a:gdLst>
                  <a:gd name="connsiteX0" fmla="*/ 14544 w 64951"/>
                  <a:gd name="connsiteY0" fmla="*/ 24956 h 130233"/>
                  <a:gd name="connsiteX1" fmla="*/ 14544 w 64951"/>
                  <a:gd name="connsiteY1" fmla="*/ 0 h 130233"/>
                  <a:gd name="connsiteX2" fmla="*/ 35864 w 64951"/>
                  <a:gd name="connsiteY2" fmla="*/ 0 h 130233"/>
                  <a:gd name="connsiteX3" fmla="*/ 35864 w 64951"/>
                  <a:gd name="connsiteY3" fmla="*/ 24956 h 130233"/>
                  <a:gd name="connsiteX4" fmla="*/ 64951 w 64951"/>
                  <a:gd name="connsiteY4" fmla="*/ 24956 h 130233"/>
                  <a:gd name="connsiteX5" fmla="*/ 64951 w 64951"/>
                  <a:gd name="connsiteY5" fmla="*/ 45284 h 130233"/>
                  <a:gd name="connsiteX6" fmla="*/ 35864 w 64951"/>
                  <a:gd name="connsiteY6" fmla="*/ 45284 h 130233"/>
                  <a:gd name="connsiteX7" fmla="*/ 35864 w 64951"/>
                  <a:gd name="connsiteY7" fmla="*/ 95196 h 130233"/>
                  <a:gd name="connsiteX8" fmla="*/ 50077 w 64951"/>
                  <a:gd name="connsiteY8" fmla="*/ 110896 h 130233"/>
                  <a:gd name="connsiteX9" fmla="*/ 64620 w 64951"/>
                  <a:gd name="connsiteY9" fmla="*/ 110896 h 130233"/>
                  <a:gd name="connsiteX10" fmla="*/ 64620 w 64951"/>
                  <a:gd name="connsiteY10" fmla="*/ 130233 h 130233"/>
                  <a:gd name="connsiteX11" fmla="*/ 45614 w 64951"/>
                  <a:gd name="connsiteY11" fmla="*/ 130233 h 130233"/>
                  <a:gd name="connsiteX12" fmla="*/ 14378 w 64951"/>
                  <a:gd name="connsiteY12" fmla="*/ 93873 h 130233"/>
                  <a:gd name="connsiteX13" fmla="*/ 14378 w 64951"/>
                  <a:gd name="connsiteY13" fmla="*/ 45119 h 130233"/>
                  <a:gd name="connsiteX14" fmla="*/ 0 w 64951"/>
                  <a:gd name="connsiteY14" fmla="*/ 45119 h 130233"/>
                  <a:gd name="connsiteX15" fmla="*/ 0 w 64951"/>
                  <a:gd name="connsiteY15" fmla="*/ 24791 h 130233"/>
                  <a:gd name="connsiteX16" fmla="*/ 14378 w 64951"/>
                  <a:gd name="connsiteY16" fmla="*/ 24791 h 13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951" h="130233">
                    <a:moveTo>
                      <a:pt x="14544" y="24956"/>
                    </a:moveTo>
                    <a:lnTo>
                      <a:pt x="14544" y="0"/>
                    </a:lnTo>
                    <a:lnTo>
                      <a:pt x="35864" y="0"/>
                    </a:lnTo>
                    <a:lnTo>
                      <a:pt x="35864" y="24956"/>
                    </a:lnTo>
                    <a:lnTo>
                      <a:pt x="64951" y="24956"/>
                    </a:lnTo>
                    <a:lnTo>
                      <a:pt x="64951" y="45284"/>
                    </a:lnTo>
                    <a:lnTo>
                      <a:pt x="35864" y="45284"/>
                    </a:lnTo>
                    <a:lnTo>
                      <a:pt x="35864" y="95196"/>
                    </a:lnTo>
                    <a:cubicBezTo>
                      <a:pt x="35864" y="106930"/>
                      <a:pt x="39995" y="110896"/>
                      <a:pt x="50077" y="110896"/>
                    </a:cubicBezTo>
                    <a:lnTo>
                      <a:pt x="64620" y="110896"/>
                    </a:lnTo>
                    <a:lnTo>
                      <a:pt x="64620" y="130233"/>
                    </a:lnTo>
                    <a:lnTo>
                      <a:pt x="45614" y="130233"/>
                    </a:lnTo>
                    <a:cubicBezTo>
                      <a:pt x="23799" y="130233"/>
                      <a:pt x="14378" y="121474"/>
                      <a:pt x="14378" y="93873"/>
                    </a:cubicBezTo>
                    <a:lnTo>
                      <a:pt x="14378" y="45119"/>
                    </a:lnTo>
                    <a:lnTo>
                      <a:pt x="0" y="45119"/>
                    </a:lnTo>
                    <a:lnTo>
                      <a:pt x="0" y="24791"/>
                    </a:lnTo>
                    <a:lnTo>
                      <a:pt x="14378" y="2479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BD1F3CC3-D5FF-4E30-2997-ED05CAE21C6E}"/>
                  </a:ext>
                </a:extLst>
              </p:cNvPr>
              <p:cNvSpPr/>
              <p:nvPr/>
            </p:nvSpPr>
            <p:spPr>
              <a:xfrm>
                <a:off x="9943207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74D0D225-355D-B16E-5A86-01EE2F293EE7}"/>
                  </a:ext>
                </a:extLst>
              </p:cNvPr>
              <p:cNvSpPr/>
              <p:nvPr/>
            </p:nvSpPr>
            <p:spPr>
              <a:xfrm>
                <a:off x="9991136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323AF4CB-6901-2D31-BDBC-A282B9F45FF5}"/>
                  </a:ext>
                </a:extLst>
              </p:cNvPr>
              <p:cNvSpPr/>
              <p:nvPr/>
            </p:nvSpPr>
            <p:spPr>
              <a:xfrm>
                <a:off x="1013145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DD516866-714E-F353-9F60-52D4F48B0607}"/>
                  </a:ext>
                </a:extLst>
              </p:cNvPr>
              <p:cNvSpPr/>
              <p:nvPr/>
            </p:nvSpPr>
            <p:spPr>
              <a:xfrm>
                <a:off x="10274243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B1B78A07-8CC7-31E4-5E65-20EAA7B69DC1}"/>
                  </a:ext>
                </a:extLst>
              </p:cNvPr>
              <p:cNvSpPr/>
              <p:nvPr/>
            </p:nvSpPr>
            <p:spPr>
              <a:xfrm>
                <a:off x="10322006" y="5929495"/>
                <a:ext cx="104450" cy="105277"/>
              </a:xfrm>
              <a:custGeom>
                <a:avLst/>
                <a:gdLst>
                  <a:gd name="connsiteX0" fmla="*/ 77347 w 104450"/>
                  <a:gd name="connsiteY0" fmla="*/ 0 h 105277"/>
                  <a:gd name="connsiteX1" fmla="*/ 104451 w 104450"/>
                  <a:gd name="connsiteY1" fmla="*/ 24129 h 105277"/>
                  <a:gd name="connsiteX2" fmla="*/ 86437 w 104450"/>
                  <a:gd name="connsiteY2" fmla="*/ 49416 h 105277"/>
                  <a:gd name="connsiteX3" fmla="*/ 25948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5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7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7" y="0"/>
                    </a:moveTo>
                    <a:cubicBezTo>
                      <a:pt x="95692" y="0"/>
                      <a:pt x="104451" y="9585"/>
                      <a:pt x="104451" y="24129"/>
                    </a:cubicBezTo>
                    <a:cubicBezTo>
                      <a:pt x="104451" y="37020"/>
                      <a:pt x="97510" y="45449"/>
                      <a:pt x="86437" y="49416"/>
                    </a:cubicBezTo>
                    <a:lnTo>
                      <a:pt x="25948" y="71396"/>
                    </a:lnTo>
                    <a:cubicBezTo>
                      <a:pt x="22312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5" y="59993"/>
                      <a:pt x="18015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4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C69BDB0B-F090-A413-BDA9-9E72A5769501}"/>
                  </a:ext>
                </a:extLst>
              </p:cNvPr>
              <p:cNvSpPr/>
              <p:nvPr/>
            </p:nvSpPr>
            <p:spPr>
              <a:xfrm>
                <a:off x="10453231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A6EB06AE-30B8-B8F1-2AB9-C17023D866F4}"/>
                  </a:ext>
                </a:extLst>
              </p:cNvPr>
              <p:cNvSpPr/>
              <p:nvPr/>
            </p:nvSpPr>
            <p:spPr>
              <a:xfrm>
                <a:off x="1050611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3A2584ED-C1C5-0BDD-E5DF-7E7345470EB4}"/>
                  </a:ext>
                </a:extLst>
              </p:cNvPr>
              <p:cNvSpPr/>
              <p:nvPr/>
            </p:nvSpPr>
            <p:spPr>
              <a:xfrm>
                <a:off x="10643788" y="5929495"/>
                <a:ext cx="113540" cy="147420"/>
              </a:xfrm>
              <a:custGeom>
                <a:avLst/>
                <a:gdLst>
                  <a:gd name="connsiteX0" fmla="*/ 74867 w 113540"/>
                  <a:gd name="connsiteY0" fmla="*/ 0 h 147420"/>
                  <a:gd name="connsiteX1" fmla="*/ 113541 w 113540"/>
                  <a:gd name="connsiteY1" fmla="*/ 45118 h 147420"/>
                  <a:gd name="connsiteX2" fmla="*/ 113541 w 113540"/>
                  <a:gd name="connsiteY2" fmla="*/ 105773 h 147420"/>
                  <a:gd name="connsiteX3" fmla="*/ 73545 w 113540"/>
                  <a:gd name="connsiteY3" fmla="*/ 147421 h 147420"/>
                  <a:gd name="connsiteX4" fmla="*/ 10908 w 113540"/>
                  <a:gd name="connsiteY4" fmla="*/ 147421 h 147420"/>
                  <a:gd name="connsiteX5" fmla="*/ 10908 w 113540"/>
                  <a:gd name="connsiteY5" fmla="*/ 127093 h 147420"/>
                  <a:gd name="connsiteX6" fmla="*/ 71231 w 113540"/>
                  <a:gd name="connsiteY6" fmla="*/ 127093 h 147420"/>
                  <a:gd name="connsiteX7" fmla="*/ 92221 w 113540"/>
                  <a:gd name="connsiteY7" fmla="*/ 105773 h 147420"/>
                  <a:gd name="connsiteX8" fmla="*/ 92221 w 113540"/>
                  <a:gd name="connsiteY8" fmla="*/ 100980 h 147420"/>
                  <a:gd name="connsiteX9" fmla="*/ 45780 w 113540"/>
                  <a:gd name="connsiteY9" fmla="*/ 100980 h 147420"/>
                  <a:gd name="connsiteX10" fmla="*/ 0 w 113540"/>
                  <a:gd name="connsiteY10" fmla="*/ 50242 h 147420"/>
                  <a:gd name="connsiteX11" fmla="*/ 45780 w 113540"/>
                  <a:gd name="connsiteY11" fmla="*/ 0 h 147420"/>
                  <a:gd name="connsiteX12" fmla="*/ 74867 w 113540"/>
                  <a:gd name="connsiteY12" fmla="*/ 0 h 147420"/>
                  <a:gd name="connsiteX13" fmla="*/ 47598 w 113540"/>
                  <a:gd name="connsiteY13" fmla="*/ 81808 h 147420"/>
                  <a:gd name="connsiteX14" fmla="*/ 92056 w 113540"/>
                  <a:gd name="connsiteY14" fmla="*/ 81808 h 147420"/>
                  <a:gd name="connsiteX15" fmla="*/ 92056 w 113540"/>
                  <a:gd name="connsiteY15" fmla="*/ 44954 h 147420"/>
                  <a:gd name="connsiteX16" fmla="*/ 68422 w 113540"/>
                  <a:gd name="connsiteY16" fmla="*/ 20493 h 147420"/>
                  <a:gd name="connsiteX17" fmla="*/ 47433 w 113540"/>
                  <a:gd name="connsiteY17" fmla="*/ 20493 h 147420"/>
                  <a:gd name="connsiteX18" fmla="*/ 21155 w 113540"/>
                  <a:gd name="connsiteY18" fmla="*/ 51233 h 147420"/>
                  <a:gd name="connsiteX19" fmla="*/ 47433 w 113540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540" h="147420">
                    <a:moveTo>
                      <a:pt x="74867" y="0"/>
                    </a:moveTo>
                    <a:cubicBezTo>
                      <a:pt x="99989" y="0"/>
                      <a:pt x="113541" y="14709"/>
                      <a:pt x="113541" y="45118"/>
                    </a:cubicBezTo>
                    <a:lnTo>
                      <a:pt x="113541" y="105773"/>
                    </a:lnTo>
                    <a:cubicBezTo>
                      <a:pt x="113541" y="135687"/>
                      <a:pt x="103129" y="147421"/>
                      <a:pt x="73545" y="147421"/>
                    </a:cubicBezTo>
                    <a:lnTo>
                      <a:pt x="10908" y="147421"/>
                    </a:lnTo>
                    <a:lnTo>
                      <a:pt x="10908" y="127093"/>
                    </a:lnTo>
                    <a:lnTo>
                      <a:pt x="71231" y="127093"/>
                    </a:lnTo>
                    <a:cubicBezTo>
                      <a:pt x="86932" y="127093"/>
                      <a:pt x="92221" y="120977"/>
                      <a:pt x="92221" y="105773"/>
                    </a:cubicBezTo>
                    <a:lnTo>
                      <a:pt x="92221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598" y="81808"/>
                    </a:moveTo>
                    <a:lnTo>
                      <a:pt x="92056" y="81808"/>
                    </a:lnTo>
                    <a:lnTo>
                      <a:pt x="92056" y="44954"/>
                    </a:lnTo>
                    <a:cubicBezTo>
                      <a:pt x="92056" y="27765"/>
                      <a:pt x="85445" y="20493"/>
                      <a:pt x="68422" y="20493"/>
                    </a:cubicBezTo>
                    <a:lnTo>
                      <a:pt x="47433" y="20493"/>
                    </a:lnTo>
                    <a:cubicBezTo>
                      <a:pt x="29253" y="20493"/>
                      <a:pt x="21155" y="29583"/>
                      <a:pt x="21155" y="51233"/>
                    </a:cubicBezTo>
                    <a:cubicBezTo>
                      <a:pt x="21155" y="72884"/>
                      <a:pt x="29418" y="81974"/>
                      <a:pt x="4743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1E0D0E80-A465-606C-11A6-10ECD8E223ED}"/>
                  </a:ext>
                </a:extLst>
              </p:cNvPr>
              <p:cNvSpPr/>
              <p:nvPr/>
            </p:nvSpPr>
            <p:spPr>
              <a:xfrm>
                <a:off x="10838145" y="5900242"/>
                <a:ext cx="120481" cy="134530"/>
              </a:xfrm>
              <a:custGeom>
                <a:avLst/>
                <a:gdLst>
                  <a:gd name="connsiteX0" fmla="*/ 110235 w 120481"/>
                  <a:gd name="connsiteY0" fmla="*/ 0 h 134530"/>
                  <a:gd name="connsiteX1" fmla="*/ 110235 w 120481"/>
                  <a:gd name="connsiteY1" fmla="*/ 23469 h 134530"/>
                  <a:gd name="connsiteX2" fmla="*/ 41152 w 120481"/>
                  <a:gd name="connsiteY2" fmla="*/ 23469 h 134530"/>
                  <a:gd name="connsiteX3" fmla="*/ 23634 w 120481"/>
                  <a:gd name="connsiteY3" fmla="*/ 39500 h 134530"/>
                  <a:gd name="connsiteX4" fmla="*/ 43631 w 120481"/>
                  <a:gd name="connsiteY4" fmla="*/ 55366 h 134530"/>
                  <a:gd name="connsiteX5" fmla="*/ 75198 w 120481"/>
                  <a:gd name="connsiteY5" fmla="*/ 55366 h 134530"/>
                  <a:gd name="connsiteX6" fmla="*/ 120482 w 120481"/>
                  <a:gd name="connsiteY6" fmla="*/ 95030 h 134530"/>
                  <a:gd name="connsiteX7" fmla="*/ 77512 w 120481"/>
                  <a:gd name="connsiteY7" fmla="*/ 134530 h 134530"/>
                  <a:gd name="connsiteX8" fmla="*/ 2479 w 120481"/>
                  <a:gd name="connsiteY8" fmla="*/ 134530 h 134530"/>
                  <a:gd name="connsiteX9" fmla="*/ 2479 w 120481"/>
                  <a:gd name="connsiteY9" fmla="*/ 111062 h 134530"/>
                  <a:gd name="connsiteX10" fmla="*/ 78338 w 120481"/>
                  <a:gd name="connsiteY10" fmla="*/ 111062 h 134530"/>
                  <a:gd name="connsiteX11" fmla="*/ 96848 w 120481"/>
                  <a:gd name="connsiteY11" fmla="*/ 94370 h 134530"/>
                  <a:gd name="connsiteX12" fmla="*/ 75694 w 120481"/>
                  <a:gd name="connsiteY12" fmla="*/ 77677 h 134530"/>
                  <a:gd name="connsiteX13" fmla="*/ 44293 w 120481"/>
                  <a:gd name="connsiteY13" fmla="*/ 77677 h 134530"/>
                  <a:gd name="connsiteX14" fmla="*/ 0 w 120481"/>
                  <a:gd name="connsiteY14" fmla="*/ 38839 h 134530"/>
                  <a:gd name="connsiteX15" fmla="*/ 41979 w 120481"/>
                  <a:gd name="connsiteY15" fmla="*/ 165 h 134530"/>
                  <a:gd name="connsiteX16" fmla="*/ 110235 w 120481"/>
                  <a:gd name="connsiteY16" fmla="*/ 165 h 13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481" h="134530">
                    <a:moveTo>
                      <a:pt x="110235" y="0"/>
                    </a:moveTo>
                    <a:lnTo>
                      <a:pt x="110235" y="23469"/>
                    </a:lnTo>
                    <a:lnTo>
                      <a:pt x="41152" y="23469"/>
                    </a:lnTo>
                    <a:cubicBezTo>
                      <a:pt x="28922" y="23469"/>
                      <a:pt x="23634" y="30079"/>
                      <a:pt x="23634" y="39500"/>
                    </a:cubicBezTo>
                    <a:cubicBezTo>
                      <a:pt x="23634" y="47598"/>
                      <a:pt x="27766" y="55366"/>
                      <a:pt x="43631" y="55366"/>
                    </a:cubicBezTo>
                    <a:lnTo>
                      <a:pt x="75198" y="55366"/>
                    </a:lnTo>
                    <a:cubicBezTo>
                      <a:pt x="111888" y="55366"/>
                      <a:pt x="120482" y="75694"/>
                      <a:pt x="120482" y="95030"/>
                    </a:cubicBezTo>
                    <a:cubicBezTo>
                      <a:pt x="120482" y="117838"/>
                      <a:pt x="108252" y="134530"/>
                      <a:pt x="77512" y="134530"/>
                    </a:cubicBezTo>
                    <a:lnTo>
                      <a:pt x="2479" y="134530"/>
                    </a:lnTo>
                    <a:lnTo>
                      <a:pt x="2479" y="111062"/>
                    </a:lnTo>
                    <a:lnTo>
                      <a:pt x="78338" y="111062"/>
                    </a:lnTo>
                    <a:cubicBezTo>
                      <a:pt x="91064" y="111062"/>
                      <a:pt x="96848" y="104121"/>
                      <a:pt x="96848" y="94370"/>
                    </a:cubicBezTo>
                    <a:cubicBezTo>
                      <a:pt x="96848" y="85610"/>
                      <a:pt x="92221" y="77677"/>
                      <a:pt x="75694" y="77677"/>
                    </a:cubicBezTo>
                    <a:lnTo>
                      <a:pt x="44293" y="77677"/>
                    </a:lnTo>
                    <a:cubicBezTo>
                      <a:pt x="8263" y="77677"/>
                      <a:pt x="0" y="57514"/>
                      <a:pt x="0" y="38839"/>
                    </a:cubicBezTo>
                    <a:cubicBezTo>
                      <a:pt x="0" y="16527"/>
                      <a:pt x="12065" y="165"/>
                      <a:pt x="41979" y="165"/>
                    </a:cubicBezTo>
                    <a:lnTo>
                      <a:pt x="110235" y="1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F434066D-B870-A482-C85F-1A6D3DD1C594}"/>
                  </a:ext>
                </a:extLst>
              </p:cNvPr>
              <p:cNvSpPr/>
              <p:nvPr/>
            </p:nvSpPr>
            <p:spPr>
              <a:xfrm>
                <a:off x="10982922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60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60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C6686537-8868-9B18-3EE7-F26E659AFCAC}"/>
                  </a:ext>
                </a:extLst>
              </p:cNvPr>
              <p:cNvSpPr/>
              <p:nvPr/>
            </p:nvSpPr>
            <p:spPr>
              <a:xfrm>
                <a:off x="11116295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1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1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70841F67-7A78-05E1-9225-9474462F8885}"/>
                  </a:ext>
                </a:extLst>
              </p:cNvPr>
              <p:cNvSpPr/>
              <p:nvPr/>
            </p:nvSpPr>
            <p:spPr>
              <a:xfrm>
                <a:off x="11203227" y="5929495"/>
                <a:ext cx="127423" cy="107756"/>
              </a:xfrm>
              <a:custGeom>
                <a:avLst/>
                <a:gdLst>
                  <a:gd name="connsiteX0" fmla="*/ 22147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2 w 127423"/>
                  <a:gd name="connsiteY3" fmla="*/ 84618 h 107756"/>
                  <a:gd name="connsiteX4" fmla="*/ 104616 w 127423"/>
                  <a:gd name="connsiteY4" fmla="*/ 0 h 107756"/>
                  <a:gd name="connsiteX5" fmla="*/ 127424 w 127423"/>
                  <a:gd name="connsiteY5" fmla="*/ 0 h 107756"/>
                  <a:gd name="connsiteX6" fmla="*/ 86767 w 127423"/>
                  <a:gd name="connsiteY6" fmla="*/ 94039 h 107756"/>
                  <a:gd name="connsiteX7" fmla="*/ 62638 w 127423"/>
                  <a:gd name="connsiteY7" fmla="*/ 107756 h 107756"/>
                  <a:gd name="connsiteX8" fmla="*/ 38674 w 127423"/>
                  <a:gd name="connsiteY8" fmla="*/ 94039 h 107756"/>
                  <a:gd name="connsiteX9" fmla="*/ 0 w 127423"/>
                  <a:gd name="connsiteY9" fmla="*/ 0 h 107756"/>
                  <a:gd name="connsiteX10" fmla="*/ 22312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7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2" y="84618"/>
                    </a:cubicBezTo>
                    <a:lnTo>
                      <a:pt x="104616" y="0"/>
                    </a:lnTo>
                    <a:lnTo>
                      <a:pt x="127424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8" y="107756"/>
                    </a:cubicBezTo>
                    <a:cubicBezTo>
                      <a:pt x="50738" y="107756"/>
                      <a:pt x="42640" y="103790"/>
                      <a:pt x="38674" y="94039"/>
                    </a:cubicBezTo>
                    <a:lnTo>
                      <a:pt x="0" y="0"/>
                    </a:lnTo>
                    <a:lnTo>
                      <a:pt x="223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4834E41C-E49D-4C35-6D77-FAF15E55C39A}"/>
                  </a:ext>
                </a:extLst>
              </p:cNvPr>
              <p:cNvSpPr/>
              <p:nvPr/>
            </p:nvSpPr>
            <p:spPr>
              <a:xfrm>
                <a:off x="11351144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495793C0-8E5C-A31C-7A4F-B099D37ADB08}"/>
                  </a:ext>
                </a:extLst>
              </p:cNvPr>
              <p:cNvSpPr/>
              <p:nvPr/>
            </p:nvSpPr>
            <p:spPr>
              <a:xfrm>
                <a:off x="11398907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06FEBC9C-8122-8E6F-CE6F-25C1CD91211F}"/>
                  </a:ext>
                </a:extLst>
              </p:cNvPr>
              <p:cNvSpPr/>
              <p:nvPr/>
            </p:nvSpPr>
            <p:spPr>
              <a:xfrm>
                <a:off x="11523521" y="5929495"/>
                <a:ext cx="106269" cy="105277"/>
              </a:xfrm>
              <a:custGeom>
                <a:avLst/>
                <a:gdLst>
                  <a:gd name="connsiteX0" fmla="*/ 70736 w 106269"/>
                  <a:gd name="connsiteY0" fmla="*/ 0 h 105277"/>
                  <a:gd name="connsiteX1" fmla="*/ 106269 w 106269"/>
                  <a:gd name="connsiteY1" fmla="*/ 32393 h 105277"/>
                  <a:gd name="connsiteX2" fmla="*/ 70571 w 106269"/>
                  <a:gd name="connsiteY2" fmla="*/ 62637 h 105277"/>
                  <a:gd name="connsiteX3" fmla="*/ 20494 w 106269"/>
                  <a:gd name="connsiteY3" fmla="*/ 62637 h 105277"/>
                  <a:gd name="connsiteX4" fmla="*/ 20494 w 106269"/>
                  <a:gd name="connsiteY4" fmla="*/ 70240 h 105277"/>
                  <a:gd name="connsiteX5" fmla="*/ 36690 w 106269"/>
                  <a:gd name="connsiteY5" fmla="*/ 84784 h 105277"/>
                  <a:gd name="connsiteX6" fmla="*/ 101145 w 106269"/>
                  <a:gd name="connsiteY6" fmla="*/ 84784 h 105277"/>
                  <a:gd name="connsiteX7" fmla="*/ 101145 w 106269"/>
                  <a:gd name="connsiteY7" fmla="*/ 105277 h 105277"/>
                  <a:gd name="connsiteX8" fmla="*/ 36690 w 106269"/>
                  <a:gd name="connsiteY8" fmla="*/ 105277 h 105277"/>
                  <a:gd name="connsiteX9" fmla="*/ 0 w 106269"/>
                  <a:gd name="connsiteY9" fmla="*/ 70570 h 105277"/>
                  <a:gd name="connsiteX10" fmla="*/ 0 w 106269"/>
                  <a:gd name="connsiteY10" fmla="*/ 34706 h 105277"/>
                  <a:gd name="connsiteX11" fmla="*/ 36690 w 106269"/>
                  <a:gd name="connsiteY11" fmla="*/ 0 h 105277"/>
                  <a:gd name="connsiteX12" fmla="*/ 70901 w 106269"/>
                  <a:gd name="connsiteY12" fmla="*/ 0 h 105277"/>
                  <a:gd name="connsiteX13" fmla="*/ 20494 w 106269"/>
                  <a:gd name="connsiteY13" fmla="*/ 46110 h 105277"/>
                  <a:gd name="connsiteX14" fmla="*/ 70075 w 106269"/>
                  <a:gd name="connsiteY14" fmla="*/ 46110 h 105277"/>
                  <a:gd name="connsiteX15" fmla="*/ 85610 w 106269"/>
                  <a:gd name="connsiteY15" fmla="*/ 33550 h 105277"/>
                  <a:gd name="connsiteX16" fmla="*/ 70571 w 106269"/>
                  <a:gd name="connsiteY16" fmla="*/ 20328 h 105277"/>
                  <a:gd name="connsiteX17" fmla="*/ 36525 w 106269"/>
                  <a:gd name="connsiteY17" fmla="*/ 20328 h 105277"/>
                  <a:gd name="connsiteX18" fmla="*/ 20328 w 106269"/>
                  <a:gd name="connsiteY18" fmla="*/ 34872 h 105277"/>
                  <a:gd name="connsiteX19" fmla="*/ 20328 w 106269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9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1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4" y="46110"/>
                    </a:moveTo>
                    <a:lnTo>
                      <a:pt x="70075" y="46110"/>
                    </a:lnTo>
                    <a:cubicBezTo>
                      <a:pt x="81479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1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70" name="Graphic 8">
              <a:extLst>
                <a:ext uri="{FF2B5EF4-FFF2-40B4-BE49-F238E27FC236}">
                  <a16:creationId xmlns:a16="http://schemas.microsoft.com/office/drawing/2014/main" id="{FA2B842E-590A-5E38-6702-1B4A75D9F14F}"/>
                </a:ext>
              </a:extLst>
            </p:cNvPr>
            <p:cNvGrpSpPr/>
            <p:nvPr/>
          </p:nvGrpSpPr>
          <p:grpSpPr>
            <a:xfrm>
              <a:off x="7596585" y="467263"/>
              <a:ext cx="3048167" cy="4652212"/>
              <a:chOff x="7596585" y="467263"/>
              <a:chExt cx="3048167" cy="4652212"/>
            </a:xfrm>
          </p:grpSpPr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F635B123-73B6-4760-6DC0-0326B409ED04}"/>
                  </a:ext>
                </a:extLst>
              </p:cNvPr>
              <p:cNvSpPr/>
              <p:nvPr/>
            </p:nvSpPr>
            <p:spPr>
              <a:xfrm>
                <a:off x="9438356" y="3891725"/>
                <a:ext cx="1206396" cy="930285"/>
              </a:xfrm>
              <a:custGeom>
                <a:avLst/>
                <a:gdLst>
                  <a:gd name="connsiteX0" fmla="*/ 1191549 w 1206396"/>
                  <a:gd name="connsiteY0" fmla="*/ 925501 h 930285"/>
                  <a:gd name="connsiteX1" fmla="*/ 1154363 w 1206396"/>
                  <a:gd name="connsiteY1" fmla="*/ 916742 h 930285"/>
                  <a:gd name="connsiteX2" fmla="*/ 1151553 w 1206396"/>
                  <a:gd name="connsiteY2" fmla="*/ 894100 h 930285"/>
                  <a:gd name="connsiteX3" fmla="*/ 990415 w 1206396"/>
                  <a:gd name="connsiteY3" fmla="*/ 608183 h 930285"/>
                  <a:gd name="connsiteX4" fmla="*/ 706811 w 1206396"/>
                  <a:gd name="connsiteY4" fmla="*/ 614132 h 930285"/>
                  <a:gd name="connsiteX5" fmla="*/ 666981 w 1206396"/>
                  <a:gd name="connsiteY5" fmla="*/ 647186 h 930285"/>
                  <a:gd name="connsiteX6" fmla="*/ 630621 w 1206396"/>
                  <a:gd name="connsiteY6" fmla="*/ 686356 h 930285"/>
                  <a:gd name="connsiteX7" fmla="*/ 616573 w 1206396"/>
                  <a:gd name="connsiteY7" fmla="*/ 703048 h 930285"/>
                  <a:gd name="connsiteX8" fmla="*/ 582032 w 1206396"/>
                  <a:gd name="connsiteY8" fmla="*/ 698916 h 930285"/>
                  <a:gd name="connsiteX9" fmla="*/ 572777 w 1206396"/>
                  <a:gd name="connsiteY9" fmla="*/ 671647 h 930285"/>
                  <a:gd name="connsiteX10" fmla="*/ 558894 w 1206396"/>
                  <a:gd name="connsiteY10" fmla="*/ 640245 h 930285"/>
                  <a:gd name="connsiteX11" fmla="*/ 492621 w 1206396"/>
                  <a:gd name="connsiteY11" fmla="*/ 649500 h 930285"/>
                  <a:gd name="connsiteX12" fmla="*/ 446014 w 1206396"/>
                  <a:gd name="connsiteY12" fmla="*/ 656441 h 930285"/>
                  <a:gd name="connsiteX13" fmla="*/ 438577 w 1206396"/>
                  <a:gd name="connsiteY13" fmla="*/ 636279 h 930285"/>
                  <a:gd name="connsiteX14" fmla="*/ 442709 w 1206396"/>
                  <a:gd name="connsiteY14" fmla="*/ 620082 h 930285"/>
                  <a:gd name="connsiteX15" fmla="*/ 446841 w 1206396"/>
                  <a:gd name="connsiteY15" fmla="*/ 588185 h 930285"/>
                  <a:gd name="connsiteX16" fmla="*/ 442544 w 1206396"/>
                  <a:gd name="connsiteY16" fmla="*/ 553644 h 930285"/>
                  <a:gd name="connsiteX17" fmla="*/ 413787 w 1206396"/>
                  <a:gd name="connsiteY17" fmla="*/ 507368 h 930285"/>
                  <a:gd name="connsiteX18" fmla="*/ 264878 w 1206396"/>
                  <a:gd name="connsiteY18" fmla="*/ 493981 h 930285"/>
                  <a:gd name="connsiteX19" fmla="*/ 231659 w 1206396"/>
                  <a:gd name="connsiteY19" fmla="*/ 501088 h 930285"/>
                  <a:gd name="connsiteX20" fmla="*/ 207695 w 1206396"/>
                  <a:gd name="connsiteY20" fmla="*/ 486709 h 930285"/>
                  <a:gd name="connsiteX21" fmla="*/ 150677 w 1206396"/>
                  <a:gd name="connsiteY21" fmla="*/ 406884 h 930285"/>
                  <a:gd name="connsiteX22" fmla="*/ 45234 w 1206396"/>
                  <a:gd name="connsiteY22" fmla="*/ 186909 h 930285"/>
                  <a:gd name="connsiteX23" fmla="*/ 115 w 1206396"/>
                  <a:gd name="connsiteY23" fmla="*/ 30398 h 930285"/>
                  <a:gd name="connsiteX24" fmla="*/ 47383 w 1206396"/>
                  <a:gd name="connsiteY24" fmla="*/ 10235 h 930285"/>
                  <a:gd name="connsiteX25" fmla="*/ 59117 w 1206396"/>
                  <a:gd name="connsiteY25" fmla="*/ 45272 h 930285"/>
                  <a:gd name="connsiteX26" fmla="*/ 134150 w 1206396"/>
                  <a:gd name="connsiteY26" fmla="*/ 257645 h 930285"/>
                  <a:gd name="connsiteX27" fmla="*/ 229510 w 1206396"/>
                  <a:gd name="connsiteY27" fmla="*/ 417791 h 930285"/>
                  <a:gd name="connsiteX28" fmla="*/ 246203 w 1206396"/>
                  <a:gd name="connsiteY28" fmla="*/ 441260 h 930285"/>
                  <a:gd name="connsiteX29" fmla="*/ 251657 w 1206396"/>
                  <a:gd name="connsiteY29" fmla="*/ 439111 h 930285"/>
                  <a:gd name="connsiteX30" fmla="*/ 363545 w 1206396"/>
                  <a:gd name="connsiteY30" fmla="*/ 424402 h 930285"/>
                  <a:gd name="connsiteX31" fmla="*/ 457583 w 1206396"/>
                  <a:gd name="connsiteY31" fmla="*/ 473983 h 930285"/>
                  <a:gd name="connsiteX32" fmla="*/ 500884 w 1206396"/>
                  <a:gd name="connsiteY32" fmla="*/ 564386 h 930285"/>
                  <a:gd name="connsiteX33" fmla="*/ 503033 w 1206396"/>
                  <a:gd name="connsiteY33" fmla="*/ 578104 h 930285"/>
                  <a:gd name="connsiteX34" fmla="*/ 514601 w 1206396"/>
                  <a:gd name="connsiteY34" fmla="*/ 576120 h 930285"/>
                  <a:gd name="connsiteX35" fmla="*/ 563687 w 1206396"/>
                  <a:gd name="connsiteY35" fmla="*/ 580913 h 930285"/>
                  <a:gd name="connsiteX36" fmla="*/ 603352 w 1206396"/>
                  <a:gd name="connsiteY36" fmla="*/ 607852 h 930285"/>
                  <a:gd name="connsiteX37" fmla="*/ 613764 w 1206396"/>
                  <a:gd name="connsiteY37" fmla="*/ 619586 h 930285"/>
                  <a:gd name="connsiteX38" fmla="*/ 626655 w 1206396"/>
                  <a:gd name="connsiteY38" fmla="*/ 607356 h 930285"/>
                  <a:gd name="connsiteX39" fmla="*/ 931083 w 1206396"/>
                  <a:gd name="connsiteY39" fmla="*/ 527200 h 930285"/>
                  <a:gd name="connsiteX40" fmla="*/ 1206092 w 1206396"/>
                  <a:gd name="connsiteY40" fmla="*/ 887655 h 930285"/>
                  <a:gd name="connsiteX41" fmla="*/ 1197663 w 1206396"/>
                  <a:gd name="connsiteY41" fmla="*/ 919882 h 930285"/>
                  <a:gd name="connsiteX42" fmla="*/ 1191383 w 1206396"/>
                  <a:gd name="connsiteY42" fmla="*/ 925336 h 930285"/>
                  <a:gd name="connsiteX43" fmla="*/ 1191383 w 1206396"/>
                  <a:gd name="connsiteY43" fmla="*/ 925336 h 93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06396" h="930285">
                    <a:moveTo>
                      <a:pt x="1191549" y="925501"/>
                    </a:moveTo>
                    <a:cubicBezTo>
                      <a:pt x="1176509" y="934261"/>
                      <a:pt x="1161635" y="930790"/>
                      <a:pt x="1154363" y="916742"/>
                    </a:cubicBezTo>
                    <a:cubicBezTo>
                      <a:pt x="1151388" y="910958"/>
                      <a:pt x="1150892" y="906826"/>
                      <a:pt x="1151553" y="894100"/>
                    </a:cubicBezTo>
                    <a:cubicBezTo>
                      <a:pt x="1157668" y="776262"/>
                      <a:pt x="1094535" y="664375"/>
                      <a:pt x="990415" y="608183"/>
                    </a:cubicBezTo>
                    <a:cubicBezTo>
                      <a:pt x="899681" y="559263"/>
                      <a:pt x="793908" y="561411"/>
                      <a:pt x="706811" y="614132"/>
                    </a:cubicBezTo>
                    <a:cubicBezTo>
                      <a:pt x="694911" y="621239"/>
                      <a:pt x="690119" y="625371"/>
                      <a:pt x="666981" y="647186"/>
                    </a:cubicBezTo>
                    <a:cubicBezTo>
                      <a:pt x="643843" y="669167"/>
                      <a:pt x="639546" y="673795"/>
                      <a:pt x="630621" y="686356"/>
                    </a:cubicBezTo>
                    <a:cubicBezTo>
                      <a:pt x="624672" y="694784"/>
                      <a:pt x="619052" y="701726"/>
                      <a:pt x="616573" y="703048"/>
                    </a:cubicBezTo>
                    <a:cubicBezTo>
                      <a:pt x="605335" y="709824"/>
                      <a:pt x="590626" y="708006"/>
                      <a:pt x="582032" y="698916"/>
                    </a:cubicBezTo>
                    <a:cubicBezTo>
                      <a:pt x="575421" y="691975"/>
                      <a:pt x="573107" y="685033"/>
                      <a:pt x="572777" y="671647"/>
                    </a:cubicBezTo>
                    <a:cubicBezTo>
                      <a:pt x="572446" y="658425"/>
                      <a:pt x="567819" y="647517"/>
                      <a:pt x="558894" y="640245"/>
                    </a:cubicBezTo>
                    <a:cubicBezTo>
                      <a:pt x="538566" y="623387"/>
                      <a:pt x="510966" y="627189"/>
                      <a:pt x="492621" y="649500"/>
                    </a:cubicBezTo>
                    <a:cubicBezTo>
                      <a:pt x="477912" y="667349"/>
                      <a:pt x="459071" y="670159"/>
                      <a:pt x="446014" y="656441"/>
                    </a:cubicBezTo>
                    <a:cubicBezTo>
                      <a:pt x="441552" y="651649"/>
                      <a:pt x="438082" y="642228"/>
                      <a:pt x="438577" y="636279"/>
                    </a:cubicBezTo>
                    <a:cubicBezTo>
                      <a:pt x="438743" y="634295"/>
                      <a:pt x="440560" y="627023"/>
                      <a:pt x="442709" y="620082"/>
                    </a:cubicBezTo>
                    <a:cubicBezTo>
                      <a:pt x="445188" y="611984"/>
                      <a:pt x="446676" y="600911"/>
                      <a:pt x="446841" y="588185"/>
                    </a:cubicBezTo>
                    <a:cubicBezTo>
                      <a:pt x="447171" y="571823"/>
                      <a:pt x="446510" y="566369"/>
                      <a:pt x="442544" y="553644"/>
                    </a:cubicBezTo>
                    <a:cubicBezTo>
                      <a:pt x="436429" y="534142"/>
                      <a:pt x="427669" y="520094"/>
                      <a:pt x="413787" y="507368"/>
                    </a:cubicBezTo>
                    <a:cubicBezTo>
                      <a:pt x="375775" y="472330"/>
                      <a:pt x="319252" y="467207"/>
                      <a:pt x="264878" y="493981"/>
                    </a:cubicBezTo>
                    <a:cubicBezTo>
                      <a:pt x="247690" y="502410"/>
                      <a:pt x="241906" y="503732"/>
                      <a:pt x="231659" y="501088"/>
                    </a:cubicBezTo>
                    <a:cubicBezTo>
                      <a:pt x="221412" y="498443"/>
                      <a:pt x="215628" y="495138"/>
                      <a:pt x="207695" y="486709"/>
                    </a:cubicBezTo>
                    <a:cubicBezTo>
                      <a:pt x="197613" y="476132"/>
                      <a:pt x="171996" y="440103"/>
                      <a:pt x="150677" y="406884"/>
                    </a:cubicBezTo>
                    <a:cubicBezTo>
                      <a:pt x="116300" y="352840"/>
                      <a:pt x="74818" y="266404"/>
                      <a:pt x="45234" y="186909"/>
                    </a:cubicBezTo>
                    <a:cubicBezTo>
                      <a:pt x="27716" y="139807"/>
                      <a:pt x="1768" y="49569"/>
                      <a:pt x="115" y="30398"/>
                    </a:cubicBezTo>
                    <a:cubicBezTo>
                      <a:pt x="-2198" y="3128"/>
                      <a:pt x="30856" y="-10920"/>
                      <a:pt x="47383" y="10235"/>
                    </a:cubicBezTo>
                    <a:cubicBezTo>
                      <a:pt x="51019" y="14863"/>
                      <a:pt x="53498" y="22134"/>
                      <a:pt x="59117" y="45272"/>
                    </a:cubicBezTo>
                    <a:cubicBezTo>
                      <a:pt x="76966" y="117330"/>
                      <a:pt x="103079" y="191536"/>
                      <a:pt x="134150" y="257645"/>
                    </a:cubicBezTo>
                    <a:cubicBezTo>
                      <a:pt x="159601" y="312018"/>
                      <a:pt x="185549" y="355485"/>
                      <a:pt x="229510" y="417791"/>
                    </a:cubicBezTo>
                    <a:lnTo>
                      <a:pt x="246203" y="441260"/>
                    </a:lnTo>
                    <a:lnTo>
                      <a:pt x="251657" y="439111"/>
                    </a:lnTo>
                    <a:cubicBezTo>
                      <a:pt x="294296" y="422584"/>
                      <a:pt x="327020" y="418287"/>
                      <a:pt x="363545" y="424402"/>
                    </a:cubicBezTo>
                    <a:cubicBezTo>
                      <a:pt x="400565" y="430683"/>
                      <a:pt x="432297" y="447375"/>
                      <a:pt x="457583" y="473983"/>
                    </a:cubicBezTo>
                    <a:cubicBezTo>
                      <a:pt x="482374" y="500096"/>
                      <a:pt x="496918" y="530506"/>
                      <a:pt x="500884" y="564386"/>
                    </a:cubicBezTo>
                    <a:cubicBezTo>
                      <a:pt x="501710" y="571989"/>
                      <a:pt x="502702" y="578104"/>
                      <a:pt x="503033" y="578104"/>
                    </a:cubicBezTo>
                    <a:cubicBezTo>
                      <a:pt x="503528" y="577938"/>
                      <a:pt x="508487" y="577277"/>
                      <a:pt x="514601" y="576120"/>
                    </a:cubicBezTo>
                    <a:cubicBezTo>
                      <a:pt x="529972" y="573476"/>
                      <a:pt x="548813" y="575294"/>
                      <a:pt x="563687" y="580913"/>
                    </a:cubicBezTo>
                    <a:cubicBezTo>
                      <a:pt x="581701" y="587524"/>
                      <a:pt x="590957" y="593804"/>
                      <a:pt x="603352" y="607852"/>
                    </a:cubicBezTo>
                    <a:lnTo>
                      <a:pt x="613764" y="619586"/>
                    </a:lnTo>
                    <a:lnTo>
                      <a:pt x="626655" y="607356"/>
                    </a:lnTo>
                    <a:cubicBezTo>
                      <a:pt x="706646" y="531332"/>
                      <a:pt x="821178" y="501253"/>
                      <a:pt x="931083" y="527200"/>
                    </a:cubicBezTo>
                    <a:cubicBezTo>
                      <a:pt x="1095196" y="566039"/>
                      <a:pt x="1213199" y="720732"/>
                      <a:pt x="1206092" y="887655"/>
                    </a:cubicBezTo>
                    <a:cubicBezTo>
                      <a:pt x="1205266" y="906330"/>
                      <a:pt x="1204109" y="911123"/>
                      <a:pt x="1197663" y="919882"/>
                    </a:cubicBezTo>
                    <a:cubicBezTo>
                      <a:pt x="1196341" y="921535"/>
                      <a:pt x="1193532" y="924014"/>
                      <a:pt x="1191383" y="925336"/>
                    </a:cubicBezTo>
                    <a:lnTo>
                      <a:pt x="1191383" y="92533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AFFBD4F3-58CF-6A76-BA68-BE7D146C3618}"/>
                  </a:ext>
                </a:extLst>
              </p:cNvPr>
              <p:cNvSpPr/>
              <p:nvPr/>
            </p:nvSpPr>
            <p:spPr>
              <a:xfrm>
                <a:off x="9263243" y="4301106"/>
                <a:ext cx="876635" cy="818369"/>
              </a:xfrm>
              <a:custGeom>
                <a:avLst/>
                <a:gdLst>
                  <a:gd name="connsiteX0" fmla="*/ 860109 w 876635"/>
                  <a:gd name="connsiteY0" fmla="*/ 816416 h 818369"/>
                  <a:gd name="connsiteX1" fmla="*/ 836971 w 876635"/>
                  <a:gd name="connsiteY1" fmla="*/ 815425 h 818369"/>
                  <a:gd name="connsiteX2" fmla="*/ 820444 w 876635"/>
                  <a:gd name="connsiteY2" fmla="*/ 779231 h 818369"/>
                  <a:gd name="connsiteX3" fmla="*/ 793505 w 876635"/>
                  <a:gd name="connsiteY3" fmla="*/ 705024 h 818369"/>
                  <a:gd name="connsiteX4" fmla="*/ 747890 w 876635"/>
                  <a:gd name="connsiteY4" fmla="*/ 655774 h 818369"/>
                  <a:gd name="connsiteX5" fmla="*/ 546591 w 876635"/>
                  <a:gd name="connsiteY5" fmla="*/ 654451 h 818369"/>
                  <a:gd name="connsiteX6" fmla="*/ 510397 w 876635"/>
                  <a:gd name="connsiteY6" fmla="*/ 684035 h 818369"/>
                  <a:gd name="connsiteX7" fmla="*/ 478169 w 876635"/>
                  <a:gd name="connsiteY7" fmla="*/ 719568 h 818369"/>
                  <a:gd name="connsiteX8" fmla="*/ 461146 w 876635"/>
                  <a:gd name="connsiteY8" fmla="*/ 737086 h 818369"/>
                  <a:gd name="connsiteX9" fmla="*/ 434868 w 876635"/>
                  <a:gd name="connsiteY9" fmla="*/ 735764 h 818369"/>
                  <a:gd name="connsiteX10" fmla="*/ 421647 w 876635"/>
                  <a:gd name="connsiteY10" fmla="*/ 712296 h 818369"/>
                  <a:gd name="connsiteX11" fmla="*/ 411070 w 876635"/>
                  <a:gd name="connsiteY11" fmla="*/ 692133 h 818369"/>
                  <a:gd name="connsiteX12" fmla="*/ 377354 w 876635"/>
                  <a:gd name="connsiteY12" fmla="*/ 683209 h 818369"/>
                  <a:gd name="connsiteX13" fmla="*/ 340003 w 876635"/>
                  <a:gd name="connsiteY13" fmla="*/ 664533 h 818369"/>
                  <a:gd name="connsiteX14" fmla="*/ 342152 w 876635"/>
                  <a:gd name="connsiteY14" fmla="*/ 641395 h 818369"/>
                  <a:gd name="connsiteX15" fmla="*/ 348101 w 876635"/>
                  <a:gd name="connsiteY15" fmla="*/ 627347 h 818369"/>
                  <a:gd name="connsiteX16" fmla="*/ 278357 w 876635"/>
                  <a:gd name="connsiteY16" fmla="*/ 523557 h 818369"/>
                  <a:gd name="connsiteX17" fmla="*/ 218199 w 876635"/>
                  <a:gd name="connsiteY17" fmla="*/ 543720 h 818369"/>
                  <a:gd name="connsiteX18" fmla="*/ 202829 w 876635"/>
                  <a:gd name="connsiteY18" fmla="*/ 552976 h 818369"/>
                  <a:gd name="connsiteX19" fmla="*/ 165147 w 876635"/>
                  <a:gd name="connsiteY19" fmla="*/ 541406 h 818369"/>
                  <a:gd name="connsiteX20" fmla="*/ 129118 w 876635"/>
                  <a:gd name="connsiteY20" fmla="*/ 471828 h 818369"/>
                  <a:gd name="connsiteX21" fmla="*/ 3183 w 876635"/>
                  <a:gd name="connsiteY21" fmla="*/ 65098 h 818369"/>
                  <a:gd name="connsiteX22" fmla="*/ 3513 w 876635"/>
                  <a:gd name="connsiteY22" fmla="*/ 12707 h 818369"/>
                  <a:gd name="connsiteX23" fmla="*/ 43343 w 876635"/>
                  <a:gd name="connsiteY23" fmla="*/ 6923 h 818369"/>
                  <a:gd name="connsiteX24" fmla="*/ 55408 w 876635"/>
                  <a:gd name="connsiteY24" fmla="*/ 42456 h 818369"/>
                  <a:gd name="connsiteX25" fmla="*/ 158041 w 876635"/>
                  <a:gd name="connsiteY25" fmla="*/ 402249 h 818369"/>
                  <a:gd name="connsiteX26" fmla="*/ 197540 w 876635"/>
                  <a:gd name="connsiteY26" fmla="*/ 488355 h 818369"/>
                  <a:gd name="connsiteX27" fmla="*/ 208448 w 876635"/>
                  <a:gd name="connsiteY27" fmla="*/ 484223 h 818369"/>
                  <a:gd name="connsiteX28" fmla="*/ 342152 w 876635"/>
                  <a:gd name="connsiteY28" fmla="*/ 487363 h 818369"/>
                  <a:gd name="connsiteX29" fmla="*/ 401484 w 876635"/>
                  <a:gd name="connsiteY29" fmla="*/ 562892 h 818369"/>
                  <a:gd name="connsiteX30" fmla="*/ 406938 w 876635"/>
                  <a:gd name="connsiteY30" fmla="*/ 615117 h 818369"/>
                  <a:gd name="connsiteX31" fmla="*/ 405450 w 876635"/>
                  <a:gd name="connsiteY31" fmla="*/ 627182 h 818369"/>
                  <a:gd name="connsiteX32" fmla="*/ 417515 w 876635"/>
                  <a:gd name="connsiteY32" fmla="*/ 631644 h 818369"/>
                  <a:gd name="connsiteX33" fmla="*/ 452057 w 876635"/>
                  <a:gd name="connsiteY33" fmla="*/ 653295 h 818369"/>
                  <a:gd name="connsiteX34" fmla="*/ 456684 w 876635"/>
                  <a:gd name="connsiteY34" fmla="*/ 658253 h 818369"/>
                  <a:gd name="connsiteX35" fmla="*/ 466931 w 876635"/>
                  <a:gd name="connsiteY35" fmla="*/ 647841 h 818369"/>
                  <a:gd name="connsiteX36" fmla="*/ 544773 w 876635"/>
                  <a:gd name="connsiteY36" fmla="*/ 593467 h 818369"/>
                  <a:gd name="connsiteX37" fmla="*/ 777969 w 876635"/>
                  <a:gd name="connsiteY37" fmla="*/ 609829 h 818369"/>
                  <a:gd name="connsiteX38" fmla="*/ 839119 w 876635"/>
                  <a:gd name="connsiteY38" fmla="*/ 674284 h 818369"/>
                  <a:gd name="connsiteX39" fmla="*/ 876636 w 876635"/>
                  <a:gd name="connsiteY39" fmla="*/ 788155 h 818369"/>
                  <a:gd name="connsiteX40" fmla="*/ 859943 w 876635"/>
                  <a:gd name="connsiteY40" fmla="*/ 816747 h 818369"/>
                  <a:gd name="connsiteX41" fmla="*/ 859943 w 876635"/>
                  <a:gd name="connsiteY41" fmla="*/ 816747 h 8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876635" h="818369">
                    <a:moveTo>
                      <a:pt x="860109" y="816416"/>
                    </a:moveTo>
                    <a:cubicBezTo>
                      <a:pt x="854324" y="819391"/>
                      <a:pt x="842755" y="818895"/>
                      <a:pt x="836971" y="815425"/>
                    </a:cubicBezTo>
                    <a:cubicBezTo>
                      <a:pt x="828212" y="810136"/>
                      <a:pt x="824080" y="801046"/>
                      <a:pt x="820444" y="779231"/>
                    </a:cubicBezTo>
                    <a:cubicBezTo>
                      <a:pt x="815816" y="750969"/>
                      <a:pt x="807057" y="726840"/>
                      <a:pt x="793505" y="705024"/>
                    </a:cubicBezTo>
                    <a:cubicBezTo>
                      <a:pt x="785076" y="691472"/>
                      <a:pt x="759459" y="663707"/>
                      <a:pt x="747890" y="655774"/>
                    </a:cubicBezTo>
                    <a:cubicBezTo>
                      <a:pt x="687567" y="614622"/>
                      <a:pt x="613856" y="614126"/>
                      <a:pt x="546591" y="654451"/>
                    </a:cubicBezTo>
                    <a:cubicBezTo>
                      <a:pt x="534526" y="661723"/>
                      <a:pt x="529899" y="665525"/>
                      <a:pt x="510397" y="684035"/>
                    </a:cubicBezTo>
                    <a:cubicBezTo>
                      <a:pt x="491226" y="702215"/>
                      <a:pt x="486598" y="707338"/>
                      <a:pt x="478169" y="719568"/>
                    </a:cubicBezTo>
                    <a:cubicBezTo>
                      <a:pt x="468749" y="733120"/>
                      <a:pt x="467922" y="733947"/>
                      <a:pt x="461146" y="737086"/>
                    </a:cubicBezTo>
                    <a:cubicBezTo>
                      <a:pt x="452718" y="741053"/>
                      <a:pt x="442636" y="740557"/>
                      <a:pt x="434868" y="735764"/>
                    </a:cubicBezTo>
                    <a:cubicBezTo>
                      <a:pt x="427597" y="731302"/>
                      <a:pt x="424787" y="726344"/>
                      <a:pt x="421647" y="712296"/>
                    </a:cubicBezTo>
                    <a:cubicBezTo>
                      <a:pt x="419168" y="701058"/>
                      <a:pt x="418507" y="699901"/>
                      <a:pt x="411070" y="692133"/>
                    </a:cubicBezTo>
                    <a:cubicBezTo>
                      <a:pt x="400823" y="681225"/>
                      <a:pt x="393881" y="679573"/>
                      <a:pt x="377354" y="683209"/>
                    </a:cubicBezTo>
                    <a:cubicBezTo>
                      <a:pt x="358183" y="687505"/>
                      <a:pt x="344796" y="680895"/>
                      <a:pt x="340003" y="664533"/>
                    </a:cubicBezTo>
                    <a:cubicBezTo>
                      <a:pt x="338020" y="657922"/>
                      <a:pt x="339342" y="644040"/>
                      <a:pt x="342152" y="641395"/>
                    </a:cubicBezTo>
                    <a:cubicBezTo>
                      <a:pt x="342813" y="640734"/>
                      <a:pt x="345622" y="634454"/>
                      <a:pt x="348101" y="627347"/>
                    </a:cubicBezTo>
                    <a:cubicBezTo>
                      <a:pt x="365620" y="578592"/>
                      <a:pt x="330748" y="526532"/>
                      <a:pt x="278357" y="523557"/>
                    </a:cubicBezTo>
                    <a:cubicBezTo>
                      <a:pt x="255715" y="522235"/>
                      <a:pt x="237370" y="528350"/>
                      <a:pt x="218199" y="543720"/>
                    </a:cubicBezTo>
                    <a:cubicBezTo>
                      <a:pt x="212745" y="548018"/>
                      <a:pt x="206300" y="551984"/>
                      <a:pt x="202829" y="552976"/>
                    </a:cubicBezTo>
                    <a:cubicBezTo>
                      <a:pt x="190930" y="556446"/>
                      <a:pt x="174898" y="551653"/>
                      <a:pt x="165147" y="541406"/>
                    </a:cubicBezTo>
                    <a:cubicBezTo>
                      <a:pt x="159693" y="535787"/>
                      <a:pt x="149447" y="515624"/>
                      <a:pt x="129118" y="471828"/>
                    </a:cubicBezTo>
                    <a:cubicBezTo>
                      <a:pt x="67803" y="339281"/>
                      <a:pt x="20371" y="185910"/>
                      <a:pt x="3183" y="65098"/>
                    </a:cubicBezTo>
                    <a:cubicBezTo>
                      <a:pt x="-1114" y="34357"/>
                      <a:pt x="-1114" y="20475"/>
                      <a:pt x="3513" y="12707"/>
                    </a:cubicBezTo>
                    <a:cubicBezTo>
                      <a:pt x="12272" y="-1506"/>
                      <a:pt x="30948" y="-4316"/>
                      <a:pt x="43343" y="6923"/>
                    </a:cubicBezTo>
                    <a:cubicBezTo>
                      <a:pt x="50946" y="13699"/>
                      <a:pt x="52598" y="18822"/>
                      <a:pt x="55408" y="42456"/>
                    </a:cubicBezTo>
                    <a:cubicBezTo>
                      <a:pt x="67638" y="143766"/>
                      <a:pt x="105320" y="275817"/>
                      <a:pt x="158041" y="402249"/>
                    </a:cubicBezTo>
                    <a:cubicBezTo>
                      <a:pt x="167792" y="425387"/>
                      <a:pt x="195722" y="486372"/>
                      <a:pt x="197540" y="488355"/>
                    </a:cubicBezTo>
                    <a:cubicBezTo>
                      <a:pt x="198201" y="489016"/>
                      <a:pt x="202994" y="487198"/>
                      <a:pt x="208448" y="484223"/>
                    </a:cubicBezTo>
                    <a:cubicBezTo>
                      <a:pt x="247783" y="462407"/>
                      <a:pt x="302487" y="463730"/>
                      <a:pt x="342152" y="487363"/>
                    </a:cubicBezTo>
                    <a:cubicBezTo>
                      <a:pt x="371735" y="505212"/>
                      <a:pt x="391402" y="530003"/>
                      <a:pt x="401484" y="562892"/>
                    </a:cubicBezTo>
                    <a:cubicBezTo>
                      <a:pt x="407268" y="581732"/>
                      <a:pt x="409086" y="598590"/>
                      <a:pt x="406938" y="615117"/>
                    </a:cubicBezTo>
                    <a:lnTo>
                      <a:pt x="405450" y="627182"/>
                    </a:lnTo>
                    <a:lnTo>
                      <a:pt x="417515" y="631644"/>
                    </a:lnTo>
                    <a:cubicBezTo>
                      <a:pt x="430241" y="636272"/>
                      <a:pt x="444124" y="645031"/>
                      <a:pt x="452057" y="653295"/>
                    </a:cubicBezTo>
                    <a:lnTo>
                      <a:pt x="456684" y="658253"/>
                    </a:lnTo>
                    <a:lnTo>
                      <a:pt x="466931" y="647841"/>
                    </a:lnTo>
                    <a:cubicBezTo>
                      <a:pt x="486433" y="628008"/>
                      <a:pt x="517338" y="606358"/>
                      <a:pt x="544773" y="593467"/>
                    </a:cubicBezTo>
                    <a:cubicBezTo>
                      <a:pt x="622946" y="556942"/>
                      <a:pt x="708721" y="562892"/>
                      <a:pt x="777969" y="609829"/>
                    </a:cubicBezTo>
                    <a:cubicBezTo>
                      <a:pt x="793505" y="620241"/>
                      <a:pt x="829369" y="658087"/>
                      <a:pt x="839119" y="674284"/>
                    </a:cubicBezTo>
                    <a:cubicBezTo>
                      <a:pt x="859778" y="708164"/>
                      <a:pt x="876305" y="758572"/>
                      <a:pt x="876636" y="788155"/>
                    </a:cubicBezTo>
                    <a:cubicBezTo>
                      <a:pt x="876636" y="800715"/>
                      <a:pt x="870521" y="811293"/>
                      <a:pt x="859943" y="816747"/>
                    </a:cubicBezTo>
                    <a:lnTo>
                      <a:pt x="859943" y="816747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9D5D3592-71E0-3022-6077-1BD9CED4428E}"/>
                  </a:ext>
                </a:extLst>
              </p:cNvPr>
              <p:cNvSpPr/>
              <p:nvPr/>
            </p:nvSpPr>
            <p:spPr>
              <a:xfrm>
                <a:off x="8094383" y="4297816"/>
                <a:ext cx="893895" cy="798957"/>
              </a:xfrm>
              <a:custGeom>
                <a:avLst/>
                <a:gdLst>
                  <a:gd name="connsiteX0" fmla="*/ 708790 w 893895"/>
                  <a:gd name="connsiteY0" fmla="*/ 544201 h 798957"/>
                  <a:gd name="connsiteX1" fmla="*/ 678050 w 893895"/>
                  <a:gd name="connsiteY1" fmla="*/ 548003 h 798957"/>
                  <a:gd name="connsiteX2" fmla="*/ 661853 w 893895"/>
                  <a:gd name="connsiteY2" fmla="*/ 537260 h 798957"/>
                  <a:gd name="connsiteX3" fmla="*/ 607480 w 893895"/>
                  <a:gd name="connsiteY3" fmla="*/ 517097 h 798957"/>
                  <a:gd name="connsiteX4" fmla="*/ 549139 w 893895"/>
                  <a:gd name="connsiteY4" fmla="*/ 542383 h 798957"/>
                  <a:gd name="connsiteX5" fmla="*/ 534595 w 893895"/>
                  <a:gd name="connsiteY5" fmla="*/ 626671 h 798957"/>
                  <a:gd name="connsiteX6" fmla="*/ 529802 w 893895"/>
                  <a:gd name="connsiteY6" fmla="*/ 669972 h 798957"/>
                  <a:gd name="connsiteX7" fmla="*/ 499558 w 893895"/>
                  <a:gd name="connsiteY7" fmla="*/ 674104 h 798957"/>
                  <a:gd name="connsiteX8" fmla="*/ 467826 w 893895"/>
                  <a:gd name="connsiteY8" fmla="*/ 681376 h 798957"/>
                  <a:gd name="connsiteX9" fmla="*/ 458406 w 893895"/>
                  <a:gd name="connsiteY9" fmla="*/ 696415 h 798957"/>
                  <a:gd name="connsiteX10" fmla="*/ 445184 w 893895"/>
                  <a:gd name="connsiteY10" fmla="*/ 723189 h 798957"/>
                  <a:gd name="connsiteX11" fmla="*/ 416758 w 893895"/>
                  <a:gd name="connsiteY11" fmla="*/ 726494 h 798957"/>
                  <a:gd name="connsiteX12" fmla="*/ 400231 w 893895"/>
                  <a:gd name="connsiteY12" fmla="*/ 709141 h 798957"/>
                  <a:gd name="connsiteX13" fmla="*/ 339246 w 893895"/>
                  <a:gd name="connsiteY13" fmla="*/ 646008 h 798957"/>
                  <a:gd name="connsiteX14" fmla="*/ 231986 w 893895"/>
                  <a:gd name="connsiteY14" fmla="*/ 609814 h 798957"/>
                  <a:gd name="connsiteX15" fmla="*/ 74979 w 893895"/>
                  <a:gd name="connsiteY15" fmla="*/ 703357 h 798957"/>
                  <a:gd name="connsiteX16" fmla="*/ 56138 w 893895"/>
                  <a:gd name="connsiteY16" fmla="*/ 759879 h 798957"/>
                  <a:gd name="connsiteX17" fmla="*/ 43247 w 893895"/>
                  <a:gd name="connsiteY17" fmla="*/ 792272 h 798957"/>
                  <a:gd name="connsiteX18" fmla="*/ 1103 w 893895"/>
                  <a:gd name="connsiteY18" fmla="*/ 778224 h 798957"/>
                  <a:gd name="connsiteX19" fmla="*/ 27546 w 893895"/>
                  <a:gd name="connsiteY19" fmla="*/ 675757 h 798957"/>
                  <a:gd name="connsiteX20" fmla="*/ 73161 w 893895"/>
                  <a:gd name="connsiteY20" fmla="*/ 617085 h 798957"/>
                  <a:gd name="connsiteX21" fmla="*/ 108363 w 893895"/>
                  <a:gd name="connsiteY21" fmla="*/ 588163 h 798957"/>
                  <a:gd name="connsiteX22" fmla="*/ 248182 w 893895"/>
                  <a:gd name="connsiteY22" fmla="*/ 555605 h 798957"/>
                  <a:gd name="connsiteX23" fmla="*/ 371308 w 893895"/>
                  <a:gd name="connsiteY23" fmla="*/ 601881 h 798957"/>
                  <a:gd name="connsiteX24" fmla="*/ 418080 w 893895"/>
                  <a:gd name="connsiteY24" fmla="*/ 642537 h 798957"/>
                  <a:gd name="connsiteX25" fmla="*/ 422377 w 893895"/>
                  <a:gd name="connsiteY25" fmla="*/ 647826 h 798957"/>
                  <a:gd name="connsiteX26" fmla="*/ 428492 w 893895"/>
                  <a:gd name="connsiteY26" fmla="*/ 642041 h 798957"/>
                  <a:gd name="connsiteX27" fmla="*/ 462207 w 893895"/>
                  <a:gd name="connsiteY27" fmla="*/ 622044 h 798957"/>
                  <a:gd name="connsiteX28" fmla="*/ 474602 w 893895"/>
                  <a:gd name="connsiteY28" fmla="*/ 617912 h 798957"/>
                  <a:gd name="connsiteX29" fmla="*/ 473776 w 893895"/>
                  <a:gd name="connsiteY29" fmla="*/ 612623 h 798957"/>
                  <a:gd name="connsiteX30" fmla="*/ 477908 w 893895"/>
                  <a:gd name="connsiteY30" fmla="*/ 559406 h 798957"/>
                  <a:gd name="connsiteX31" fmla="*/ 525010 w 893895"/>
                  <a:gd name="connsiteY31" fmla="*/ 489993 h 798957"/>
                  <a:gd name="connsiteX32" fmla="*/ 655573 w 893895"/>
                  <a:gd name="connsiteY32" fmla="*/ 470987 h 798957"/>
                  <a:gd name="connsiteX33" fmla="*/ 677389 w 893895"/>
                  <a:gd name="connsiteY33" fmla="*/ 480737 h 798957"/>
                  <a:gd name="connsiteX34" fmla="*/ 684991 w 893895"/>
                  <a:gd name="connsiteY34" fmla="*/ 485200 h 798957"/>
                  <a:gd name="connsiteX35" fmla="*/ 693751 w 893895"/>
                  <a:gd name="connsiteY35" fmla="*/ 467846 h 798957"/>
                  <a:gd name="connsiteX36" fmla="*/ 772584 w 893895"/>
                  <a:gd name="connsiteY36" fmla="*/ 284397 h 798957"/>
                  <a:gd name="connsiteX37" fmla="*/ 837536 w 893895"/>
                  <a:gd name="connsiteY37" fmla="*/ 41615 h 798957"/>
                  <a:gd name="connsiteX38" fmla="*/ 842824 w 893895"/>
                  <a:gd name="connsiteY38" fmla="*/ 16163 h 798957"/>
                  <a:gd name="connsiteX39" fmla="*/ 892571 w 893895"/>
                  <a:gd name="connsiteY39" fmla="*/ 19138 h 798957"/>
                  <a:gd name="connsiteX40" fmla="*/ 888604 w 893895"/>
                  <a:gd name="connsiteY40" fmla="*/ 70537 h 798957"/>
                  <a:gd name="connsiteX41" fmla="*/ 735234 w 893895"/>
                  <a:gd name="connsiteY41" fmla="*/ 507181 h 798957"/>
                  <a:gd name="connsiteX42" fmla="*/ 708790 w 893895"/>
                  <a:gd name="connsiteY42" fmla="*/ 544201 h 798957"/>
                  <a:gd name="connsiteX43" fmla="*/ 708790 w 893895"/>
                  <a:gd name="connsiteY43" fmla="*/ 544201 h 79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893895" h="798957">
                    <a:moveTo>
                      <a:pt x="708790" y="544201"/>
                    </a:moveTo>
                    <a:cubicBezTo>
                      <a:pt x="697552" y="550316"/>
                      <a:pt x="687636" y="551473"/>
                      <a:pt x="678050" y="548003"/>
                    </a:cubicBezTo>
                    <a:cubicBezTo>
                      <a:pt x="674414" y="546680"/>
                      <a:pt x="667638" y="542218"/>
                      <a:pt x="661853" y="537260"/>
                    </a:cubicBezTo>
                    <a:cubicBezTo>
                      <a:pt x="645161" y="522882"/>
                      <a:pt x="629626" y="517097"/>
                      <a:pt x="607480" y="517097"/>
                    </a:cubicBezTo>
                    <a:cubicBezTo>
                      <a:pt x="584838" y="517097"/>
                      <a:pt x="564840" y="525691"/>
                      <a:pt x="549139" y="542383"/>
                    </a:cubicBezTo>
                    <a:cubicBezTo>
                      <a:pt x="527158" y="565687"/>
                      <a:pt x="522035" y="596096"/>
                      <a:pt x="534595" y="626671"/>
                    </a:cubicBezTo>
                    <a:cubicBezTo>
                      <a:pt x="543685" y="648322"/>
                      <a:pt x="542363" y="659560"/>
                      <a:pt x="529802" y="669972"/>
                    </a:cubicBezTo>
                    <a:cubicBezTo>
                      <a:pt x="521374" y="676913"/>
                      <a:pt x="513771" y="677905"/>
                      <a:pt x="499558" y="674104"/>
                    </a:cubicBezTo>
                    <a:cubicBezTo>
                      <a:pt x="485841" y="670302"/>
                      <a:pt x="477412" y="672286"/>
                      <a:pt x="467826" y="681376"/>
                    </a:cubicBezTo>
                    <a:cubicBezTo>
                      <a:pt x="462042" y="686829"/>
                      <a:pt x="460389" y="689639"/>
                      <a:pt x="458406" y="696415"/>
                    </a:cubicBezTo>
                    <a:cubicBezTo>
                      <a:pt x="452291" y="717239"/>
                      <a:pt x="452291" y="717405"/>
                      <a:pt x="445184" y="723189"/>
                    </a:cubicBezTo>
                    <a:cubicBezTo>
                      <a:pt x="436425" y="730296"/>
                      <a:pt x="427004" y="731453"/>
                      <a:pt x="416758" y="726494"/>
                    </a:cubicBezTo>
                    <a:cubicBezTo>
                      <a:pt x="409816" y="723189"/>
                      <a:pt x="409320" y="722693"/>
                      <a:pt x="400231" y="709141"/>
                    </a:cubicBezTo>
                    <a:cubicBezTo>
                      <a:pt x="386513" y="688648"/>
                      <a:pt x="356930" y="658238"/>
                      <a:pt x="339246" y="646008"/>
                    </a:cubicBezTo>
                    <a:cubicBezTo>
                      <a:pt x="304705" y="622374"/>
                      <a:pt x="270328" y="610805"/>
                      <a:pt x="231986" y="609814"/>
                    </a:cubicBezTo>
                    <a:cubicBezTo>
                      <a:pt x="164555" y="608161"/>
                      <a:pt x="106876" y="642372"/>
                      <a:pt x="74979" y="703357"/>
                    </a:cubicBezTo>
                    <a:cubicBezTo>
                      <a:pt x="67707" y="717239"/>
                      <a:pt x="58617" y="744344"/>
                      <a:pt x="56138" y="759879"/>
                    </a:cubicBezTo>
                    <a:cubicBezTo>
                      <a:pt x="53328" y="777067"/>
                      <a:pt x="49858" y="785826"/>
                      <a:pt x="43247" y="792272"/>
                    </a:cubicBezTo>
                    <a:cubicBezTo>
                      <a:pt x="29695" y="805493"/>
                      <a:pt x="7383" y="798221"/>
                      <a:pt x="1103" y="778224"/>
                    </a:cubicBezTo>
                    <a:cubicBezTo>
                      <a:pt x="-4020" y="762028"/>
                      <a:pt x="9367" y="709967"/>
                      <a:pt x="27546" y="675757"/>
                    </a:cubicBezTo>
                    <a:cubicBezTo>
                      <a:pt x="41264" y="649974"/>
                      <a:pt x="49031" y="639893"/>
                      <a:pt x="73161" y="617085"/>
                    </a:cubicBezTo>
                    <a:cubicBezTo>
                      <a:pt x="91671" y="599401"/>
                      <a:pt x="96960" y="595105"/>
                      <a:pt x="108363" y="588163"/>
                    </a:cubicBezTo>
                    <a:cubicBezTo>
                      <a:pt x="150838" y="562381"/>
                      <a:pt x="200584" y="550812"/>
                      <a:pt x="248182" y="555605"/>
                    </a:cubicBezTo>
                    <a:cubicBezTo>
                      <a:pt x="290822" y="559902"/>
                      <a:pt x="335445" y="576595"/>
                      <a:pt x="371308" y="601881"/>
                    </a:cubicBezTo>
                    <a:cubicBezTo>
                      <a:pt x="385687" y="611962"/>
                      <a:pt x="411634" y="634604"/>
                      <a:pt x="418080" y="642537"/>
                    </a:cubicBezTo>
                    <a:lnTo>
                      <a:pt x="422377" y="647826"/>
                    </a:lnTo>
                    <a:lnTo>
                      <a:pt x="428492" y="642041"/>
                    </a:lnTo>
                    <a:cubicBezTo>
                      <a:pt x="438078" y="632951"/>
                      <a:pt x="448820" y="626671"/>
                      <a:pt x="462207" y="622044"/>
                    </a:cubicBezTo>
                    <a:lnTo>
                      <a:pt x="474602" y="617912"/>
                    </a:lnTo>
                    <a:lnTo>
                      <a:pt x="473776" y="612623"/>
                    </a:lnTo>
                    <a:cubicBezTo>
                      <a:pt x="471958" y="601385"/>
                      <a:pt x="474272" y="572463"/>
                      <a:pt x="477908" y="559406"/>
                    </a:cubicBezTo>
                    <a:cubicBezTo>
                      <a:pt x="485675" y="532137"/>
                      <a:pt x="503194" y="506189"/>
                      <a:pt x="525010" y="489993"/>
                    </a:cubicBezTo>
                    <a:cubicBezTo>
                      <a:pt x="563518" y="461566"/>
                      <a:pt x="611611" y="454460"/>
                      <a:pt x="655573" y="470987"/>
                    </a:cubicBezTo>
                    <a:cubicBezTo>
                      <a:pt x="663341" y="473961"/>
                      <a:pt x="673092" y="478259"/>
                      <a:pt x="677389" y="480737"/>
                    </a:cubicBezTo>
                    <a:lnTo>
                      <a:pt x="684991" y="485200"/>
                    </a:lnTo>
                    <a:lnTo>
                      <a:pt x="693751" y="467846"/>
                    </a:lnTo>
                    <a:cubicBezTo>
                      <a:pt x="722673" y="410663"/>
                      <a:pt x="748455" y="351000"/>
                      <a:pt x="772584" y="284397"/>
                    </a:cubicBezTo>
                    <a:cubicBezTo>
                      <a:pt x="805969" y="192341"/>
                      <a:pt x="826628" y="115160"/>
                      <a:pt x="837536" y="41615"/>
                    </a:cubicBezTo>
                    <a:cubicBezTo>
                      <a:pt x="839188" y="30541"/>
                      <a:pt x="841667" y="18972"/>
                      <a:pt x="842824" y="16163"/>
                    </a:cubicBezTo>
                    <a:cubicBezTo>
                      <a:pt x="852906" y="-6810"/>
                      <a:pt x="884803" y="-4826"/>
                      <a:pt x="892571" y="19138"/>
                    </a:cubicBezTo>
                    <a:cubicBezTo>
                      <a:pt x="895050" y="26740"/>
                      <a:pt x="894223" y="36161"/>
                      <a:pt x="888604" y="70537"/>
                    </a:cubicBezTo>
                    <a:cubicBezTo>
                      <a:pt x="867119" y="198786"/>
                      <a:pt x="807457" y="368684"/>
                      <a:pt x="735234" y="507181"/>
                    </a:cubicBezTo>
                    <a:cubicBezTo>
                      <a:pt x="723003" y="530649"/>
                      <a:pt x="716227" y="540235"/>
                      <a:pt x="708790" y="544201"/>
                    </a:cubicBezTo>
                    <a:lnTo>
                      <a:pt x="708790" y="54420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63BF0F0F-6CF7-2442-B9A0-A6A54A144D9E}"/>
                  </a:ext>
                </a:extLst>
              </p:cNvPr>
              <p:cNvSpPr/>
              <p:nvPr/>
            </p:nvSpPr>
            <p:spPr>
              <a:xfrm>
                <a:off x="8262097" y="467263"/>
                <a:ext cx="1759274" cy="3892558"/>
              </a:xfrm>
              <a:custGeom>
                <a:avLst/>
                <a:gdLst>
                  <a:gd name="connsiteX0" fmla="*/ 1757135 w 1759274"/>
                  <a:gd name="connsiteY0" fmla="*/ 2427871 h 3892558"/>
                  <a:gd name="connsiteX1" fmla="*/ 1702430 w 1759274"/>
                  <a:gd name="connsiteY1" fmla="*/ 2290861 h 3892558"/>
                  <a:gd name="connsiteX2" fmla="*/ 1533854 w 1759274"/>
                  <a:gd name="connsiteY2" fmla="*/ 2059648 h 3892558"/>
                  <a:gd name="connsiteX3" fmla="*/ 1429239 w 1759274"/>
                  <a:gd name="connsiteY3" fmla="*/ 1952884 h 3892558"/>
                  <a:gd name="connsiteX4" fmla="*/ 1402795 w 1759274"/>
                  <a:gd name="connsiteY4" fmla="*/ 1921978 h 3892558"/>
                  <a:gd name="connsiteX5" fmla="*/ 1406596 w 1759274"/>
                  <a:gd name="connsiteY5" fmla="*/ 1872397 h 3892558"/>
                  <a:gd name="connsiteX6" fmla="*/ 1437998 w 1759274"/>
                  <a:gd name="connsiteY6" fmla="*/ 1357250 h 3892558"/>
                  <a:gd name="connsiteX7" fmla="*/ 1053083 w 1759274"/>
                  <a:gd name="connsiteY7" fmla="*/ 106485 h 3892558"/>
                  <a:gd name="connsiteX8" fmla="*/ 952599 w 1759274"/>
                  <a:gd name="connsiteY8" fmla="*/ 10793 h 3892558"/>
                  <a:gd name="connsiteX9" fmla="*/ 847653 w 1759274"/>
                  <a:gd name="connsiteY9" fmla="*/ 17073 h 3892558"/>
                  <a:gd name="connsiteX10" fmla="*/ 769976 w 1759274"/>
                  <a:gd name="connsiteY10" fmla="*/ 90619 h 3892558"/>
                  <a:gd name="connsiteX11" fmla="*/ 535127 w 1759274"/>
                  <a:gd name="connsiteY11" fmla="*/ 492225 h 3892558"/>
                  <a:gd name="connsiteX12" fmla="*/ 343248 w 1759274"/>
                  <a:gd name="connsiteY12" fmla="*/ 1422036 h 3892558"/>
                  <a:gd name="connsiteX13" fmla="*/ 343909 w 1759274"/>
                  <a:gd name="connsiteY13" fmla="*/ 1593256 h 3892558"/>
                  <a:gd name="connsiteX14" fmla="*/ 345562 w 1759274"/>
                  <a:gd name="connsiteY14" fmla="*/ 1633416 h 3892558"/>
                  <a:gd name="connsiteX15" fmla="*/ 365394 w 1759274"/>
                  <a:gd name="connsiteY15" fmla="*/ 1859671 h 3892558"/>
                  <a:gd name="connsiteX16" fmla="*/ 367543 w 1759274"/>
                  <a:gd name="connsiteY16" fmla="*/ 1911731 h 3892558"/>
                  <a:gd name="connsiteX17" fmla="*/ 329696 w 1759274"/>
                  <a:gd name="connsiteY17" fmla="*/ 1950074 h 3892558"/>
                  <a:gd name="connsiteX18" fmla="*/ 81294 w 1759274"/>
                  <a:gd name="connsiteY18" fmla="*/ 2238967 h 3892558"/>
                  <a:gd name="connsiteX19" fmla="*/ 6592 w 1759274"/>
                  <a:gd name="connsiteY19" fmla="*/ 2383743 h 3892558"/>
                  <a:gd name="connsiteX20" fmla="*/ 2956 w 1759274"/>
                  <a:gd name="connsiteY20" fmla="*/ 2486376 h 3892558"/>
                  <a:gd name="connsiteX21" fmla="*/ 28904 w 1759274"/>
                  <a:gd name="connsiteY21" fmla="*/ 2615452 h 3892558"/>
                  <a:gd name="connsiteX22" fmla="*/ 189051 w 1759274"/>
                  <a:gd name="connsiteY22" fmla="*/ 3085150 h 3892558"/>
                  <a:gd name="connsiteX23" fmla="*/ 239789 w 1759274"/>
                  <a:gd name="connsiteY23" fmla="*/ 3134401 h 3892558"/>
                  <a:gd name="connsiteX24" fmla="*/ 314821 w 1759274"/>
                  <a:gd name="connsiteY24" fmla="*/ 3117378 h 3892558"/>
                  <a:gd name="connsiteX25" fmla="*/ 335315 w 1759274"/>
                  <a:gd name="connsiteY25" fmla="*/ 3067962 h 3892558"/>
                  <a:gd name="connsiteX26" fmla="*/ 331018 w 1759274"/>
                  <a:gd name="connsiteY26" fmla="*/ 2928639 h 3892558"/>
                  <a:gd name="connsiteX27" fmla="*/ 328043 w 1759274"/>
                  <a:gd name="connsiteY27" fmla="*/ 2853276 h 3892558"/>
                  <a:gd name="connsiteX28" fmla="*/ 324903 w 1759274"/>
                  <a:gd name="connsiteY28" fmla="*/ 2770145 h 3892558"/>
                  <a:gd name="connsiteX29" fmla="*/ 323911 w 1759274"/>
                  <a:gd name="connsiteY29" fmla="*/ 2601735 h 3892558"/>
                  <a:gd name="connsiteX30" fmla="*/ 356635 w 1759274"/>
                  <a:gd name="connsiteY30" fmla="*/ 2508192 h 3892558"/>
                  <a:gd name="connsiteX31" fmla="*/ 414314 w 1759274"/>
                  <a:gd name="connsiteY31" fmla="*/ 2456462 h 3892558"/>
                  <a:gd name="connsiteX32" fmla="*/ 467696 w 1759274"/>
                  <a:gd name="connsiteY32" fmla="*/ 2413988 h 3892558"/>
                  <a:gd name="connsiteX33" fmla="*/ 488520 w 1759274"/>
                  <a:gd name="connsiteY33" fmla="*/ 2398122 h 3892558"/>
                  <a:gd name="connsiteX34" fmla="*/ 493644 w 1759274"/>
                  <a:gd name="connsiteY34" fmla="*/ 2410517 h 3892558"/>
                  <a:gd name="connsiteX35" fmla="*/ 527028 w 1759274"/>
                  <a:gd name="connsiteY35" fmla="*/ 2500094 h 3892558"/>
                  <a:gd name="connsiteX36" fmla="*/ 557438 w 1759274"/>
                  <a:gd name="connsiteY36" fmla="*/ 2550005 h 3892558"/>
                  <a:gd name="connsiteX37" fmla="*/ 567024 w 1759274"/>
                  <a:gd name="connsiteY37" fmla="*/ 2558765 h 3892558"/>
                  <a:gd name="connsiteX38" fmla="*/ 541737 w 1759274"/>
                  <a:gd name="connsiteY38" fmla="*/ 2630161 h 3892558"/>
                  <a:gd name="connsiteX39" fmla="*/ 513311 w 1759274"/>
                  <a:gd name="connsiteY39" fmla="*/ 2736761 h 3892558"/>
                  <a:gd name="connsiteX40" fmla="*/ 553141 w 1759274"/>
                  <a:gd name="connsiteY40" fmla="*/ 2791300 h 3892558"/>
                  <a:gd name="connsiteX41" fmla="*/ 564875 w 1759274"/>
                  <a:gd name="connsiteY41" fmla="*/ 2799729 h 3892558"/>
                  <a:gd name="connsiteX42" fmla="*/ 556612 w 1759274"/>
                  <a:gd name="connsiteY42" fmla="*/ 2815925 h 3892558"/>
                  <a:gd name="connsiteX43" fmla="*/ 512154 w 1759274"/>
                  <a:gd name="connsiteY43" fmla="*/ 2964999 h 3892558"/>
                  <a:gd name="connsiteX44" fmla="*/ 510832 w 1759274"/>
                  <a:gd name="connsiteY44" fmla="*/ 3075895 h 3892558"/>
                  <a:gd name="connsiteX45" fmla="*/ 553967 w 1759274"/>
                  <a:gd name="connsiteY45" fmla="*/ 3258519 h 3892558"/>
                  <a:gd name="connsiteX46" fmla="*/ 658583 w 1759274"/>
                  <a:gd name="connsiteY46" fmla="*/ 3467751 h 3892558"/>
                  <a:gd name="connsiteX47" fmla="*/ 699736 w 1759274"/>
                  <a:gd name="connsiteY47" fmla="*/ 3543940 h 3892558"/>
                  <a:gd name="connsiteX48" fmla="*/ 820383 w 1759274"/>
                  <a:gd name="connsiteY48" fmla="*/ 3840270 h 3892558"/>
                  <a:gd name="connsiteX49" fmla="*/ 845504 w 1759274"/>
                  <a:gd name="connsiteY49" fmla="*/ 3888198 h 3892558"/>
                  <a:gd name="connsiteX50" fmla="*/ 876740 w 1759274"/>
                  <a:gd name="connsiteY50" fmla="*/ 3890182 h 3892558"/>
                  <a:gd name="connsiteX51" fmla="*/ 876740 w 1759274"/>
                  <a:gd name="connsiteY51" fmla="*/ 3890182 h 3892558"/>
                  <a:gd name="connsiteX52" fmla="*/ 906324 w 1759274"/>
                  <a:gd name="connsiteY52" fmla="*/ 3839278 h 3892558"/>
                  <a:gd name="connsiteX53" fmla="*/ 1004329 w 1759274"/>
                  <a:gd name="connsiteY53" fmla="*/ 3603272 h 3892558"/>
                  <a:gd name="connsiteX54" fmla="*/ 1071098 w 1759274"/>
                  <a:gd name="connsiteY54" fmla="*/ 3480973 h 3892558"/>
                  <a:gd name="connsiteX55" fmla="*/ 1204802 w 1759274"/>
                  <a:gd name="connsiteY55" fmla="*/ 3211251 h 3892558"/>
                  <a:gd name="connsiteX56" fmla="*/ 1235707 w 1759274"/>
                  <a:gd name="connsiteY56" fmla="*/ 3013423 h 3892558"/>
                  <a:gd name="connsiteX57" fmla="*/ 1217031 w 1759274"/>
                  <a:gd name="connsiteY57" fmla="*/ 2886330 h 3892558"/>
                  <a:gd name="connsiteX58" fmla="*/ 1193233 w 1759274"/>
                  <a:gd name="connsiteY58" fmla="*/ 2823693 h 3892558"/>
                  <a:gd name="connsiteX59" fmla="*/ 1185795 w 1759274"/>
                  <a:gd name="connsiteY59" fmla="*/ 2807331 h 3892558"/>
                  <a:gd name="connsiteX60" fmla="*/ 1198025 w 1759274"/>
                  <a:gd name="connsiteY60" fmla="*/ 2798241 h 3892558"/>
                  <a:gd name="connsiteX61" fmla="*/ 1228435 w 1759274"/>
                  <a:gd name="connsiteY61" fmla="*/ 2770476 h 3892558"/>
                  <a:gd name="connsiteX62" fmla="*/ 1237029 w 1759274"/>
                  <a:gd name="connsiteY62" fmla="*/ 2718911 h 3892558"/>
                  <a:gd name="connsiteX63" fmla="*/ 1212074 w 1759274"/>
                  <a:gd name="connsiteY63" fmla="*/ 2636772 h 3892558"/>
                  <a:gd name="connsiteX64" fmla="*/ 1189266 w 1759274"/>
                  <a:gd name="connsiteY64" fmla="*/ 2566532 h 3892558"/>
                  <a:gd name="connsiteX65" fmla="*/ 1197034 w 1759274"/>
                  <a:gd name="connsiteY65" fmla="*/ 2559591 h 3892558"/>
                  <a:gd name="connsiteX66" fmla="*/ 1222320 w 1759274"/>
                  <a:gd name="connsiteY66" fmla="*/ 2526206 h 3892558"/>
                  <a:gd name="connsiteX67" fmla="*/ 1260498 w 1759274"/>
                  <a:gd name="connsiteY67" fmla="*/ 2432994 h 3892558"/>
                  <a:gd name="connsiteX68" fmla="*/ 1271240 w 1759274"/>
                  <a:gd name="connsiteY68" fmla="*/ 2407377 h 3892558"/>
                  <a:gd name="connsiteX69" fmla="*/ 1321152 w 1759274"/>
                  <a:gd name="connsiteY69" fmla="*/ 2447868 h 3892558"/>
                  <a:gd name="connsiteX70" fmla="*/ 1430561 w 1759274"/>
                  <a:gd name="connsiteY70" fmla="*/ 2611320 h 3892558"/>
                  <a:gd name="connsiteX71" fmla="*/ 1421801 w 1759274"/>
                  <a:gd name="connsiteY71" fmla="*/ 2850797 h 3892558"/>
                  <a:gd name="connsiteX72" fmla="*/ 1415356 w 1759274"/>
                  <a:gd name="connsiteY72" fmla="*/ 2955744 h 3892558"/>
                  <a:gd name="connsiteX73" fmla="*/ 1409406 w 1759274"/>
                  <a:gd name="connsiteY73" fmla="*/ 3050443 h 3892558"/>
                  <a:gd name="connsiteX74" fmla="*/ 1429569 w 1759274"/>
                  <a:gd name="connsiteY74" fmla="*/ 3131426 h 3892558"/>
                  <a:gd name="connsiteX75" fmla="*/ 1499644 w 1759274"/>
                  <a:gd name="connsiteY75" fmla="*/ 3149936 h 3892558"/>
                  <a:gd name="connsiteX76" fmla="*/ 1555174 w 1759274"/>
                  <a:gd name="connsiteY76" fmla="*/ 3100520 h 3892558"/>
                  <a:gd name="connsiteX77" fmla="*/ 1739285 w 1759274"/>
                  <a:gd name="connsiteY77" fmla="*/ 2580250 h 3892558"/>
                  <a:gd name="connsiteX78" fmla="*/ 1757465 w 1759274"/>
                  <a:gd name="connsiteY78" fmla="*/ 2427871 h 3892558"/>
                  <a:gd name="connsiteX79" fmla="*/ 607515 w 1759274"/>
                  <a:gd name="connsiteY79" fmla="*/ 469418 h 3892558"/>
                  <a:gd name="connsiteX80" fmla="*/ 793940 w 1759274"/>
                  <a:gd name="connsiteY80" fmla="*/ 153091 h 3892558"/>
                  <a:gd name="connsiteX81" fmla="*/ 889962 w 1759274"/>
                  <a:gd name="connsiteY81" fmla="*/ 64341 h 3892558"/>
                  <a:gd name="connsiteX82" fmla="*/ 942352 w 1759274"/>
                  <a:gd name="connsiteY82" fmla="*/ 73761 h 3892558"/>
                  <a:gd name="connsiteX83" fmla="*/ 975241 w 1759274"/>
                  <a:gd name="connsiteY83" fmla="*/ 103510 h 3892558"/>
                  <a:gd name="connsiteX84" fmla="*/ 1041515 w 1759274"/>
                  <a:gd name="connsiteY84" fmla="*/ 189781 h 3892558"/>
                  <a:gd name="connsiteX85" fmla="*/ 1193894 w 1759274"/>
                  <a:gd name="connsiteY85" fmla="*/ 469583 h 3892558"/>
                  <a:gd name="connsiteX86" fmla="*/ 1193894 w 1759274"/>
                  <a:gd name="connsiteY86" fmla="*/ 469583 h 3892558"/>
                  <a:gd name="connsiteX87" fmla="*/ 1204967 w 1759274"/>
                  <a:gd name="connsiteY87" fmla="*/ 497183 h 3892558"/>
                  <a:gd name="connsiteX88" fmla="*/ 1191580 w 1759274"/>
                  <a:gd name="connsiteY88" fmla="*/ 495696 h 3892558"/>
                  <a:gd name="connsiteX89" fmla="*/ 1018211 w 1759274"/>
                  <a:gd name="connsiteY89" fmla="*/ 468096 h 3892558"/>
                  <a:gd name="connsiteX90" fmla="*/ 897234 w 1759274"/>
                  <a:gd name="connsiteY90" fmla="*/ 462146 h 3892558"/>
                  <a:gd name="connsiteX91" fmla="*/ 864180 w 1759274"/>
                  <a:gd name="connsiteY91" fmla="*/ 462807 h 3892558"/>
                  <a:gd name="connsiteX92" fmla="*/ 747829 w 1759274"/>
                  <a:gd name="connsiteY92" fmla="*/ 467931 h 3892558"/>
                  <a:gd name="connsiteX93" fmla="*/ 613961 w 1759274"/>
                  <a:gd name="connsiteY93" fmla="*/ 488589 h 3892558"/>
                  <a:gd name="connsiteX94" fmla="*/ 598921 w 1759274"/>
                  <a:gd name="connsiteY94" fmla="*/ 490242 h 3892558"/>
                  <a:gd name="connsiteX95" fmla="*/ 607680 w 1759274"/>
                  <a:gd name="connsiteY95" fmla="*/ 469749 h 3892558"/>
                  <a:gd name="connsiteX96" fmla="*/ 467366 w 1759274"/>
                  <a:gd name="connsiteY96" fmla="*/ 2340608 h 3892558"/>
                  <a:gd name="connsiteX97" fmla="*/ 418776 w 1759274"/>
                  <a:gd name="connsiteY97" fmla="*/ 2379612 h 3892558"/>
                  <a:gd name="connsiteX98" fmla="*/ 316639 w 1759274"/>
                  <a:gd name="connsiteY98" fmla="*/ 2466874 h 3892558"/>
                  <a:gd name="connsiteX99" fmla="*/ 264910 w 1759274"/>
                  <a:gd name="connsiteY99" fmla="*/ 2575126 h 3892558"/>
                  <a:gd name="connsiteX100" fmla="*/ 263092 w 1759274"/>
                  <a:gd name="connsiteY100" fmla="*/ 2654291 h 3892558"/>
                  <a:gd name="connsiteX101" fmla="*/ 268215 w 1759274"/>
                  <a:gd name="connsiteY101" fmla="*/ 2787829 h 3892558"/>
                  <a:gd name="connsiteX102" fmla="*/ 270364 w 1759274"/>
                  <a:gd name="connsiteY102" fmla="*/ 2844847 h 3892558"/>
                  <a:gd name="connsiteX103" fmla="*/ 274165 w 1759274"/>
                  <a:gd name="connsiteY103" fmla="*/ 2945166 h 3892558"/>
                  <a:gd name="connsiteX104" fmla="*/ 276148 w 1759274"/>
                  <a:gd name="connsiteY104" fmla="*/ 2994086 h 3892558"/>
                  <a:gd name="connsiteX105" fmla="*/ 277801 w 1759274"/>
                  <a:gd name="connsiteY105" fmla="*/ 3066309 h 3892558"/>
                  <a:gd name="connsiteX106" fmla="*/ 277801 w 1759274"/>
                  <a:gd name="connsiteY106" fmla="*/ 3066309 h 3892558"/>
                  <a:gd name="connsiteX107" fmla="*/ 255820 w 1759274"/>
                  <a:gd name="connsiteY107" fmla="*/ 3077052 h 3892558"/>
                  <a:gd name="connsiteX108" fmla="*/ 188059 w 1759274"/>
                  <a:gd name="connsiteY108" fmla="*/ 2947150 h 3892558"/>
                  <a:gd name="connsiteX109" fmla="*/ 70221 w 1759274"/>
                  <a:gd name="connsiteY109" fmla="*/ 2534139 h 3892558"/>
                  <a:gd name="connsiteX110" fmla="*/ 63280 w 1759274"/>
                  <a:gd name="connsiteY110" fmla="*/ 2413327 h 3892558"/>
                  <a:gd name="connsiteX111" fmla="*/ 117323 w 1759274"/>
                  <a:gd name="connsiteY111" fmla="*/ 2288713 h 3892558"/>
                  <a:gd name="connsiteX112" fmla="*/ 288709 w 1759274"/>
                  <a:gd name="connsiteY112" fmla="*/ 2069730 h 3892558"/>
                  <a:gd name="connsiteX113" fmla="*/ 361923 w 1759274"/>
                  <a:gd name="connsiteY113" fmla="*/ 1998664 h 3892558"/>
                  <a:gd name="connsiteX114" fmla="*/ 373162 w 1759274"/>
                  <a:gd name="connsiteY114" fmla="*/ 1995689 h 3892558"/>
                  <a:gd name="connsiteX115" fmla="*/ 392168 w 1759274"/>
                  <a:gd name="connsiteY115" fmla="*/ 2028578 h 3892558"/>
                  <a:gd name="connsiteX116" fmla="*/ 464556 w 1759274"/>
                  <a:gd name="connsiteY116" fmla="*/ 2321271 h 3892558"/>
                  <a:gd name="connsiteX117" fmla="*/ 467531 w 1759274"/>
                  <a:gd name="connsiteY117" fmla="*/ 2340442 h 3892558"/>
                  <a:gd name="connsiteX118" fmla="*/ 1175218 w 1759274"/>
                  <a:gd name="connsiteY118" fmla="*/ 2733620 h 3892558"/>
                  <a:gd name="connsiteX119" fmla="*/ 1116547 w 1759274"/>
                  <a:gd name="connsiteY119" fmla="*/ 2774773 h 3892558"/>
                  <a:gd name="connsiteX120" fmla="*/ 899217 w 1759274"/>
                  <a:gd name="connsiteY120" fmla="*/ 2821875 h 3892558"/>
                  <a:gd name="connsiteX121" fmla="*/ 642222 w 1759274"/>
                  <a:gd name="connsiteY121" fmla="*/ 2772459 h 3892558"/>
                  <a:gd name="connsiteX122" fmla="*/ 578923 w 1759274"/>
                  <a:gd name="connsiteY122" fmla="*/ 2699575 h 3892558"/>
                  <a:gd name="connsiteX123" fmla="*/ 619910 w 1759274"/>
                  <a:gd name="connsiteY123" fmla="*/ 2582729 h 3892558"/>
                  <a:gd name="connsiteX124" fmla="*/ 630818 w 1759274"/>
                  <a:gd name="connsiteY124" fmla="*/ 2586530 h 3892558"/>
                  <a:gd name="connsiteX125" fmla="*/ 798898 w 1759274"/>
                  <a:gd name="connsiteY125" fmla="*/ 2622724 h 3892558"/>
                  <a:gd name="connsiteX126" fmla="*/ 1110102 w 1759274"/>
                  <a:gd name="connsiteY126" fmla="*/ 2596446 h 3892558"/>
                  <a:gd name="connsiteX127" fmla="*/ 1134892 w 1759274"/>
                  <a:gd name="connsiteY127" fmla="*/ 2589174 h 3892558"/>
                  <a:gd name="connsiteX128" fmla="*/ 1140677 w 1759274"/>
                  <a:gd name="connsiteY128" fmla="*/ 2607354 h 3892558"/>
                  <a:gd name="connsiteX129" fmla="*/ 1080023 w 1759274"/>
                  <a:gd name="connsiteY129" fmla="*/ 2629335 h 3892558"/>
                  <a:gd name="connsiteX130" fmla="*/ 1046473 w 1759274"/>
                  <a:gd name="connsiteY130" fmla="*/ 2642722 h 3892558"/>
                  <a:gd name="connsiteX131" fmla="*/ 1070106 w 1759274"/>
                  <a:gd name="connsiteY131" fmla="*/ 2684700 h 3892558"/>
                  <a:gd name="connsiteX132" fmla="*/ 1147453 w 1759274"/>
                  <a:gd name="connsiteY132" fmla="*/ 2656935 h 3892558"/>
                  <a:gd name="connsiteX133" fmla="*/ 1155882 w 1759274"/>
                  <a:gd name="connsiteY133" fmla="*/ 2654291 h 3892558"/>
                  <a:gd name="connsiteX134" fmla="*/ 1161996 w 1759274"/>
                  <a:gd name="connsiteY134" fmla="*/ 2669661 h 3892558"/>
                  <a:gd name="connsiteX135" fmla="*/ 1101508 w 1759274"/>
                  <a:gd name="connsiteY135" fmla="*/ 2696765 h 3892558"/>
                  <a:gd name="connsiteX136" fmla="*/ 938055 w 1759274"/>
                  <a:gd name="connsiteY136" fmla="*/ 2737752 h 3892558"/>
                  <a:gd name="connsiteX137" fmla="*/ 915248 w 1759274"/>
                  <a:gd name="connsiteY137" fmla="*/ 2744859 h 3892558"/>
                  <a:gd name="connsiteX138" fmla="*/ 906819 w 1759274"/>
                  <a:gd name="connsiteY138" fmla="*/ 2757419 h 3892558"/>
                  <a:gd name="connsiteX139" fmla="*/ 913099 w 1759274"/>
                  <a:gd name="connsiteY139" fmla="*/ 2780722 h 3892558"/>
                  <a:gd name="connsiteX140" fmla="*/ 937394 w 1759274"/>
                  <a:gd name="connsiteY140" fmla="*/ 2788655 h 3892558"/>
                  <a:gd name="connsiteX141" fmla="*/ 1073577 w 1759274"/>
                  <a:gd name="connsiteY141" fmla="*/ 2760394 h 3892558"/>
                  <a:gd name="connsiteX142" fmla="*/ 1149932 w 1759274"/>
                  <a:gd name="connsiteY142" fmla="*/ 2729489 h 3892558"/>
                  <a:gd name="connsiteX143" fmla="*/ 1174557 w 1759274"/>
                  <a:gd name="connsiteY143" fmla="*/ 2717259 h 3892558"/>
                  <a:gd name="connsiteX144" fmla="*/ 1175053 w 1759274"/>
                  <a:gd name="connsiteY144" fmla="*/ 2733620 h 3892558"/>
                  <a:gd name="connsiteX145" fmla="*/ 1175053 w 1759274"/>
                  <a:gd name="connsiteY145" fmla="*/ 2733620 h 3892558"/>
                  <a:gd name="connsiteX146" fmla="*/ 1210751 w 1759274"/>
                  <a:gd name="connsiteY146" fmla="*/ 2402419 h 3892558"/>
                  <a:gd name="connsiteX147" fmla="*/ 1182655 w 1759274"/>
                  <a:gd name="connsiteY147" fmla="*/ 2429689 h 3892558"/>
                  <a:gd name="connsiteX148" fmla="*/ 1102830 w 1759274"/>
                  <a:gd name="connsiteY148" fmla="*/ 2459933 h 3892558"/>
                  <a:gd name="connsiteX149" fmla="*/ 957557 w 1759274"/>
                  <a:gd name="connsiteY149" fmla="*/ 2484062 h 3892558"/>
                  <a:gd name="connsiteX150" fmla="*/ 936568 w 1759274"/>
                  <a:gd name="connsiteY150" fmla="*/ 2500589 h 3892558"/>
                  <a:gd name="connsiteX151" fmla="*/ 940369 w 1759274"/>
                  <a:gd name="connsiteY151" fmla="*/ 2524223 h 3892558"/>
                  <a:gd name="connsiteX152" fmla="*/ 978547 w 1759274"/>
                  <a:gd name="connsiteY152" fmla="*/ 2533478 h 3892558"/>
                  <a:gd name="connsiteX153" fmla="*/ 1159187 w 1759274"/>
                  <a:gd name="connsiteY153" fmla="*/ 2494309 h 3892558"/>
                  <a:gd name="connsiteX154" fmla="*/ 1175714 w 1759274"/>
                  <a:gd name="connsiteY154" fmla="*/ 2489351 h 3892558"/>
                  <a:gd name="connsiteX155" fmla="*/ 1170921 w 1759274"/>
                  <a:gd name="connsiteY155" fmla="*/ 2499763 h 3892558"/>
                  <a:gd name="connsiteX156" fmla="*/ 1170921 w 1759274"/>
                  <a:gd name="connsiteY156" fmla="*/ 2499763 h 3892558"/>
                  <a:gd name="connsiteX157" fmla="*/ 1144478 w 1759274"/>
                  <a:gd name="connsiteY157" fmla="*/ 2525215 h 3892558"/>
                  <a:gd name="connsiteX158" fmla="*/ 1056554 w 1759274"/>
                  <a:gd name="connsiteY158" fmla="*/ 2551162 h 3892558"/>
                  <a:gd name="connsiteX159" fmla="*/ 652964 w 1759274"/>
                  <a:gd name="connsiteY159" fmla="*/ 2533643 h 3892558"/>
                  <a:gd name="connsiteX160" fmla="*/ 597433 w 1759274"/>
                  <a:gd name="connsiteY160" fmla="*/ 2506374 h 3892558"/>
                  <a:gd name="connsiteX161" fmla="*/ 586526 w 1759274"/>
                  <a:gd name="connsiteY161" fmla="*/ 2494970 h 3892558"/>
                  <a:gd name="connsiteX162" fmla="*/ 577601 w 1759274"/>
                  <a:gd name="connsiteY162" fmla="*/ 2472163 h 3892558"/>
                  <a:gd name="connsiteX163" fmla="*/ 544712 w 1759274"/>
                  <a:gd name="connsiteY163" fmla="*/ 2382586 h 3892558"/>
                  <a:gd name="connsiteX164" fmla="*/ 563057 w 1759274"/>
                  <a:gd name="connsiteY164" fmla="*/ 2389693 h 3892558"/>
                  <a:gd name="connsiteX165" fmla="*/ 845173 w 1759274"/>
                  <a:gd name="connsiteY165" fmla="*/ 2453653 h 3892558"/>
                  <a:gd name="connsiteX166" fmla="*/ 1195547 w 1759274"/>
                  <a:gd name="connsiteY166" fmla="*/ 2397626 h 3892558"/>
                  <a:gd name="connsiteX167" fmla="*/ 1216370 w 1759274"/>
                  <a:gd name="connsiteY167" fmla="*/ 2387875 h 3892558"/>
                  <a:gd name="connsiteX168" fmla="*/ 1210751 w 1759274"/>
                  <a:gd name="connsiteY168" fmla="*/ 2402749 h 3892558"/>
                  <a:gd name="connsiteX169" fmla="*/ 1248433 w 1759274"/>
                  <a:gd name="connsiteY169" fmla="*/ 2286564 h 3892558"/>
                  <a:gd name="connsiteX170" fmla="*/ 1248433 w 1759274"/>
                  <a:gd name="connsiteY170" fmla="*/ 2286564 h 3892558"/>
                  <a:gd name="connsiteX171" fmla="*/ 1217031 w 1759274"/>
                  <a:gd name="connsiteY171" fmla="*/ 2317140 h 3892558"/>
                  <a:gd name="connsiteX172" fmla="*/ 1168773 w 1759274"/>
                  <a:gd name="connsiteY172" fmla="*/ 2346558 h 3892558"/>
                  <a:gd name="connsiteX173" fmla="*/ 892771 w 1759274"/>
                  <a:gd name="connsiteY173" fmla="*/ 2396800 h 3892558"/>
                  <a:gd name="connsiteX174" fmla="*/ 765348 w 1759274"/>
                  <a:gd name="connsiteY174" fmla="*/ 2387875 h 3892558"/>
                  <a:gd name="connsiteX175" fmla="*/ 613961 w 1759274"/>
                  <a:gd name="connsiteY175" fmla="*/ 2349532 h 3892558"/>
                  <a:gd name="connsiteX176" fmla="*/ 527028 w 1759274"/>
                  <a:gd name="connsiteY176" fmla="*/ 2292018 h 3892558"/>
                  <a:gd name="connsiteX177" fmla="*/ 510832 w 1759274"/>
                  <a:gd name="connsiteY177" fmla="*/ 2274996 h 3892558"/>
                  <a:gd name="connsiteX178" fmla="*/ 505708 w 1759274"/>
                  <a:gd name="connsiteY178" fmla="*/ 2258303 h 3892558"/>
                  <a:gd name="connsiteX179" fmla="*/ 477943 w 1759274"/>
                  <a:gd name="connsiteY179" fmla="*/ 2154018 h 3892558"/>
                  <a:gd name="connsiteX180" fmla="*/ 482901 w 1759274"/>
                  <a:gd name="connsiteY180" fmla="*/ 824419 h 3892558"/>
                  <a:gd name="connsiteX181" fmla="*/ 515129 w 1759274"/>
                  <a:gd name="connsiteY181" fmla="*/ 712200 h 3892558"/>
                  <a:gd name="connsiteX182" fmla="*/ 525045 w 1759274"/>
                  <a:gd name="connsiteY182" fmla="*/ 680468 h 3892558"/>
                  <a:gd name="connsiteX183" fmla="*/ 539589 w 1759274"/>
                  <a:gd name="connsiteY183" fmla="*/ 676502 h 3892558"/>
                  <a:gd name="connsiteX184" fmla="*/ 661228 w 1759274"/>
                  <a:gd name="connsiteY184" fmla="*/ 650720 h 3892558"/>
                  <a:gd name="connsiteX185" fmla="*/ 911777 w 1759274"/>
                  <a:gd name="connsiteY185" fmla="*/ 633531 h 3892558"/>
                  <a:gd name="connsiteX186" fmla="*/ 1212404 w 1759274"/>
                  <a:gd name="connsiteY186" fmla="*/ 672370 h 3892558"/>
                  <a:gd name="connsiteX187" fmla="*/ 1274546 w 1759274"/>
                  <a:gd name="connsiteY187" fmla="*/ 690219 h 3892558"/>
                  <a:gd name="connsiteX188" fmla="*/ 1286610 w 1759274"/>
                  <a:gd name="connsiteY188" fmla="*/ 729553 h 3892558"/>
                  <a:gd name="connsiteX189" fmla="*/ 1354041 w 1759274"/>
                  <a:gd name="connsiteY189" fmla="*/ 1047038 h 3892558"/>
                  <a:gd name="connsiteX190" fmla="*/ 1282148 w 1759274"/>
                  <a:gd name="connsiteY190" fmla="*/ 2182940 h 3892558"/>
                  <a:gd name="connsiteX191" fmla="*/ 1248763 w 1759274"/>
                  <a:gd name="connsiteY191" fmla="*/ 2286399 h 3892558"/>
                  <a:gd name="connsiteX192" fmla="*/ 1670533 w 1759274"/>
                  <a:gd name="connsiteY192" fmla="*/ 2618923 h 3892558"/>
                  <a:gd name="connsiteX193" fmla="*/ 1512700 w 1759274"/>
                  <a:gd name="connsiteY193" fmla="*/ 3058707 h 3892558"/>
                  <a:gd name="connsiteX194" fmla="*/ 1512700 w 1759274"/>
                  <a:gd name="connsiteY194" fmla="*/ 3058707 h 3892558"/>
                  <a:gd name="connsiteX195" fmla="*/ 1476340 w 1759274"/>
                  <a:gd name="connsiteY195" fmla="*/ 3093414 h 3892558"/>
                  <a:gd name="connsiteX196" fmla="*/ 1466094 w 1759274"/>
                  <a:gd name="connsiteY196" fmla="*/ 3083498 h 3892558"/>
                  <a:gd name="connsiteX197" fmla="*/ 1471878 w 1759274"/>
                  <a:gd name="connsiteY197" fmla="*/ 2974915 h 3892558"/>
                  <a:gd name="connsiteX198" fmla="*/ 1475680 w 1759274"/>
                  <a:gd name="connsiteY198" fmla="*/ 2913104 h 3892558"/>
                  <a:gd name="connsiteX199" fmla="*/ 1479315 w 1759274"/>
                  <a:gd name="connsiteY199" fmla="*/ 2852450 h 3892558"/>
                  <a:gd name="connsiteX200" fmla="*/ 1483943 w 1759274"/>
                  <a:gd name="connsiteY200" fmla="*/ 2778409 h 3892558"/>
                  <a:gd name="connsiteX201" fmla="*/ 1489397 w 1759274"/>
                  <a:gd name="connsiteY201" fmla="*/ 2688998 h 3892558"/>
                  <a:gd name="connsiteX202" fmla="*/ 1492702 w 1759274"/>
                  <a:gd name="connsiteY202" fmla="*/ 2634954 h 3892558"/>
                  <a:gd name="connsiteX203" fmla="*/ 1487909 w 1759274"/>
                  <a:gd name="connsiteY203" fmla="*/ 2570664 h 3892558"/>
                  <a:gd name="connsiteX204" fmla="*/ 1443617 w 1759274"/>
                  <a:gd name="connsiteY204" fmla="*/ 2482244 h 3892558"/>
                  <a:gd name="connsiteX205" fmla="*/ 1347925 w 1759274"/>
                  <a:gd name="connsiteY205" fmla="*/ 2396139 h 3892558"/>
                  <a:gd name="connsiteX206" fmla="*/ 1294543 w 1759274"/>
                  <a:gd name="connsiteY206" fmla="*/ 2351350 h 3892558"/>
                  <a:gd name="connsiteX207" fmla="*/ 1311236 w 1759274"/>
                  <a:gd name="connsiteY207" fmla="*/ 2286564 h 3892558"/>
                  <a:gd name="connsiteX208" fmla="*/ 1370072 w 1759274"/>
                  <a:gd name="connsiteY208" fmla="*/ 2066920 h 3892558"/>
                  <a:gd name="connsiteX209" fmla="*/ 1382632 w 1759274"/>
                  <a:gd name="connsiteY209" fmla="*/ 2016017 h 3892558"/>
                  <a:gd name="connsiteX210" fmla="*/ 1395854 w 1759274"/>
                  <a:gd name="connsiteY210" fmla="*/ 2008084 h 3892558"/>
                  <a:gd name="connsiteX211" fmla="*/ 1458822 w 1759274"/>
                  <a:gd name="connsiteY211" fmla="*/ 2062954 h 3892558"/>
                  <a:gd name="connsiteX212" fmla="*/ 1590707 w 1759274"/>
                  <a:gd name="connsiteY212" fmla="*/ 2225249 h 3892558"/>
                  <a:gd name="connsiteX213" fmla="*/ 1667723 w 1759274"/>
                  <a:gd name="connsiteY213" fmla="*/ 2350689 h 3892558"/>
                  <a:gd name="connsiteX214" fmla="*/ 1670533 w 1759274"/>
                  <a:gd name="connsiteY214" fmla="*/ 2619088 h 3892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</a:cxnLst>
                <a:rect l="l" t="t" r="r" b="b"/>
                <a:pathLst>
                  <a:path w="1759274" h="3892558">
                    <a:moveTo>
                      <a:pt x="1757135" y="2427871"/>
                    </a:moveTo>
                    <a:cubicBezTo>
                      <a:pt x="1752672" y="2385231"/>
                      <a:pt x="1740112" y="2353334"/>
                      <a:pt x="1702430" y="2290861"/>
                    </a:cubicBezTo>
                    <a:cubicBezTo>
                      <a:pt x="1655989" y="2213515"/>
                      <a:pt x="1599632" y="2136334"/>
                      <a:pt x="1533854" y="2059648"/>
                    </a:cubicBezTo>
                    <a:cubicBezTo>
                      <a:pt x="1504436" y="2025437"/>
                      <a:pt x="1450558" y="1970402"/>
                      <a:pt x="1429239" y="1952884"/>
                    </a:cubicBezTo>
                    <a:cubicBezTo>
                      <a:pt x="1412050" y="1938670"/>
                      <a:pt x="1405440" y="1931068"/>
                      <a:pt x="1402795" y="1921978"/>
                    </a:cubicBezTo>
                    <a:cubicBezTo>
                      <a:pt x="1400647" y="1914376"/>
                      <a:pt x="1400977" y="1908591"/>
                      <a:pt x="1406596" y="1872397"/>
                    </a:cubicBezTo>
                    <a:cubicBezTo>
                      <a:pt x="1431718" y="1709771"/>
                      <a:pt x="1443121" y="1523677"/>
                      <a:pt x="1437998" y="1357250"/>
                    </a:cubicBezTo>
                    <a:cubicBezTo>
                      <a:pt x="1422793" y="865075"/>
                      <a:pt x="1286941" y="423638"/>
                      <a:pt x="1053083" y="106485"/>
                    </a:cubicBezTo>
                    <a:cubicBezTo>
                      <a:pt x="1009617" y="47483"/>
                      <a:pt x="988132" y="26990"/>
                      <a:pt x="952599" y="10793"/>
                    </a:cubicBezTo>
                    <a:cubicBezTo>
                      <a:pt x="917397" y="-5403"/>
                      <a:pt x="884838" y="-3420"/>
                      <a:pt x="847653" y="17073"/>
                    </a:cubicBezTo>
                    <a:cubicBezTo>
                      <a:pt x="821044" y="31782"/>
                      <a:pt x="803360" y="48475"/>
                      <a:pt x="769976" y="90619"/>
                    </a:cubicBezTo>
                    <a:cubicBezTo>
                      <a:pt x="677424" y="207630"/>
                      <a:pt x="600243" y="339681"/>
                      <a:pt x="535127" y="492225"/>
                    </a:cubicBezTo>
                    <a:cubicBezTo>
                      <a:pt x="417785" y="767070"/>
                      <a:pt x="352338" y="1084223"/>
                      <a:pt x="343248" y="1422036"/>
                    </a:cubicBezTo>
                    <a:cubicBezTo>
                      <a:pt x="341926" y="1472113"/>
                      <a:pt x="342256" y="1555739"/>
                      <a:pt x="343909" y="1593256"/>
                    </a:cubicBezTo>
                    <a:cubicBezTo>
                      <a:pt x="344239" y="1600362"/>
                      <a:pt x="345066" y="1618377"/>
                      <a:pt x="345562" y="1633416"/>
                    </a:cubicBezTo>
                    <a:cubicBezTo>
                      <a:pt x="348206" y="1694897"/>
                      <a:pt x="355808" y="1782160"/>
                      <a:pt x="365394" y="1859671"/>
                    </a:cubicBezTo>
                    <a:cubicBezTo>
                      <a:pt x="370683" y="1902146"/>
                      <a:pt x="370683" y="1902311"/>
                      <a:pt x="367543" y="1911731"/>
                    </a:cubicBezTo>
                    <a:cubicBezTo>
                      <a:pt x="364898" y="1919665"/>
                      <a:pt x="357131" y="1927432"/>
                      <a:pt x="329696" y="1950074"/>
                    </a:cubicBezTo>
                    <a:cubicBezTo>
                      <a:pt x="262100" y="2005440"/>
                      <a:pt x="150212" y="2135507"/>
                      <a:pt x="81294" y="2238967"/>
                    </a:cubicBezTo>
                    <a:cubicBezTo>
                      <a:pt x="34854" y="2308545"/>
                      <a:pt x="14691" y="2347880"/>
                      <a:pt x="6592" y="2383743"/>
                    </a:cubicBezTo>
                    <a:cubicBezTo>
                      <a:pt x="-680" y="2416302"/>
                      <a:pt x="-2002" y="2452991"/>
                      <a:pt x="2956" y="2486376"/>
                    </a:cubicBezTo>
                    <a:cubicBezTo>
                      <a:pt x="6427" y="2509679"/>
                      <a:pt x="19483" y="2574630"/>
                      <a:pt x="28904" y="2615452"/>
                    </a:cubicBezTo>
                    <a:cubicBezTo>
                      <a:pt x="74684" y="2813776"/>
                      <a:pt x="140461" y="3006812"/>
                      <a:pt x="189051" y="3085150"/>
                    </a:cubicBezTo>
                    <a:cubicBezTo>
                      <a:pt x="207891" y="3115560"/>
                      <a:pt x="219791" y="3127129"/>
                      <a:pt x="239789" y="3134401"/>
                    </a:cubicBezTo>
                    <a:cubicBezTo>
                      <a:pt x="267554" y="3144647"/>
                      <a:pt x="295154" y="3138367"/>
                      <a:pt x="314821" y="3117378"/>
                    </a:cubicBezTo>
                    <a:cubicBezTo>
                      <a:pt x="327382" y="3103991"/>
                      <a:pt x="333166" y="3090108"/>
                      <a:pt x="335315" y="3067962"/>
                    </a:cubicBezTo>
                    <a:cubicBezTo>
                      <a:pt x="336141" y="3060690"/>
                      <a:pt x="333993" y="2993590"/>
                      <a:pt x="331018" y="2928639"/>
                    </a:cubicBezTo>
                    <a:cubicBezTo>
                      <a:pt x="330522" y="2918558"/>
                      <a:pt x="329200" y="2884677"/>
                      <a:pt x="328043" y="2853276"/>
                    </a:cubicBezTo>
                    <a:cubicBezTo>
                      <a:pt x="326886" y="2822040"/>
                      <a:pt x="325564" y="2784524"/>
                      <a:pt x="324903" y="2770145"/>
                    </a:cubicBezTo>
                    <a:cubicBezTo>
                      <a:pt x="320275" y="2651151"/>
                      <a:pt x="320275" y="2640408"/>
                      <a:pt x="323911" y="2601735"/>
                    </a:cubicBezTo>
                    <a:cubicBezTo>
                      <a:pt x="328869" y="2551162"/>
                      <a:pt x="334488" y="2534966"/>
                      <a:pt x="356635" y="2508192"/>
                    </a:cubicBezTo>
                    <a:cubicBezTo>
                      <a:pt x="368699" y="2493648"/>
                      <a:pt x="377293" y="2485880"/>
                      <a:pt x="414314" y="2456462"/>
                    </a:cubicBezTo>
                    <a:cubicBezTo>
                      <a:pt x="432659" y="2441918"/>
                      <a:pt x="456623" y="2422747"/>
                      <a:pt x="467696" y="2413988"/>
                    </a:cubicBezTo>
                    <a:cubicBezTo>
                      <a:pt x="478604" y="2405228"/>
                      <a:pt x="487859" y="2398122"/>
                      <a:pt x="488520" y="2398122"/>
                    </a:cubicBezTo>
                    <a:cubicBezTo>
                      <a:pt x="489016" y="2398122"/>
                      <a:pt x="491330" y="2403741"/>
                      <a:pt x="493644" y="2410517"/>
                    </a:cubicBezTo>
                    <a:cubicBezTo>
                      <a:pt x="500254" y="2429854"/>
                      <a:pt x="516947" y="2474311"/>
                      <a:pt x="527028" y="2500094"/>
                    </a:cubicBezTo>
                    <a:cubicBezTo>
                      <a:pt x="537936" y="2527859"/>
                      <a:pt x="544051" y="2537775"/>
                      <a:pt x="557438" y="2550005"/>
                    </a:cubicBezTo>
                    <a:lnTo>
                      <a:pt x="567024" y="2558765"/>
                    </a:lnTo>
                    <a:lnTo>
                      <a:pt x="541737" y="2630161"/>
                    </a:lnTo>
                    <a:cubicBezTo>
                      <a:pt x="515129" y="2705359"/>
                      <a:pt x="511328" y="2719407"/>
                      <a:pt x="513311" y="2736761"/>
                    </a:cubicBezTo>
                    <a:cubicBezTo>
                      <a:pt x="515625" y="2756593"/>
                      <a:pt x="529507" y="2775599"/>
                      <a:pt x="553141" y="2791300"/>
                    </a:cubicBezTo>
                    <a:cubicBezTo>
                      <a:pt x="559586" y="2795597"/>
                      <a:pt x="565040" y="2799233"/>
                      <a:pt x="564875" y="2799729"/>
                    </a:cubicBezTo>
                    <a:cubicBezTo>
                      <a:pt x="564875" y="2800059"/>
                      <a:pt x="561074" y="2807331"/>
                      <a:pt x="556612" y="2815925"/>
                    </a:cubicBezTo>
                    <a:cubicBezTo>
                      <a:pt x="536284" y="2854598"/>
                      <a:pt x="517608" y="2917236"/>
                      <a:pt x="512154" y="2964999"/>
                    </a:cubicBezTo>
                    <a:cubicBezTo>
                      <a:pt x="509344" y="2989789"/>
                      <a:pt x="508518" y="3049782"/>
                      <a:pt x="510832" y="3075895"/>
                    </a:cubicBezTo>
                    <a:cubicBezTo>
                      <a:pt x="515294" y="3128451"/>
                      <a:pt x="532813" y="3202823"/>
                      <a:pt x="553967" y="3258519"/>
                    </a:cubicBezTo>
                    <a:cubicBezTo>
                      <a:pt x="570825" y="3302976"/>
                      <a:pt x="605532" y="3372555"/>
                      <a:pt x="658583" y="3467751"/>
                    </a:cubicBezTo>
                    <a:cubicBezTo>
                      <a:pt x="673953" y="3495351"/>
                      <a:pt x="692464" y="3529727"/>
                      <a:pt x="699736" y="3543940"/>
                    </a:cubicBezTo>
                    <a:cubicBezTo>
                      <a:pt x="747333" y="3637318"/>
                      <a:pt x="790304" y="3742926"/>
                      <a:pt x="820383" y="3840270"/>
                    </a:cubicBezTo>
                    <a:cubicBezTo>
                      <a:pt x="830795" y="3874150"/>
                      <a:pt x="834927" y="3882083"/>
                      <a:pt x="845504" y="3888198"/>
                    </a:cubicBezTo>
                    <a:cubicBezTo>
                      <a:pt x="853933" y="3893157"/>
                      <a:pt x="867650" y="3893983"/>
                      <a:pt x="876740" y="3890182"/>
                    </a:cubicBezTo>
                    <a:lnTo>
                      <a:pt x="876740" y="3890182"/>
                    </a:lnTo>
                    <a:cubicBezTo>
                      <a:pt x="888970" y="3885058"/>
                      <a:pt x="894754" y="3875142"/>
                      <a:pt x="906324" y="3839278"/>
                    </a:cubicBezTo>
                    <a:cubicBezTo>
                      <a:pt x="928966" y="3769369"/>
                      <a:pt x="967474" y="3676652"/>
                      <a:pt x="1004329" y="3603272"/>
                    </a:cubicBezTo>
                    <a:cubicBezTo>
                      <a:pt x="1026805" y="3558319"/>
                      <a:pt x="1043002" y="3528736"/>
                      <a:pt x="1071098" y="3480973"/>
                    </a:cubicBezTo>
                    <a:cubicBezTo>
                      <a:pt x="1156708" y="3335204"/>
                      <a:pt x="1182325" y="3283640"/>
                      <a:pt x="1204802" y="3211251"/>
                    </a:cubicBezTo>
                    <a:cubicBezTo>
                      <a:pt x="1228766" y="3134401"/>
                      <a:pt x="1236533" y="3083993"/>
                      <a:pt x="1235707" y="3013423"/>
                    </a:cubicBezTo>
                    <a:cubicBezTo>
                      <a:pt x="1235046" y="2965329"/>
                      <a:pt x="1230419" y="2933102"/>
                      <a:pt x="1217031" y="2886330"/>
                    </a:cubicBezTo>
                    <a:cubicBezTo>
                      <a:pt x="1210421" y="2863192"/>
                      <a:pt x="1202818" y="2843194"/>
                      <a:pt x="1193233" y="2823693"/>
                    </a:cubicBezTo>
                    <a:cubicBezTo>
                      <a:pt x="1189101" y="2815594"/>
                      <a:pt x="1185795" y="2808157"/>
                      <a:pt x="1185795" y="2807331"/>
                    </a:cubicBezTo>
                    <a:cubicBezTo>
                      <a:pt x="1185795" y="2806505"/>
                      <a:pt x="1191249" y="2802373"/>
                      <a:pt x="1198025" y="2798241"/>
                    </a:cubicBezTo>
                    <a:cubicBezTo>
                      <a:pt x="1212735" y="2789151"/>
                      <a:pt x="1220337" y="2782210"/>
                      <a:pt x="1228435" y="2770476"/>
                    </a:cubicBezTo>
                    <a:cubicBezTo>
                      <a:pt x="1238517" y="2755767"/>
                      <a:pt x="1240996" y="2741058"/>
                      <a:pt x="1237029" y="2718911"/>
                    </a:cubicBezTo>
                    <a:cubicBezTo>
                      <a:pt x="1235872" y="2712300"/>
                      <a:pt x="1224634" y="2675445"/>
                      <a:pt x="1212074" y="2636772"/>
                    </a:cubicBezTo>
                    <a:lnTo>
                      <a:pt x="1189266" y="2566532"/>
                    </a:lnTo>
                    <a:lnTo>
                      <a:pt x="1197034" y="2559591"/>
                    </a:lnTo>
                    <a:cubicBezTo>
                      <a:pt x="1207281" y="2550666"/>
                      <a:pt x="1216701" y="2538106"/>
                      <a:pt x="1222320" y="2526206"/>
                    </a:cubicBezTo>
                    <a:cubicBezTo>
                      <a:pt x="1229096" y="2511828"/>
                      <a:pt x="1249425" y="2461916"/>
                      <a:pt x="1260498" y="2432994"/>
                    </a:cubicBezTo>
                    <a:cubicBezTo>
                      <a:pt x="1265786" y="2418946"/>
                      <a:pt x="1270579" y="2407377"/>
                      <a:pt x="1271240" y="2407377"/>
                    </a:cubicBezTo>
                    <a:cubicBezTo>
                      <a:pt x="1271736" y="2407377"/>
                      <a:pt x="1294213" y="2425557"/>
                      <a:pt x="1321152" y="2447868"/>
                    </a:cubicBezTo>
                    <a:cubicBezTo>
                      <a:pt x="1415852" y="2526206"/>
                      <a:pt x="1425272" y="2540254"/>
                      <a:pt x="1430561" y="2611320"/>
                    </a:cubicBezTo>
                    <a:cubicBezTo>
                      <a:pt x="1433866" y="2654787"/>
                      <a:pt x="1433370" y="2668339"/>
                      <a:pt x="1421801" y="2850797"/>
                    </a:cubicBezTo>
                    <a:cubicBezTo>
                      <a:pt x="1420644" y="2868977"/>
                      <a:pt x="1417669" y="2916244"/>
                      <a:pt x="1415356" y="2955744"/>
                    </a:cubicBezTo>
                    <a:cubicBezTo>
                      <a:pt x="1413042" y="2995243"/>
                      <a:pt x="1410232" y="3037883"/>
                      <a:pt x="1409406" y="3050443"/>
                    </a:cubicBezTo>
                    <a:cubicBezTo>
                      <a:pt x="1406596" y="3092422"/>
                      <a:pt x="1411555" y="3112585"/>
                      <a:pt x="1429569" y="3131426"/>
                    </a:cubicBezTo>
                    <a:cubicBezTo>
                      <a:pt x="1448410" y="3151258"/>
                      <a:pt x="1473200" y="3157869"/>
                      <a:pt x="1499644" y="3149936"/>
                    </a:cubicBezTo>
                    <a:cubicBezTo>
                      <a:pt x="1522451" y="3143160"/>
                      <a:pt x="1534185" y="3132583"/>
                      <a:pt x="1555174" y="3100520"/>
                    </a:cubicBezTo>
                    <a:cubicBezTo>
                      <a:pt x="1610870" y="3014910"/>
                      <a:pt x="1689870" y="2791630"/>
                      <a:pt x="1739285" y="2580250"/>
                    </a:cubicBezTo>
                    <a:cubicBezTo>
                      <a:pt x="1758953" y="2496292"/>
                      <a:pt x="1761927" y="2471171"/>
                      <a:pt x="1757465" y="2427871"/>
                    </a:cubicBezTo>
                    <a:close/>
                    <a:moveTo>
                      <a:pt x="607515" y="469418"/>
                    </a:moveTo>
                    <a:cubicBezTo>
                      <a:pt x="662550" y="350258"/>
                      <a:pt x="724526" y="244816"/>
                      <a:pt x="793940" y="153091"/>
                    </a:cubicBezTo>
                    <a:cubicBezTo>
                      <a:pt x="834100" y="99874"/>
                      <a:pt x="862196" y="73761"/>
                      <a:pt x="889962" y="64341"/>
                    </a:cubicBezTo>
                    <a:cubicBezTo>
                      <a:pt x="906819" y="58556"/>
                      <a:pt x="920867" y="61035"/>
                      <a:pt x="942352" y="73761"/>
                    </a:cubicBezTo>
                    <a:cubicBezTo>
                      <a:pt x="951773" y="79546"/>
                      <a:pt x="955078" y="82190"/>
                      <a:pt x="975241" y="103510"/>
                    </a:cubicBezTo>
                    <a:cubicBezTo>
                      <a:pt x="998710" y="128466"/>
                      <a:pt x="1007634" y="140034"/>
                      <a:pt x="1041515" y="189781"/>
                    </a:cubicBezTo>
                    <a:cubicBezTo>
                      <a:pt x="1097211" y="271590"/>
                      <a:pt x="1151089" y="370586"/>
                      <a:pt x="1193894" y="469583"/>
                    </a:cubicBezTo>
                    <a:lnTo>
                      <a:pt x="1193894" y="469583"/>
                    </a:lnTo>
                    <a:cubicBezTo>
                      <a:pt x="1200009" y="483797"/>
                      <a:pt x="1204967" y="496192"/>
                      <a:pt x="1204967" y="497183"/>
                    </a:cubicBezTo>
                    <a:cubicBezTo>
                      <a:pt x="1204967" y="498175"/>
                      <a:pt x="1199017" y="497514"/>
                      <a:pt x="1191580" y="495696"/>
                    </a:cubicBezTo>
                    <a:cubicBezTo>
                      <a:pt x="1142495" y="483136"/>
                      <a:pt x="1077048" y="472723"/>
                      <a:pt x="1018211" y="468096"/>
                    </a:cubicBezTo>
                    <a:cubicBezTo>
                      <a:pt x="986975" y="465617"/>
                      <a:pt x="902357" y="461485"/>
                      <a:pt x="897234" y="462146"/>
                    </a:cubicBezTo>
                    <a:cubicBezTo>
                      <a:pt x="895250" y="462477"/>
                      <a:pt x="880376" y="462807"/>
                      <a:pt x="864180" y="462807"/>
                    </a:cubicBezTo>
                    <a:cubicBezTo>
                      <a:pt x="831952" y="463138"/>
                      <a:pt x="778404" y="465452"/>
                      <a:pt x="747829" y="467931"/>
                    </a:cubicBezTo>
                    <a:cubicBezTo>
                      <a:pt x="713288" y="470740"/>
                      <a:pt x="649824" y="480491"/>
                      <a:pt x="613961" y="488589"/>
                    </a:cubicBezTo>
                    <a:cubicBezTo>
                      <a:pt x="605697" y="490407"/>
                      <a:pt x="598921" y="491234"/>
                      <a:pt x="598921" y="490242"/>
                    </a:cubicBezTo>
                    <a:cubicBezTo>
                      <a:pt x="598921" y="489251"/>
                      <a:pt x="602887" y="479995"/>
                      <a:pt x="607680" y="469749"/>
                    </a:cubicBezTo>
                    <a:close/>
                    <a:moveTo>
                      <a:pt x="467366" y="2340608"/>
                    </a:moveTo>
                    <a:cubicBezTo>
                      <a:pt x="466044" y="2341930"/>
                      <a:pt x="444228" y="2359449"/>
                      <a:pt x="418776" y="2379612"/>
                    </a:cubicBezTo>
                    <a:cubicBezTo>
                      <a:pt x="343744" y="2439274"/>
                      <a:pt x="336141" y="2445720"/>
                      <a:pt x="316639" y="2466874"/>
                    </a:cubicBezTo>
                    <a:cubicBezTo>
                      <a:pt x="283420" y="2502738"/>
                      <a:pt x="270859" y="2529181"/>
                      <a:pt x="264910" y="2575126"/>
                    </a:cubicBezTo>
                    <a:cubicBezTo>
                      <a:pt x="261770" y="2600082"/>
                      <a:pt x="261439" y="2613138"/>
                      <a:pt x="263092" y="2654291"/>
                    </a:cubicBezTo>
                    <a:cubicBezTo>
                      <a:pt x="265901" y="2723208"/>
                      <a:pt x="267223" y="2759568"/>
                      <a:pt x="268215" y="2787829"/>
                    </a:cubicBezTo>
                    <a:cubicBezTo>
                      <a:pt x="268711" y="2802869"/>
                      <a:pt x="269703" y="2828485"/>
                      <a:pt x="270364" y="2844847"/>
                    </a:cubicBezTo>
                    <a:cubicBezTo>
                      <a:pt x="271686" y="2877901"/>
                      <a:pt x="272512" y="2898064"/>
                      <a:pt x="274165" y="2945166"/>
                    </a:cubicBezTo>
                    <a:cubicBezTo>
                      <a:pt x="274826" y="2962685"/>
                      <a:pt x="275652" y="2984666"/>
                      <a:pt x="276148" y="2994086"/>
                    </a:cubicBezTo>
                    <a:cubicBezTo>
                      <a:pt x="277635" y="3025488"/>
                      <a:pt x="278462" y="3060360"/>
                      <a:pt x="277801" y="3066309"/>
                    </a:cubicBezTo>
                    <a:lnTo>
                      <a:pt x="277801" y="3066309"/>
                    </a:lnTo>
                    <a:cubicBezTo>
                      <a:pt x="276644" y="3077217"/>
                      <a:pt x="265075" y="3082836"/>
                      <a:pt x="255820" y="3077052"/>
                    </a:cubicBezTo>
                    <a:cubicBezTo>
                      <a:pt x="242763" y="3068788"/>
                      <a:pt x="213511" y="3012927"/>
                      <a:pt x="188059" y="2947150"/>
                    </a:cubicBezTo>
                    <a:cubicBezTo>
                      <a:pt x="143271" y="2831956"/>
                      <a:pt x="96004" y="2666190"/>
                      <a:pt x="70221" y="2534139"/>
                    </a:cubicBezTo>
                    <a:cubicBezTo>
                      <a:pt x="60966" y="2486376"/>
                      <a:pt x="58322" y="2440762"/>
                      <a:pt x="63280" y="2413327"/>
                    </a:cubicBezTo>
                    <a:cubicBezTo>
                      <a:pt x="69230" y="2381099"/>
                      <a:pt x="91541" y="2329535"/>
                      <a:pt x="117323" y="2288713"/>
                    </a:cubicBezTo>
                    <a:cubicBezTo>
                      <a:pt x="157484" y="2225084"/>
                      <a:pt x="227559" y="2135507"/>
                      <a:pt x="288709" y="2069730"/>
                    </a:cubicBezTo>
                    <a:cubicBezTo>
                      <a:pt x="311351" y="2045435"/>
                      <a:pt x="355313" y="2002795"/>
                      <a:pt x="361923" y="1998664"/>
                    </a:cubicBezTo>
                    <a:cubicBezTo>
                      <a:pt x="364568" y="1997011"/>
                      <a:pt x="369526" y="1995689"/>
                      <a:pt x="373162" y="1995689"/>
                    </a:cubicBezTo>
                    <a:cubicBezTo>
                      <a:pt x="383904" y="1995689"/>
                      <a:pt x="387706" y="2002134"/>
                      <a:pt x="392168" y="2028578"/>
                    </a:cubicBezTo>
                    <a:cubicBezTo>
                      <a:pt x="404728" y="2101627"/>
                      <a:pt x="439435" y="2241611"/>
                      <a:pt x="464556" y="2321271"/>
                    </a:cubicBezTo>
                    <a:cubicBezTo>
                      <a:pt x="469018" y="2335154"/>
                      <a:pt x="469514" y="2338624"/>
                      <a:pt x="467531" y="2340442"/>
                    </a:cubicBezTo>
                    <a:close/>
                    <a:moveTo>
                      <a:pt x="1175218" y="2733620"/>
                    </a:moveTo>
                    <a:cubicBezTo>
                      <a:pt x="1170756" y="2749156"/>
                      <a:pt x="1157039" y="2758741"/>
                      <a:pt x="1116547" y="2774773"/>
                    </a:cubicBezTo>
                    <a:cubicBezTo>
                      <a:pt x="1048125" y="2801877"/>
                      <a:pt x="971936" y="2818404"/>
                      <a:pt x="899217" y="2821875"/>
                    </a:cubicBezTo>
                    <a:cubicBezTo>
                      <a:pt x="824349" y="2825511"/>
                      <a:pt x="722047" y="2805843"/>
                      <a:pt x="642222" y="2772459"/>
                    </a:cubicBezTo>
                    <a:cubicBezTo>
                      <a:pt x="579254" y="2746181"/>
                      <a:pt x="569503" y="2734943"/>
                      <a:pt x="578923" y="2699575"/>
                    </a:cubicBezTo>
                    <a:cubicBezTo>
                      <a:pt x="582559" y="2686353"/>
                      <a:pt x="618919" y="2582729"/>
                      <a:pt x="619910" y="2582729"/>
                    </a:cubicBezTo>
                    <a:cubicBezTo>
                      <a:pt x="620241" y="2582729"/>
                      <a:pt x="625199" y="2584381"/>
                      <a:pt x="630818" y="2586530"/>
                    </a:cubicBezTo>
                    <a:cubicBezTo>
                      <a:pt x="671474" y="2601239"/>
                      <a:pt x="737748" y="2615452"/>
                      <a:pt x="798898" y="2622724"/>
                    </a:cubicBezTo>
                    <a:cubicBezTo>
                      <a:pt x="897895" y="2634293"/>
                      <a:pt x="1014906" y="2624377"/>
                      <a:pt x="1110102" y="2596446"/>
                    </a:cubicBezTo>
                    <a:cubicBezTo>
                      <a:pt x="1122993" y="2592645"/>
                      <a:pt x="1134231" y="2589339"/>
                      <a:pt x="1134892" y="2589174"/>
                    </a:cubicBezTo>
                    <a:cubicBezTo>
                      <a:pt x="1136380" y="2588844"/>
                      <a:pt x="1141999" y="2606032"/>
                      <a:pt x="1140677" y="2607354"/>
                    </a:cubicBezTo>
                    <a:cubicBezTo>
                      <a:pt x="1137702" y="2610164"/>
                      <a:pt x="1104482" y="2622228"/>
                      <a:pt x="1080023" y="2629335"/>
                    </a:cubicBezTo>
                    <a:cubicBezTo>
                      <a:pt x="1055728" y="2636441"/>
                      <a:pt x="1051265" y="2638259"/>
                      <a:pt x="1046473" y="2642722"/>
                    </a:cubicBezTo>
                    <a:cubicBezTo>
                      <a:pt x="1028128" y="2660075"/>
                      <a:pt x="1044324" y="2688832"/>
                      <a:pt x="1070106" y="2684700"/>
                    </a:cubicBezTo>
                    <a:cubicBezTo>
                      <a:pt x="1086303" y="2682221"/>
                      <a:pt x="1129438" y="2666686"/>
                      <a:pt x="1147453" y="2656935"/>
                    </a:cubicBezTo>
                    <a:cubicBezTo>
                      <a:pt x="1151089" y="2654952"/>
                      <a:pt x="1154890" y="2653795"/>
                      <a:pt x="1155882" y="2654291"/>
                    </a:cubicBezTo>
                    <a:cubicBezTo>
                      <a:pt x="1157204" y="2654952"/>
                      <a:pt x="1161831" y="2666355"/>
                      <a:pt x="1161996" y="2669661"/>
                    </a:cubicBezTo>
                    <a:cubicBezTo>
                      <a:pt x="1161996" y="2670487"/>
                      <a:pt x="1120183" y="2689163"/>
                      <a:pt x="1101508" y="2696765"/>
                    </a:cubicBezTo>
                    <a:cubicBezTo>
                      <a:pt x="1058207" y="2714449"/>
                      <a:pt x="991603" y="2731141"/>
                      <a:pt x="938055" y="2737752"/>
                    </a:cubicBezTo>
                    <a:cubicBezTo>
                      <a:pt x="923677" y="2739570"/>
                      <a:pt x="920867" y="2740397"/>
                      <a:pt x="915248" y="2744859"/>
                    </a:cubicBezTo>
                    <a:cubicBezTo>
                      <a:pt x="909959" y="2748990"/>
                      <a:pt x="908637" y="2751139"/>
                      <a:pt x="906819" y="2757419"/>
                    </a:cubicBezTo>
                    <a:cubicBezTo>
                      <a:pt x="904340" y="2766179"/>
                      <a:pt x="906324" y="2773616"/>
                      <a:pt x="913099" y="2780722"/>
                    </a:cubicBezTo>
                    <a:cubicBezTo>
                      <a:pt x="919380" y="2787333"/>
                      <a:pt x="924669" y="2788986"/>
                      <a:pt x="937394" y="2788655"/>
                    </a:cubicBezTo>
                    <a:cubicBezTo>
                      <a:pt x="961358" y="2787994"/>
                      <a:pt x="1032425" y="2773285"/>
                      <a:pt x="1073577" y="2760394"/>
                    </a:cubicBezTo>
                    <a:cubicBezTo>
                      <a:pt x="1107788" y="2749652"/>
                      <a:pt x="1122001" y="2744032"/>
                      <a:pt x="1149932" y="2729489"/>
                    </a:cubicBezTo>
                    <a:cubicBezTo>
                      <a:pt x="1162823" y="2722713"/>
                      <a:pt x="1173896" y="2717259"/>
                      <a:pt x="1174557" y="2717259"/>
                    </a:cubicBezTo>
                    <a:cubicBezTo>
                      <a:pt x="1176871" y="2717259"/>
                      <a:pt x="1177202" y="2726349"/>
                      <a:pt x="1175053" y="2733620"/>
                    </a:cubicBezTo>
                    <a:lnTo>
                      <a:pt x="1175053" y="2733620"/>
                    </a:lnTo>
                    <a:close/>
                    <a:moveTo>
                      <a:pt x="1210751" y="2402419"/>
                    </a:moveTo>
                    <a:cubicBezTo>
                      <a:pt x="1204471" y="2419442"/>
                      <a:pt x="1204802" y="2419111"/>
                      <a:pt x="1182655" y="2429689"/>
                    </a:cubicBezTo>
                    <a:cubicBezTo>
                      <a:pt x="1167616" y="2436960"/>
                      <a:pt x="1123489" y="2453653"/>
                      <a:pt x="1102830" y="2459933"/>
                    </a:cubicBezTo>
                    <a:cubicBezTo>
                      <a:pt x="1064652" y="2471502"/>
                      <a:pt x="1015567" y="2479600"/>
                      <a:pt x="957557" y="2484062"/>
                    </a:cubicBezTo>
                    <a:cubicBezTo>
                      <a:pt x="949955" y="2484558"/>
                      <a:pt x="939212" y="2493152"/>
                      <a:pt x="936568" y="2500589"/>
                    </a:cubicBezTo>
                    <a:cubicBezTo>
                      <a:pt x="934089" y="2507861"/>
                      <a:pt x="935576" y="2517943"/>
                      <a:pt x="940369" y="2524223"/>
                    </a:cubicBezTo>
                    <a:cubicBezTo>
                      <a:pt x="947145" y="2533148"/>
                      <a:pt x="955574" y="2535296"/>
                      <a:pt x="978547" y="2533478"/>
                    </a:cubicBezTo>
                    <a:cubicBezTo>
                      <a:pt x="1043332" y="2528685"/>
                      <a:pt x="1107292" y="2514803"/>
                      <a:pt x="1159187" y="2494309"/>
                    </a:cubicBezTo>
                    <a:cubicBezTo>
                      <a:pt x="1168112" y="2490838"/>
                      <a:pt x="1175549" y="2488525"/>
                      <a:pt x="1175714" y="2489351"/>
                    </a:cubicBezTo>
                    <a:cubicBezTo>
                      <a:pt x="1175714" y="2490177"/>
                      <a:pt x="1173731" y="2494805"/>
                      <a:pt x="1170921" y="2499763"/>
                    </a:cubicBezTo>
                    <a:lnTo>
                      <a:pt x="1170921" y="2499763"/>
                    </a:lnTo>
                    <a:cubicBezTo>
                      <a:pt x="1164806" y="2510836"/>
                      <a:pt x="1155055" y="2520091"/>
                      <a:pt x="1144478" y="2525215"/>
                    </a:cubicBezTo>
                    <a:cubicBezTo>
                      <a:pt x="1133240" y="2530503"/>
                      <a:pt x="1085642" y="2544551"/>
                      <a:pt x="1056554" y="2551162"/>
                    </a:cubicBezTo>
                    <a:cubicBezTo>
                      <a:pt x="922355" y="2581076"/>
                      <a:pt x="780883" y="2574961"/>
                      <a:pt x="652964" y="2533643"/>
                    </a:cubicBezTo>
                    <a:cubicBezTo>
                      <a:pt x="611316" y="2520257"/>
                      <a:pt x="609994" y="2519430"/>
                      <a:pt x="597433" y="2506374"/>
                    </a:cubicBezTo>
                    <a:lnTo>
                      <a:pt x="586526" y="2494970"/>
                    </a:lnTo>
                    <a:lnTo>
                      <a:pt x="577601" y="2472163"/>
                    </a:lnTo>
                    <a:cubicBezTo>
                      <a:pt x="568842" y="2449852"/>
                      <a:pt x="546034" y="2387545"/>
                      <a:pt x="544712" y="2382586"/>
                    </a:cubicBezTo>
                    <a:cubicBezTo>
                      <a:pt x="544216" y="2380768"/>
                      <a:pt x="549836" y="2382917"/>
                      <a:pt x="563057" y="2389693"/>
                    </a:cubicBezTo>
                    <a:cubicBezTo>
                      <a:pt x="632140" y="2424400"/>
                      <a:pt x="736426" y="2448034"/>
                      <a:pt x="845173" y="2453653"/>
                    </a:cubicBezTo>
                    <a:cubicBezTo>
                      <a:pt x="971275" y="2460263"/>
                      <a:pt x="1109771" y="2437952"/>
                      <a:pt x="1195547" y="2397626"/>
                    </a:cubicBezTo>
                    <a:lnTo>
                      <a:pt x="1216370" y="2387875"/>
                    </a:lnTo>
                    <a:lnTo>
                      <a:pt x="1210751" y="2402749"/>
                    </a:lnTo>
                    <a:close/>
                    <a:moveTo>
                      <a:pt x="1248433" y="2286564"/>
                    </a:moveTo>
                    <a:lnTo>
                      <a:pt x="1248433" y="2286564"/>
                    </a:lnTo>
                    <a:cubicBezTo>
                      <a:pt x="1243805" y="2293010"/>
                      <a:pt x="1223642" y="2312677"/>
                      <a:pt x="1217031" y="2317140"/>
                    </a:cubicBezTo>
                    <a:cubicBezTo>
                      <a:pt x="1189762" y="2335650"/>
                      <a:pt x="1181333" y="2340773"/>
                      <a:pt x="1168773" y="2346558"/>
                    </a:cubicBezTo>
                    <a:cubicBezTo>
                      <a:pt x="1102004" y="2377132"/>
                      <a:pt x="997222" y="2396304"/>
                      <a:pt x="892771" y="2396800"/>
                    </a:cubicBezTo>
                    <a:cubicBezTo>
                      <a:pt x="844843" y="2396965"/>
                      <a:pt x="816912" y="2395147"/>
                      <a:pt x="765348" y="2387875"/>
                    </a:cubicBezTo>
                    <a:cubicBezTo>
                      <a:pt x="709982" y="2380107"/>
                      <a:pt x="652799" y="2365729"/>
                      <a:pt x="613961" y="2349532"/>
                    </a:cubicBezTo>
                    <a:cubicBezTo>
                      <a:pt x="575948" y="2333832"/>
                      <a:pt x="551323" y="2317635"/>
                      <a:pt x="527028" y="2292018"/>
                    </a:cubicBezTo>
                    <a:lnTo>
                      <a:pt x="510832" y="2274996"/>
                    </a:lnTo>
                    <a:lnTo>
                      <a:pt x="505708" y="2258303"/>
                    </a:lnTo>
                    <a:cubicBezTo>
                      <a:pt x="499594" y="2238306"/>
                      <a:pt x="485545" y="2185749"/>
                      <a:pt x="477943" y="2154018"/>
                    </a:cubicBezTo>
                    <a:cubicBezTo>
                      <a:pt x="372170" y="1718035"/>
                      <a:pt x="373988" y="1245197"/>
                      <a:pt x="482901" y="824419"/>
                    </a:cubicBezTo>
                    <a:cubicBezTo>
                      <a:pt x="492487" y="787398"/>
                      <a:pt x="501412" y="756492"/>
                      <a:pt x="515129" y="712200"/>
                    </a:cubicBezTo>
                    <a:lnTo>
                      <a:pt x="525045" y="680468"/>
                    </a:lnTo>
                    <a:lnTo>
                      <a:pt x="539589" y="676502"/>
                    </a:lnTo>
                    <a:cubicBezTo>
                      <a:pt x="566363" y="669395"/>
                      <a:pt x="627678" y="656339"/>
                      <a:pt x="661228" y="650720"/>
                    </a:cubicBezTo>
                    <a:cubicBezTo>
                      <a:pt x="744359" y="636672"/>
                      <a:pt x="816086" y="631879"/>
                      <a:pt x="911777" y="633531"/>
                    </a:cubicBezTo>
                    <a:cubicBezTo>
                      <a:pt x="1022343" y="635515"/>
                      <a:pt x="1107623" y="646588"/>
                      <a:pt x="1212404" y="672370"/>
                    </a:cubicBezTo>
                    <a:cubicBezTo>
                      <a:pt x="1251408" y="681956"/>
                      <a:pt x="1272562" y="688071"/>
                      <a:pt x="1274546" y="690219"/>
                    </a:cubicBezTo>
                    <a:cubicBezTo>
                      <a:pt x="1275372" y="691045"/>
                      <a:pt x="1280661" y="708729"/>
                      <a:pt x="1286610" y="729553"/>
                    </a:cubicBezTo>
                    <a:cubicBezTo>
                      <a:pt x="1316194" y="834335"/>
                      <a:pt x="1338505" y="939116"/>
                      <a:pt x="1354041" y="1047038"/>
                    </a:cubicBezTo>
                    <a:cubicBezTo>
                      <a:pt x="1408249" y="1421375"/>
                      <a:pt x="1382963" y="1819180"/>
                      <a:pt x="1282148" y="2182940"/>
                    </a:cubicBezTo>
                    <a:cubicBezTo>
                      <a:pt x="1263307" y="2250701"/>
                      <a:pt x="1254383" y="2278632"/>
                      <a:pt x="1248763" y="2286399"/>
                    </a:cubicBezTo>
                    <a:close/>
                    <a:moveTo>
                      <a:pt x="1670533" y="2618923"/>
                    </a:moveTo>
                    <a:cubicBezTo>
                      <a:pt x="1626075" y="2794936"/>
                      <a:pt x="1561785" y="2974089"/>
                      <a:pt x="1512700" y="3058707"/>
                    </a:cubicBezTo>
                    <a:lnTo>
                      <a:pt x="1512700" y="3058707"/>
                    </a:lnTo>
                    <a:cubicBezTo>
                      <a:pt x="1496173" y="3087134"/>
                      <a:pt x="1486257" y="3096554"/>
                      <a:pt x="1476340" y="3093414"/>
                    </a:cubicBezTo>
                    <a:cubicBezTo>
                      <a:pt x="1472870" y="3092257"/>
                      <a:pt x="1467581" y="3087134"/>
                      <a:pt x="1466094" y="3083498"/>
                    </a:cubicBezTo>
                    <a:cubicBezTo>
                      <a:pt x="1465267" y="3081349"/>
                      <a:pt x="1467416" y="3040693"/>
                      <a:pt x="1471878" y="2974915"/>
                    </a:cubicBezTo>
                    <a:cubicBezTo>
                      <a:pt x="1472870" y="2959710"/>
                      <a:pt x="1474522" y="2931945"/>
                      <a:pt x="1475680" y="2913104"/>
                    </a:cubicBezTo>
                    <a:cubicBezTo>
                      <a:pt x="1476671" y="2894263"/>
                      <a:pt x="1478324" y="2866993"/>
                      <a:pt x="1479315" y="2852450"/>
                    </a:cubicBezTo>
                    <a:cubicBezTo>
                      <a:pt x="1480307" y="2837906"/>
                      <a:pt x="1482290" y="2804521"/>
                      <a:pt x="1483943" y="2778409"/>
                    </a:cubicBezTo>
                    <a:cubicBezTo>
                      <a:pt x="1485596" y="2752296"/>
                      <a:pt x="1488075" y="2712135"/>
                      <a:pt x="1489397" y="2688998"/>
                    </a:cubicBezTo>
                    <a:cubicBezTo>
                      <a:pt x="1490884" y="2665860"/>
                      <a:pt x="1492372" y="2641565"/>
                      <a:pt x="1492702" y="2634954"/>
                    </a:cubicBezTo>
                    <a:cubicBezTo>
                      <a:pt x="1493529" y="2621402"/>
                      <a:pt x="1491050" y="2588513"/>
                      <a:pt x="1487909" y="2570664"/>
                    </a:cubicBezTo>
                    <a:cubicBezTo>
                      <a:pt x="1481960" y="2536618"/>
                      <a:pt x="1470060" y="2512819"/>
                      <a:pt x="1443617" y="2482244"/>
                    </a:cubicBezTo>
                    <a:cubicBezTo>
                      <a:pt x="1428082" y="2464230"/>
                      <a:pt x="1411720" y="2449521"/>
                      <a:pt x="1347925" y="2396139"/>
                    </a:cubicBezTo>
                    <a:cubicBezTo>
                      <a:pt x="1320160" y="2372836"/>
                      <a:pt x="1295865" y="2352838"/>
                      <a:pt x="1294543" y="2351350"/>
                    </a:cubicBezTo>
                    <a:cubicBezTo>
                      <a:pt x="1291403" y="2348541"/>
                      <a:pt x="1290081" y="2353664"/>
                      <a:pt x="1311236" y="2286564"/>
                    </a:cubicBezTo>
                    <a:cubicBezTo>
                      <a:pt x="1333878" y="2215168"/>
                      <a:pt x="1351396" y="2150051"/>
                      <a:pt x="1370072" y="2066920"/>
                    </a:cubicBezTo>
                    <a:cubicBezTo>
                      <a:pt x="1375856" y="2040973"/>
                      <a:pt x="1381641" y="2018166"/>
                      <a:pt x="1382632" y="2016017"/>
                    </a:cubicBezTo>
                    <a:cubicBezTo>
                      <a:pt x="1385772" y="2009571"/>
                      <a:pt x="1388582" y="2007919"/>
                      <a:pt x="1395854" y="2008084"/>
                    </a:cubicBezTo>
                    <a:cubicBezTo>
                      <a:pt x="1407092" y="2008415"/>
                      <a:pt x="1414530" y="2014695"/>
                      <a:pt x="1458822" y="2062954"/>
                    </a:cubicBezTo>
                    <a:cubicBezTo>
                      <a:pt x="1508899" y="2117328"/>
                      <a:pt x="1547242" y="2164430"/>
                      <a:pt x="1590707" y="2225249"/>
                    </a:cubicBezTo>
                    <a:cubicBezTo>
                      <a:pt x="1628389" y="2277970"/>
                      <a:pt x="1650535" y="2313834"/>
                      <a:pt x="1667723" y="2350689"/>
                    </a:cubicBezTo>
                    <a:cubicBezTo>
                      <a:pt x="1707223" y="2435142"/>
                      <a:pt x="1707554" y="2471832"/>
                      <a:pt x="1670533" y="261908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1CAFC14-8E2E-1A89-87AE-B1E82DE9F9DF}"/>
                  </a:ext>
                </a:extLst>
              </p:cNvPr>
              <p:cNvSpPr/>
              <p:nvPr/>
            </p:nvSpPr>
            <p:spPr>
              <a:xfrm>
                <a:off x="8829340" y="3293111"/>
                <a:ext cx="610954" cy="963419"/>
              </a:xfrm>
              <a:custGeom>
                <a:avLst/>
                <a:gdLst>
                  <a:gd name="connsiteX0" fmla="*/ 310654 w 610954"/>
                  <a:gd name="connsiteY0" fmla="*/ 926003 h 963419"/>
                  <a:gd name="connsiteX1" fmla="*/ 374613 w 610954"/>
                  <a:gd name="connsiteY1" fmla="*/ 773789 h 963419"/>
                  <a:gd name="connsiteX2" fmla="*/ 458405 w 610954"/>
                  <a:gd name="connsiteY2" fmla="*/ 619261 h 963419"/>
                  <a:gd name="connsiteX3" fmla="*/ 560707 w 610954"/>
                  <a:gd name="connsiteY3" fmla="*/ 429200 h 963419"/>
                  <a:gd name="connsiteX4" fmla="*/ 605000 w 610954"/>
                  <a:gd name="connsiteY4" fmla="*/ 278309 h 963419"/>
                  <a:gd name="connsiteX5" fmla="*/ 608801 w 610954"/>
                  <a:gd name="connsiteY5" fmla="*/ 143779 h 963419"/>
                  <a:gd name="connsiteX6" fmla="*/ 591447 w 610954"/>
                  <a:gd name="connsiteY6" fmla="*/ 66597 h 963419"/>
                  <a:gd name="connsiteX7" fmla="*/ 566988 w 610954"/>
                  <a:gd name="connsiteY7" fmla="*/ 5943 h 963419"/>
                  <a:gd name="connsiteX8" fmla="*/ 552774 w 610954"/>
                  <a:gd name="connsiteY8" fmla="*/ 8918 h 963419"/>
                  <a:gd name="connsiteX9" fmla="*/ 469313 w 610954"/>
                  <a:gd name="connsiteY9" fmla="*/ 34204 h 963419"/>
                  <a:gd name="connsiteX10" fmla="*/ 451629 w 610954"/>
                  <a:gd name="connsiteY10" fmla="*/ 38997 h 963419"/>
                  <a:gd name="connsiteX11" fmla="*/ 460719 w 610954"/>
                  <a:gd name="connsiteY11" fmla="*/ 57012 h 963419"/>
                  <a:gd name="connsiteX12" fmla="*/ 498566 w 610954"/>
                  <a:gd name="connsiteY12" fmla="*/ 221621 h 963419"/>
                  <a:gd name="connsiteX13" fmla="*/ 422541 w 610954"/>
                  <a:gd name="connsiteY13" fmla="*/ 446719 h 963419"/>
                  <a:gd name="connsiteX14" fmla="*/ 329494 w 610954"/>
                  <a:gd name="connsiteY14" fmla="*/ 642564 h 963419"/>
                  <a:gd name="connsiteX15" fmla="*/ 308505 w 610954"/>
                  <a:gd name="connsiteY15" fmla="*/ 669338 h 963419"/>
                  <a:gd name="connsiteX16" fmla="*/ 281731 w 610954"/>
                  <a:gd name="connsiteY16" fmla="*/ 663719 h 963419"/>
                  <a:gd name="connsiteX17" fmla="*/ 269171 w 610954"/>
                  <a:gd name="connsiteY17" fmla="*/ 637771 h 963419"/>
                  <a:gd name="connsiteX18" fmla="*/ 179098 w 610954"/>
                  <a:gd name="connsiteY18" fmla="*/ 437960 h 963419"/>
                  <a:gd name="connsiteX19" fmla="*/ 119436 w 610954"/>
                  <a:gd name="connsiteY19" fmla="*/ 290373 h 963419"/>
                  <a:gd name="connsiteX20" fmla="*/ 129517 w 610954"/>
                  <a:gd name="connsiteY20" fmla="*/ 104610 h 963419"/>
                  <a:gd name="connsiteX21" fmla="*/ 157448 w 610954"/>
                  <a:gd name="connsiteY21" fmla="*/ 45939 h 963419"/>
                  <a:gd name="connsiteX22" fmla="*/ 162571 w 610954"/>
                  <a:gd name="connsiteY22" fmla="*/ 35527 h 963419"/>
                  <a:gd name="connsiteX23" fmla="*/ 144391 w 610954"/>
                  <a:gd name="connsiteY23" fmla="*/ 30568 h 963419"/>
                  <a:gd name="connsiteX24" fmla="*/ 67541 w 610954"/>
                  <a:gd name="connsiteY24" fmla="*/ 5778 h 963419"/>
                  <a:gd name="connsiteX25" fmla="*/ 48204 w 610954"/>
                  <a:gd name="connsiteY25" fmla="*/ 159 h 963419"/>
                  <a:gd name="connsiteX26" fmla="*/ 22257 w 610954"/>
                  <a:gd name="connsiteY26" fmla="*/ 59821 h 963419"/>
                  <a:gd name="connsiteX27" fmla="*/ 276 w 610954"/>
                  <a:gd name="connsiteY27" fmla="*/ 187741 h 963419"/>
                  <a:gd name="connsiteX28" fmla="*/ 25232 w 610954"/>
                  <a:gd name="connsiteY28" fmla="*/ 365902 h 963419"/>
                  <a:gd name="connsiteX29" fmla="*/ 143070 w 610954"/>
                  <a:gd name="connsiteY29" fmla="*/ 616782 h 963419"/>
                  <a:gd name="connsiteX30" fmla="*/ 210996 w 610954"/>
                  <a:gd name="connsiteY30" fmla="*/ 747676 h 963419"/>
                  <a:gd name="connsiteX31" fmla="*/ 281401 w 610954"/>
                  <a:gd name="connsiteY31" fmla="*/ 920879 h 963419"/>
                  <a:gd name="connsiteX32" fmla="*/ 296771 w 610954"/>
                  <a:gd name="connsiteY32" fmla="*/ 963354 h 963419"/>
                  <a:gd name="connsiteX33" fmla="*/ 310654 w 610954"/>
                  <a:gd name="connsiteY33" fmla="*/ 926003 h 963419"/>
                  <a:gd name="connsiteX34" fmla="*/ 310654 w 610954"/>
                  <a:gd name="connsiteY34" fmla="*/ 926003 h 96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10954" h="963419">
                    <a:moveTo>
                      <a:pt x="310654" y="926003"/>
                    </a:moveTo>
                    <a:cubicBezTo>
                      <a:pt x="328007" y="878074"/>
                      <a:pt x="355772" y="812131"/>
                      <a:pt x="374613" y="773789"/>
                    </a:cubicBezTo>
                    <a:cubicBezTo>
                      <a:pt x="403205" y="716110"/>
                      <a:pt x="424194" y="677271"/>
                      <a:pt x="458405" y="619261"/>
                    </a:cubicBezTo>
                    <a:cubicBezTo>
                      <a:pt x="511787" y="528528"/>
                      <a:pt x="542858" y="470848"/>
                      <a:pt x="560707" y="429200"/>
                    </a:cubicBezTo>
                    <a:cubicBezTo>
                      <a:pt x="578722" y="387387"/>
                      <a:pt x="597728" y="322766"/>
                      <a:pt x="605000" y="278309"/>
                    </a:cubicBezTo>
                    <a:cubicBezTo>
                      <a:pt x="611115" y="241949"/>
                      <a:pt x="612767" y="181130"/>
                      <a:pt x="608801" y="143779"/>
                    </a:cubicBezTo>
                    <a:cubicBezTo>
                      <a:pt x="606818" y="124607"/>
                      <a:pt x="599381" y="91388"/>
                      <a:pt x="591447" y="66597"/>
                    </a:cubicBezTo>
                    <a:cubicBezTo>
                      <a:pt x="585167" y="46600"/>
                      <a:pt x="569962" y="9083"/>
                      <a:pt x="566988" y="5943"/>
                    </a:cubicBezTo>
                    <a:cubicBezTo>
                      <a:pt x="565831" y="4786"/>
                      <a:pt x="561203" y="5613"/>
                      <a:pt x="552774" y="8918"/>
                    </a:cubicBezTo>
                    <a:cubicBezTo>
                      <a:pt x="534429" y="16025"/>
                      <a:pt x="489641" y="29577"/>
                      <a:pt x="469313" y="34204"/>
                    </a:cubicBezTo>
                    <a:cubicBezTo>
                      <a:pt x="459562" y="36353"/>
                      <a:pt x="451629" y="38502"/>
                      <a:pt x="451629" y="38997"/>
                    </a:cubicBezTo>
                    <a:cubicBezTo>
                      <a:pt x="451629" y="39493"/>
                      <a:pt x="455761" y="47426"/>
                      <a:pt x="460719" y="57012"/>
                    </a:cubicBezTo>
                    <a:cubicBezTo>
                      <a:pt x="489311" y="111881"/>
                      <a:pt x="500053" y="158653"/>
                      <a:pt x="498566" y="221621"/>
                    </a:cubicBezTo>
                    <a:cubicBezTo>
                      <a:pt x="496913" y="292852"/>
                      <a:pt x="479064" y="345573"/>
                      <a:pt x="422541" y="446719"/>
                    </a:cubicBezTo>
                    <a:cubicBezTo>
                      <a:pt x="386017" y="512166"/>
                      <a:pt x="344534" y="599594"/>
                      <a:pt x="329494" y="642564"/>
                    </a:cubicBezTo>
                    <a:cubicBezTo>
                      <a:pt x="323545" y="659917"/>
                      <a:pt x="318752" y="666032"/>
                      <a:pt x="308505" y="669338"/>
                    </a:cubicBezTo>
                    <a:cubicBezTo>
                      <a:pt x="299084" y="672313"/>
                      <a:pt x="289334" y="670164"/>
                      <a:pt x="281731" y="663719"/>
                    </a:cubicBezTo>
                    <a:cubicBezTo>
                      <a:pt x="276608" y="659257"/>
                      <a:pt x="275616" y="656612"/>
                      <a:pt x="269171" y="637771"/>
                    </a:cubicBezTo>
                    <a:cubicBezTo>
                      <a:pt x="253470" y="590339"/>
                      <a:pt x="219094" y="514314"/>
                      <a:pt x="179098" y="437960"/>
                    </a:cubicBezTo>
                    <a:cubicBezTo>
                      <a:pt x="145053" y="373008"/>
                      <a:pt x="130013" y="335823"/>
                      <a:pt x="119436" y="290373"/>
                    </a:cubicBezTo>
                    <a:cubicBezTo>
                      <a:pt x="105884" y="231868"/>
                      <a:pt x="109685" y="160636"/>
                      <a:pt x="129517" y="104610"/>
                    </a:cubicBezTo>
                    <a:cubicBezTo>
                      <a:pt x="135302" y="88413"/>
                      <a:pt x="147036" y="63788"/>
                      <a:pt x="157448" y="45939"/>
                    </a:cubicBezTo>
                    <a:cubicBezTo>
                      <a:pt x="160588" y="40485"/>
                      <a:pt x="162902" y="35857"/>
                      <a:pt x="162571" y="35527"/>
                    </a:cubicBezTo>
                    <a:cubicBezTo>
                      <a:pt x="162241" y="35196"/>
                      <a:pt x="154143" y="32882"/>
                      <a:pt x="144391" y="30568"/>
                    </a:cubicBezTo>
                    <a:cubicBezTo>
                      <a:pt x="121915" y="24949"/>
                      <a:pt x="90348" y="14703"/>
                      <a:pt x="67541" y="5778"/>
                    </a:cubicBezTo>
                    <a:cubicBezTo>
                      <a:pt x="57459" y="1812"/>
                      <a:pt x="49031" y="-668"/>
                      <a:pt x="48204" y="159"/>
                    </a:cubicBezTo>
                    <a:cubicBezTo>
                      <a:pt x="45395" y="2803"/>
                      <a:pt x="28372" y="42137"/>
                      <a:pt x="22257" y="59821"/>
                    </a:cubicBezTo>
                    <a:cubicBezTo>
                      <a:pt x="6556" y="105932"/>
                      <a:pt x="1598" y="135350"/>
                      <a:pt x="276" y="187741"/>
                    </a:cubicBezTo>
                    <a:cubicBezTo>
                      <a:pt x="-1377" y="254179"/>
                      <a:pt x="4077" y="293679"/>
                      <a:pt x="25232" y="365902"/>
                    </a:cubicBezTo>
                    <a:cubicBezTo>
                      <a:pt x="44073" y="430853"/>
                      <a:pt x="68863" y="483409"/>
                      <a:pt x="143070" y="616782"/>
                    </a:cubicBezTo>
                    <a:cubicBezTo>
                      <a:pt x="174471" y="673304"/>
                      <a:pt x="188519" y="700243"/>
                      <a:pt x="210996" y="747676"/>
                    </a:cubicBezTo>
                    <a:cubicBezTo>
                      <a:pt x="238596" y="806182"/>
                      <a:pt x="262395" y="864522"/>
                      <a:pt x="281401" y="920879"/>
                    </a:cubicBezTo>
                    <a:cubicBezTo>
                      <a:pt x="294787" y="960379"/>
                      <a:pt x="296110" y="964015"/>
                      <a:pt x="296771" y="963354"/>
                    </a:cubicBezTo>
                    <a:cubicBezTo>
                      <a:pt x="297101" y="963023"/>
                      <a:pt x="303382" y="946166"/>
                      <a:pt x="310654" y="926003"/>
                    </a:cubicBezTo>
                    <a:lnTo>
                      <a:pt x="310654" y="926003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6A45DEA9-2BB9-A979-CF10-440623E9A9F2}"/>
                  </a:ext>
                </a:extLst>
              </p:cNvPr>
              <p:cNvSpPr/>
              <p:nvPr/>
            </p:nvSpPr>
            <p:spPr>
              <a:xfrm>
                <a:off x="8998464" y="3339876"/>
                <a:ext cx="272718" cy="512689"/>
              </a:xfrm>
              <a:custGeom>
                <a:avLst/>
                <a:gdLst>
                  <a:gd name="connsiteX0" fmla="*/ 144009 w 272718"/>
                  <a:gd name="connsiteY0" fmla="*/ 487382 h 512689"/>
                  <a:gd name="connsiteX1" fmla="*/ 206316 w 272718"/>
                  <a:gd name="connsiteY1" fmla="*/ 366900 h 512689"/>
                  <a:gd name="connsiteX2" fmla="*/ 245650 w 272718"/>
                  <a:gd name="connsiteY2" fmla="*/ 290049 h 512689"/>
                  <a:gd name="connsiteX3" fmla="*/ 266804 w 272718"/>
                  <a:gd name="connsiteY3" fmla="*/ 106434 h 512689"/>
                  <a:gd name="connsiteX4" fmla="*/ 232924 w 272718"/>
                  <a:gd name="connsiteY4" fmla="*/ 22642 h 512689"/>
                  <a:gd name="connsiteX5" fmla="*/ 194581 w 272718"/>
                  <a:gd name="connsiteY5" fmla="*/ 4958 h 512689"/>
                  <a:gd name="connsiteX6" fmla="*/ 80214 w 272718"/>
                  <a:gd name="connsiteY6" fmla="*/ 3471 h 512689"/>
                  <a:gd name="connsiteX7" fmla="*/ 57407 w 272718"/>
                  <a:gd name="connsiteY7" fmla="*/ 0 h 512689"/>
                  <a:gd name="connsiteX8" fmla="*/ 52779 w 272718"/>
                  <a:gd name="connsiteY8" fmla="*/ 5619 h 512689"/>
                  <a:gd name="connsiteX9" fmla="*/ 21874 w 272718"/>
                  <a:gd name="connsiteY9" fmla="*/ 59167 h 512689"/>
                  <a:gd name="connsiteX10" fmla="*/ 389 w 272718"/>
                  <a:gd name="connsiteY10" fmla="*/ 156180 h 512689"/>
                  <a:gd name="connsiteX11" fmla="*/ 60051 w 272718"/>
                  <a:gd name="connsiteY11" fmla="*/ 362603 h 512689"/>
                  <a:gd name="connsiteX12" fmla="*/ 125168 w 272718"/>
                  <a:gd name="connsiteY12" fmla="*/ 496967 h 512689"/>
                  <a:gd name="connsiteX13" fmla="*/ 132109 w 272718"/>
                  <a:gd name="connsiteY13" fmla="*/ 512668 h 512689"/>
                  <a:gd name="connsiteX14" fmla="*/ 144339 w 272718"/>
                  <a:gd name="connsiteY14" fmla="*/ 487217 h 512689"/>
                  <a:gd name="connsiteX15" fmla="*/ 144339 w 272718"/>
                  <a:gd name="connsiteY15" fmla="*/ 487217 h 512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2718" h="512689">
                    <a:moveTo>
                      <a:pt x="144009" y="487382"/>
                    </a:moveTo>
                    <a:cubicBezTo>
                      <a:pt x="152437" y="469037"/>
                      <a:pt x="171278" y="432512"/>
                      <a:pt x="206316" y="366900"/>
                    </a:cubicBezTo>
                    <a:cubicBezTo>
                      <a:pt x="223999" y="333680"/>
                      <a:pt x="241683" y="299139"/>
                      <a:pt x="245650" y="290049"/>
                    </a:cubicBezTo>
                    <a:cubicBezTo>
                      <a:pt x="272093" y="228569"/>
                      <a:pt x="279200" y="166592"/>
                      <a:pt x="266804" y="106434"/>
                    </a:cubicBezTo>
                    <a:cubicBezTo>
                      <a:pt x="260855" y="77512"/>
                      <a:pt x="250773" y="52721"/>
                      <a:pt x="232924" y="22642"/>
                    </a:cubicBezTo>
                    <a:cubicBezTo>
                      <a:pt x="219868" y="496"/>
                      <a:pt x="222181" y="1653"/>
                      <a:pt x="194581" y="4958"/>
                    </a:cubicBezTo>
                    <a:cubicBezTo>
                      <a:pt x="164337" y="8594"/>
                      <a:pt x="110294" y="7933"/>
                      <a:pt x="80214" y="3471"/>
                    </a:cubicBezTo>
                    <a:lnTo>
                      <a:pt x="57407" y="0"/>
                    </a:lnTo>
                    <a:lnTo>
                      <a:pt x="52779" y="5619"/>
                    </a:lnTo>
                    <a:cubicBezTo>
                      <a:pt x="46003" y="13883"/>
                      <a:pt x="29972" y="41648"/>
                      <a:pt x="21874" y="59167"/>
                    </a:cubicBezTo>
                    <a:cubicBezTo>
                      <a:pt x="8983" y="87097"/>
                      <a:pt x="2042" y="118168"/>
                      <a:pt x="389" y="156180"/>
                    </a:cubicBezTo>
                    <a:cubicBezTo>
                      <a:pt x="-2586" y="221793"/>
                      <a:pt x="10966" y="268729"/>
                      <a:pt x="60051" y="362603"/>
                    </a:cubicBezTo>
                    <a:cubicBezTo>
                      <a:pt x="83685" y="407887"/>
                      <a:pt x="112773" y="468045"/>
                      <a:pt x="125168" y="496967"/>
                    </a:cubicBezTo>
                    <a:cubicBezTo>
                      <a:pt x="128804" y="505396"/>
                      <a:pt x="131778" y="512503"/>
                      <a:pt x="132109" y="512668"/>
                    </a:cubicBezTo>
                    <a:cubicBezTo>
                      <a:pt x="132440" y="512999"/>
                      <a:pt x="134092" y="509693"/>
                      <a:pt x="144339" y="487217"/>
                    </a:cubicBezTo>
                    <a:lnTo>
                      <a:pt x="144339" y="487217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102D324C-BEDE-A42A-0E53-ABDF211091A5}"/>
                  </a:ext>
                </a:extLst>
              </p:cNvPr>
              <p:cNvSpPr/>
              <p:nvPr/>
            </p:nvSpPr>
            <p:spPr>
              <a:xfrm>
                <a:off x="9408026" y="2413541"/>
                <a:ext cx="117288" cy="339581"/>
              </a:xfrm>
              <a:custGeom>
                <a:avLst/>
                <a:gdLst>
                  <a:gd name="connsiteX0" fmla="*/ 40032 w 117288"/>
                  <a:gd name="connsiteY0" fmla="*/ 336981 h 339581"/>
                  <a:gd name="connsiteX1" fmla="*/ 532 w 117288"/>
                  <a:gd name="connsiteY1" fmla="*/ 316653 h 339581"/>
                  <a:gd name="connsiteX2" fmla="*/ 6647 w 117288"/>
                  <a:gd name="connsiteY2" fmla="*/ 285252 h 339581"/>
                  <a:gd name="connsiteX3" fmla="*/ 47965 w 117288"/>
                  <a:gd name="connsiteY3" fmla="*/ 118494 h 339581"/>
                  <a:gd name="connsiteX4" fmla="*/ 66971 w 117288"/>
                  <a:gd name="connsiteY4" fmla="*/ 21480 h 339581"/>
                  <a:gd name="connsiteX5" fmla="*/ 114238 w 117288"/>
                  <a:gd name="connsiteY5" fmla="*/ 13547 h 339581"/>
                  <a:gd name="connsiteX6" fmla="*/ 113246 w 117288"/>
                  <a:gd name="connsiteY6" fmla="*/ 71557 h 339581"/>
                  <a:gd name="connsiteX7" fmla="*/ 66144 w 117288"/>
                  <a:gd name="connsiteY7" fmla="*/ 287896 h 339581"/>
                  <a:gd name="connsiteX8" fmla="*/ 40197 w 117288"/>
                  <a:gd name="connsiteY8" fmla="*/ 337147 h 33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288" h="339581">
                    <a:moveTo>
                      <a:pt x="40032" y="336981"/>
                    </a:moveTo>
                    <a:cubicBezTo>
                      <a:pt x="23009" y="344584"/>
                      <a:pt x="4168" y="334833"/>
                      <a:pt x="532" y="316653"/>
                    </a:cubicBezTo>
                    <a:cubicBezTo>
                      <a:pt x="-790" y="309877"/>
                      <a:pt x="36" y="305580"/>
                      <a:pt x="6647" y="285252"/>
                    </a:cubicBezTo>
                    <a:cubicBezTo>
                      <a:pt x="23339" y="233357"/>
                      <a:pt x="37387" y="176173"/>
                      <a:pt x="47965" y="118494"/>
                    </a:cubicBezTo>
                    <a:cubicBezTo>
                      <a:pt x="52096" y="95522"/>
                      <a:pt x="55567" y="77672"/>
                      <a:pt x="66971" y="21480"/>
                    </a:cubicBezTo>
                    <a:cubicBezTo>
                      <a:pt x="71929" y="-2814"/>
                      <a:pt x="102669" y="-7938"/>
                      <a:pt x="114238" y="13547"/>
                    </a:cubicBezTo>
                    <a:cubicBezTo>
                      <a:pt x="118535" y="21480"/>
                      <a:pt x="118370" y="34041"/>
                      <a:pt x="113246" y="71557"/>
                    </a:cubicBezTo>
                    <a:cubicBezTo>
                      <a:pt x="103000" y="147251"/>
                      <a:pt x="87299" y="219144"/>
                      <a:pt x="66144" y="287896"/>
                    </a:cubicBezTo>
                    <a:cubicBezTo>
                      <a:pt x="54741" y="324751"/>
                      <a:pt x="50774" y="332519"/>
                      <a:pt x="40197" y="33714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A6835611-CC1F-A613-E62B-EEC3A50F9C06}"/>
                  </a:ext>
                </a:extLst>
              </p:cNvPr>
              <p:cNvSpPr/>
              <p:nvPr/>
            </p:nvSpPr>
            <p:spPr>
              <a:xfrm>
                <a:off x="9285294" y="2599115"/>
                <a:ext cx="86070" cy="200458"/>
              </a:xfrm>
              <a:custGeom>
                <a:avLst/>
                <a:gdLst>
                  <a:gd name="connsiteX0" fmla="*/ 37158 w 86070"/>
                  <a:gd name="connsiteY0" fmla="*/ 198840 h 200458"/>
                  <a:gd name="connsiteX1" fmla="*/ 13690 w 86070"/>
                  <a:gd name="connsiteY1" fmla="*/ 196195 h 200458"/>
                  <a:gd name="connsiteX2" fmla="*/ 1459 w 86070"/>
                  <a:gd name="connsiteY2" fmla="*/ 162150 h 200458"/>
                  <a:gd name="connsiteX3" fmla="*/ 23275 w 86070"/>
                  <a:gd name="connsiteY3" fmla="*/ 79184 h 200458"/>
                  <a:gd name="connsiteX4" fmla="*/ 31208 w 86070"/>
                  <a:gd name="connsiteY4" fmla="*/ 43320 h 200458"/>
                  <a:gd name="connsiteX5" fmla="*/ 44265 w 86070"/>
                  <a:gd name="connsiteY5" fmla="*/ 6961 h 200458"/>
                  <a:gd name="connsiteX6" fmla="*/ 83103 w 86070"/>
                  <a:gd name="connsiteY6" fmla="*/ 12911 h 200458"/>
                  <a:gd name="connsiteX7" fmla="*/ 65419 w 86070"/>
                  <a:gd name="connsiteY7" fmla="*/ 145457 h 200458"/>
                  <a:gd name="connsiteX8" fmla="*/ 55833 w 86070"/>
                  <a:gd name="connsiteY8" fmla="*/ 179999 h 200458"/>
                  <a:gd name="connsiteX9" fmla="*/ 37323 w 86070"/>
                  <a:gd name="connsiteY9" fmla="*/ 199170 h 200458"/>
                  <a:gd name="connsiteX10" fmla="*/ 37323 w 86070"/>
                  <a:gd name="connsiteY10" fmla="*/ 199170 h 20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6070" h="200458">
                    <a:moveTo>
                      <a:pt x="37158" y="198840"/>
                    </a:moveTo>
                    <a:cubicBezTo>
                      <a:pt x="28399" y="201649"/>
                      <a:pt x="21292" y="200823"/>
                      <a:pt x="13690" y="196195"/>
                    </a:cubicBezTo>
                    <a:cubicBezTo>
                      <a:pt x="1625" y="188593"/>
                      <a:pt x="-2507" y="177189"/>
                      <a:pt x="1459" y="162150"/>
                    </a:cubicBezTo>
                    <a:cubicBezTo>
                      <a:pt x="6418" y="143639"/>
                      <a:pt x="19143" y="94885"/>
                      <a:pt x="23275" y="79184"/>
                    </a:cubicBezTo>
                    <a:cubicBezTo>
                      <a:pt x="25424" y="70755"/>
                      <a:pt x="29060" y="54559"/>
                      <a:pt x="31208" y="43320"/>
                    </a:cubicBezTo>
                    <a:cubicBezTo>
                      <a:pt x="36331" y="16712"/>
                      <a:pt x="37488" y="13241"/>
                      <a:pt x="44265" y="6961"/>
                    </a:cubicBezTo>
                    <a:cubicBezTo>
                      <a:pt x="56164" y="-4277"/>
                      <a:pt x="73683" y="-1633"/>
                      <a:pt x="83103" y="12911"/>
                    </a:cubicBezTo>
                    <a:cubicBezTo>
                      <a:pt x="90540" y="24479"/>
                      <a:pt x="83764" y="76209"/>
                      <a:pt x="65419" y="145457"/>
                    </a:cubicBezTo>
                    <a:cubicBezTo>
                      <a:pt x="61122" y="161489"/>
                      <a:pt x="56825" y="177024"/>
                      <a:pt x="55833" y="179999"/>
                    </a:cubicBezTo>
                    <a:cubicBezTo>
                      <a:pt x="52858" y="188427"/>
                      <a:pt x="44760" y="196691"/>
                      <a:pt x="37323" y="199170"/>
                    </a:cubicBezTo>
                    <a:lnTo>
                      <a:pt x="37323" y="199170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7F93BECE-6D2F-937C-05ED-21F0D25E3837}"/>
                  </a:ext>
                </a:extLst>
              </p:cNvPr>
              <p:cNvSpPr/>
              <p:nvPr/>
            </p:nvSpPr>
            <p:spPr>
              <a:xfrm>
                <a:off x="9186914" y="2744573"/>
                <a:ext cx="57415" cy="71418"/>
              </a:xfrm>
              <a:custGeom>
                <a:avLst/>
                <a:gdLst>
                  <a:gd name="connsiteX0" fmla="*/ 36707 w 57415"/>
                  <a:gd name="connsiteY0" fmla="*/ 69082 h 71418"/>
                  <a:gd name="connsiteX1" fmla="*/ 17 w 57415"/>
                  <a:gd name="connsiteY1" fmla="*/ 43796 h 71418"/>
                  <a:gd name="connsiteX2" fmla="*/ 14561 w 57415"/>
                  <a:gd name="connsiteY2" fmla="*/ 5784 h 71418"/>
                  <a:gd name="connsiteX3" fmla="*/ 50259 w 57415"/>
                  <a:gd name="connsiteY3" fmla="*/ 8098 h 71418"/>
                  <a:gd name="connsiteX4" fmla="*/ 53564 w 57415"/>
                  <a:gd name="connsiteY4" fmla="*/ 46606 h 71418"/>
                  <a:gd name="connsiteX5" fmla="*/ 36872 w 57415"/>
                  <a:gd name="connsiteY5" fmla="*/ 69082 h 7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415" h="71418">
                    <a:moveTo>
                      <a:pt x="36707" y="69082"/>
                    </a:moveTo>
                    <a:cubicBezTo>
                      <a:pt x="18362" y="77016"/>
                      <a:pt x="-644" y="63794"/>
                      <a:pt x="17" y="43796"/>
                    </a:cubicBezTo>
                    <a:cubicBezTo>
                      <a:pt x="182" y="35533"/>
                      <a:pt x="9933" y="10081"/>
                      <a:pt x="14561" y="5784"/>
                    </a:cubicBezTo>
                    <a:cubicBezTo>
                      <a:pt x="23650" y="-2810"/>
                      <a:pt x="41004" y="-1653"/>
                      <a:pt x="50259" y="8098"/>
                    </a:cubicBezTo>
                    <a:cubicBezTo>
                      <a:pt x="58688" y="17022"/>
                      <a:pt x="59514" y="27765"/>
                      <a:pt x="53564" y="46606"/>
                    </a:cubicBezTo>
                    <a:cubicBezTo>
                      <a:pt x="49433" y="59331"/>
                      <a:pt x="44640" y="65777"/>
                      <a:pt x="36872" y="6908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1C0AF067-9F7C-BD14-F976-945DFD809A8F}"/>
                  </a:ext>
                </a:extLst>
              </p:cNvPr>
              <p:cNvSpPr/>
              <p:nvPr/>
            </p:nvSpPr>
            <p:spPr>
              <a:xfrm>
                <a:off x="9041702" y="2742651"/>
                <a:ext cx="56769" cy="71811"/>
              </a:xfrm>
              <a:custGeom>
                <a:avLst/>
                <a:gdLst>
                  <a:gd name="connsiteX0" fmla="*/ 39125 w 56769"/>
                  <a:gd name="connsiteY0" fmla="*/ 70509 h 71811"/>
                  <a:gd name="connsiteX1" fmla="*/ 12682 w 56769"/>
                  <a:gd name="connsiteY1" fmla="*/ 63732 h 71811"/>
                  <a:gd name="connsiteX2" fmla="*/ 1113 w 56769"/>
                  <a:gd name="connsiteY2" fmla="*/ 17953 h 71811"/>
                  <a:gd name="connsiteX3" fmla="*/ 19458 w 56769"/>
                  <a:gd name="connsiteY3" fmla="*/ 930 h 71811"/>
                  <a:gd name="connsiteX4" fmla="*/ 43422 w 56769"/>
                  <a:gd name="connsiteY4" fmla="*/ 6880 h 71811"/>
                  <a:gd name="connsiteX5" fmla="*/ 56479 w 56769"/>
                  <a:gd name="connsiteY5" fmla="*/ 51337 h 71811"/>
                  <a:gd name="connsiteX6" fmla="*/ 38960 w 56769"/>
                  <a:gd name="connsiteY6" fmla="*/ 70509 h 71811"/>
                  <a:gd name="connsiteX7" fmla="*/ 38960 w 56769"/>
                  <a:gd name="connsiteY7" fmla="*/ 70509 h 71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769" h="71811">
                    <a:moveTo>
                      <a:pt x="39125" y="70509"/>
                    </a:moveTo>
                    <a:cubicBezTo>
                      <a:pt x="29705" y="73649"/>
                      <a:pt x="19623" y="71004"/>
                      <a:pt x="12682" y="63732"/>
                    </a:cubicBezTo>
                    <a:cubicBezTo>
                      <a:pt x="3758" y="54312"/>
                      <a:pt x="-2688" y="28860"/>
                      <a:pt x="1113" y="17953"/>
                    </a:cubicBezTo>
                    <a:cubicBezTo>
                      <a:pt x="3262" y="11838"/>
                      <a:pt x="12682" y="3078"/>
                      <a:pt x="19458" y="930"/>
                    </a:cubicBezTo>
                    <a:cubicBezTo>
                      <a:pt x="27061" y="-1549"/>
                      <a:pt x="37968" y="1095"/>
                      <a:pt x="43422" y="6880"/>
                    </a:cubicBezTo>
                    <a:cubicBezTo>
                      <a:pt x="49868" y="13656"/>
                      <a:pt x="58462" y="42743"/>
                      <a:pt x="56479" y="51337"/>
                    </a:cubicBezTo>
                    <a:cubicBezTo>
                      <a:pt x="54495" y="59931"/>
                      <a:pt x="47554" y="67699"/>
                      <a:pt x="38960" y="70509"/>
                    </a:cubicBezTo>
                    <a:lnTo>
                      <a:pt x="38960" y="70509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69C596D1-A2C0-78EE-EB0B-8F2CECCE2F4A}"/>
                  </a:ext>
                </a:extLst>
              </p:cNvPr>
              <p:cNvSpPr/>
              <p:nvPr/>
            </p:nvSpPr>
            <p:spPr>
              <a:xfrm>
                <a:off x="8918030" y="2593921"/>
                <a:ext cx="82836" cy="201113"/>
              </a:xfrm>
              <a:custGeom>
                <a:avLst/>
                <a:gdLst>
                  <a:gd name="connsiteX0" fmla="*/ 64130 w 82836"/>
                  <a:gd name="connsiteY0" fmla="*/ 200232 h 201113"/>
                  <a:gd name="connsiteX1" fmla="*/ 44794 w 82836"/>
                  <a:gd name="connsiteY1" fmla="*/ 199736 h 201113"/>
                  <a:gd name="connsiteX2" fmla="*/ 26779 w 82836"/>
                  <a:gd name="connsiteY2" fmla="*/ 179243 h 201113"/>
                  <a:gd name="connsiteX3" fmla="*/ 7112 w 82836"/>
                  <a:gd name="connsiteY3" fmla="*/ 94624 h 201113"/>
                  <a:gd name="connsiteX4" fmla="*/ 5 w 82836"/>
                  <a:gd name="connsiteY4" fmla="*/ 28681 h 201113"/>
                  <a:gd name="connsiteX5" fmla="*/ 38844 w 82836"/>
                  <a:gd name="connsiteY5" fmla="*/ 3891 h 201113"/>
                  <a:gd name="connsiteX6" fmla="*/ 53718 w 82836"/>
                  <a:gd name="connsiteY6" fmla="*/ 38598 h 201113"/>
                  <a:gd name="connsiteX7" fmla="*/ 69254 w 82836"/>
                  <a:gd name="connsiteY7" fmla="*/ 110490 h 201113"/>
                  <a:gd name="connsiteX8" fmla="*/ 81649 w 82836"/>
                  <a:gd name="connsiteY8" fmla="*/ 182383 h 201113"/>
                  <a:gd name="connsiteX9" fmla="*/ 64296 w 82836"/>
                  <a:gd name="connsiteY9" fmla="*/ 200067 h 201113"/>
                  <a:gd name="connsiteX10" fmla="*/ 64296 w 82836"/>
                  <a:gd name="connsiteY10" fmla="*/ 200067 h 20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2836" h="201113">
                    <a:moveTo>
                      <a:pt x="64130" y="200232"/>
                    </a:moveTo>
                    <a:cubicBezTo>
                      <a:pt x="58842" y="201554"/>
                      <a:pt x="49586" y="201389"/>
                      <a:pt x="44794" y="199736"/>
                    </a:cubicBezTo>
                    <a:cubicBezTo>
                      <a:pt x="38183" y="197423"/>
                      <a:pt x="29258" y="187341"/>
                      <a:pt x="26779" y="179243"/>
                    </a:cubicBezTo>
                    <a:cubicBezTo>
                      <a:pt x="22978" y="166682"/>
                      <a:pt x="9426" y="108176"/>
                      <a:pt x="7112" y="94624"/>
                    </a:cubicBezTo>
                    <a:cubicBezTo>
                      <a:pt x="3476" y="73470"/>
                      <a:pt x="-160" y="39424"/>
                      <a:pt x="5" y="28681"/>
                    </a:cubicBezTo>
                    <a:cubicBezTo>
                      <a:pt x="336" y="6205"/>
                      <a:pt x="20995" y="-7017"/>
                      <a:pt x="38844" y="3891"/>
                    </a:cubicBezTo>
                    <a:cubicBezTo>
                      <a:pt x="47108" y="9014"/>
                      <a:pt x="49917" y="15625"/>
                      <a:pt x="53718" y="38598"/>
                    </a:cubicBezTo>
                    <a:cubicBezTo>
                      <a:pt x="55536" y="49671"/>
                      <a:pt x="62478" y="82064"/>
                      <a:pt x="69254" y="110490"/>
                    </a:cubicBezTo>
                    <a:cubicBezTo>
                      <a:pt x="83467" y="169988"/>
                      <a:pt x="84293" y="174946"/>
                      <a:pt x="81649" y="182383"/>
                    </a:cubicBezTo>
                    <a:cubicBezTo>
                      <a:pt x="79335" y="188663"/>
                      <a:pt x="69419" y="198745"/>
                      <a:pt x="64296" y="200067"/>
                    </a:cubicBezTo>
                    <a:lnTo>
                      <a:pt x="64296" y="200067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C8E6C0EF-BCE5-DB2A-E94C-E70D3C0DFCCB}"/>
                  </a:ext>
                </a:extLst>
              </p:cNvPr>
              <p:cNvSpPr/>
              <p:nvPr/>
            </p:nvSpPr>
            <p:spPr>
              <a:xfrm>
                <a:off x="8768968" y="2405202"/>
                <a:ext cx="111073" cy="340976"/>
              </a:xfrm>
              <a:custGeom>
                <a:avLst/>
                <a:gdLst>
                  <a:gd name="connsiteX0" fmla="*/ 91553 w 111073"/>
                  <a:gd name="connsiteY0" fmla="*/ 339701 h 340976"/>
                  <a:gd name="connsiteX1" fmla="*/ 70895 w 111073"/>
                  <a:gd name="connsiteY1" fmla="*/ 338710 h 340976"/>
                  <a:gd name="connsiteX2" fmla="*/ 61309 w 111073"/>
                  <a:gd name="connsiteY2" fmla="*/ 330777 h 340976"/>
                  <a:gd name="connsiteX3" fmla="*/ 47757 w 111073"/>
                  <a:gd name="connsiteY3" fmla="*/ 297723 h 340976"/>
                  <a:gd name="connsiteX4" fmla="*/ 3795 w 111073"/>
                  <a:gd name="connsiteY4" fmla="*/ 78905 h 340976"/>
                  <a:gd name="connsiteX5" fmla="*/ 2803 w 111073"/>
                  <a:gd name="connsiteY5" fmla="*/ 14119 h 340976"/>
                  <a:gd name="connsiteX6" fmla="*/ 43790 w 111073"/>
                  <a:gd name="connsiteY6" fmla="*/ 8004 h 340976"/>
                  <a:gd name="connsiteX7" fmla="*/ 65606 w 111073"/>
                  <a:gd name="connsiteY7" fmla="*/ 109645 h 340976"/>
                  <a:gd name="connsiteX8" fmla="*/ 73208 w 111073"/>
                  <a:gd name="connsiteY8" fmla="*/ 154433 h 340976"/>
                  <a:gd name="connsiteX9" fmla="*/ 100974 w 111073"/>
                  <a:gd name="connsiteY9" fmla="*/ 274089 h 340976"/>
                  <a:gd name="connsiteX10" fmla="*/ 111055 w 111073"/>
                  <a:gd name="connsiteY10" fmla="*/ 312597 h 340976"/>
                  <a:gd name="connsiteX11" fmla="*/ 91884 w 111073"/>
                  <a:gd name="connsiteY11" fmla="*/ 339701 h 340976"/>
                  <a:gd name="connsiteX12" fmla="*/ 91884 w 111073"/>
                  <a:gd name="connsiteY12" fmla="*/ 339701 h 340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73" h="340976">
                    <a:moveTo>
                      <a:pt x="91553" y="339701"/>
                    </a:moveTo>
                    <a:cubicBezTo>
                      <a:pt x="85769" y="341685"/>
                      <a:pt x="76349" y="341354"/>
                      <a:pt x="70895" y="338710"/>
                    </a:cubicBezTo>
                    <a:cubicBezTo>
                      <a:pt x="68581" y="337718"/>
                      <a:pt x="64284" y="334082"/>
                      <a:pt x="61309" y="330777"/>
                    </a:cubicBezTo>
                    <a:cubicBezTo>
                      <a:pt x="56351" y="325488"/>
                      <a:pt x="54863" y="321852"/>
                      <a:pt x="47757" y="297723"/>
                    </a:cubicBezTo>
                    <a:cubicBezTo>
                      <a:pt x="27759" y="229962"/>
                      <a:pt x="12224" y="152450"/>
                      <a:pt x="3795" y="78905"/>
                    </a:cubicBezTo>
                    <a:cubicBezTo>
                      <a:pt x="-998" y="37753"/>
                      <a:pt x="-1163" y="22548"/>
                      <a:pt x="2803" y="14119"/>
                    </a:cubicBezTo>
                    <a:cubicBezTo>
                      <a:pt x="10406" y="-1747"/>
                      <a:pt x="31560" y="-4887"/>
                      <a:pt x="43790" y="8004"/>
                    </a:cubicBezTo>
                    <a:cubicBezTo>
                      <a:pt x="49409" y="13954"/>
                      <a:pt x="50071" y="16929"/>
                      <a:pt x="65606" y="109645"/>
                    </a:cubicBezTo>
                    <a:cubicBezTo>
                      <a:pt x="67754" y="122040"/>
                      <a:pt x="71060" y="142203"/>
                      <a:pt x="73208" y="154433"/>
                    </a:cubicBezTo>
                    <a:cubicBezTo>
                      <a:pt x="78662" y="187157"/>
                      <a:pt x="89570" y="234424"/>
                      <a:pt x="100974" y="274089"/>
                    </a:cubicBezTo>
                    <a:cubicBezTo>
                      <a:pt x="106428" y="293260"/>
                      <a:pt x="110890" y="310614"/>
                      <a:pt x="111055" y="312597"/>
                    </a:cubicBezTo>
                    <a:cubicBezTo>
                      <a:pt x="111551" y="322678"/>
                      <a:pt x="102131" y="336065"/>
                      <a:pt x="91884" y="339701"/>
                    </a:cubicBezTo>
                    <a:lnTo>
                      <a:pt x="91884" y="339701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653898E7-7747-676A-7286-5095FB32B39E}"/>
                  </a:ext>
                </a:extLst>
              </p:cNvPr>
              <p:cNvSpPr/>
              <p:nvPr/>
            </p:nvSpPr>
            <p:spPr>
              <a:xfrm>
                <a:off x="8811061" y="987682"/>
                <a:ext cx="704465" cy="104527"/>
              </a:xfrm>
              <a:custGeom>
                <a:avLst/>
                <a:gdLst>
                  <a:gd name="connsiteX0" fmla="*/ 700626 w 704465"/>
                  <a:gd name="connsiteY0" fmla="*/ 92123 h 104527"/>
                  <a:gd name="connsiteX1" fmla="*/ 689552 w 704465"/>
                  <a:gd name="connsiteY1" fmla="*/ 60887 h 104527"/>
                  <a:gd name="connsiteX2" fmla="*/ 682611 w 704465"/>
                  <a:gd name="connsiteY2" fmla="*/ 41715 h 104527"/>
                  <a:gd name="connsiteX3" fmla="*/ 675505 w 704465"/>
                  <a:gd name="connsiteY3" fmla="*/ 39567 h 104527"/>
                  <a:gd name="connsiteX4" fmla="*/ 639641 w 704465"/>
                  <a:gd name="connsiteY4" fmla="*/ 31964 h 104527"/>
                  <a:gd name="connsiteX5" fmla="*/ 582788 w 704465"/>
                  <a:gd name="connsiteY5" fmla="*/ 20891 h 104527"/>
                  <a:gd name="connsiteX6" fmla="*/ 313728 w 704465"/>
                  <a:gd name="connsiteY6" fmla="*/ 67 h 104527"/>
                  <a:gd name="connsiteX7" fmla="*/ 91274 w 704465"/>
                  <a:gd name="connsiteY7" fmla="*/ 20891 h 104527"/>
                  <a:gd name="connsiteX8" fmla="*/ 22852 w 704465"/>
                  <a:gd name="connsiteY8" fmla="*/ 35105 h 104527"/>
                  <a:gd name="connsiteX9" fmla="*/ 45 w 704465"/>
                  <a:gd name="connsiteY9" fmla="*/ 95593 h 104527"/>
                  <a:gd name="connsiteX10" fmla="*/ 11779 w 704465"/>
                  <a:gd name="connsiteY10" fmla="*/ 93114 h 104527"/>
                  <a:gd name="connsiteX11" fmla="*/ 141021 w 704465"/>
                  <a:gd name="connsiteY11" fmla="*/ 67828 h 104527"/>
                  <a:gd name="connsiteX12" fmla="*/ 516515 w 704465"/>
                  <a:gd name="connsiteY12" fmla="*/ 65845 h 104527"/>
                  <a:gd name="connsiteX13" fmla="*/ 688726 w 704465"/>
                  <a:gd name="connsiteY13" fmla="*/ 100056 h 104527"/>
                  <a:gd name="connsiteX14" fmla="*/ 704427 w 704465"/>
                  <a:gd name="connsiteY14" fmla="*/ 104518 h 104527"/>
                  <a:gd name="connsiteX15" fmla="*/ 700626 w 704465"/>
                  <a:gd name="connsiteY15" fmla="*/ 91958 h 104527"/>
                  <a:gd name="connsiteX16" fmla="*/ 700626 w 704465"/>
                  <a:gd name="connsiteY16" fmla="*/ 91958 h 10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04465" h="104527">
                    <a:moveTo>
                      <a:pt x="700626" y="92123"/>
                    </a:moveTo>
                    <a:cubicBezTo>
                      <a:pt x="698312" y="85512"/>
                      <a:pt x="693354" y="71299"/>
                      <a:pt x="689552" y="60887"/>
                    </a:cubicBezTo>
                    <a:lnTo>
                      <a:pt x="682611" y="41715"/>
                    </a:lnTo>
                    <a:lnTo>
                      <a:pt x="675505" y="39567"/>
                    </a:lnTo>
                    <a:cubicBezTo>
                      <a:pt x="671538" y="38410"/>
                      <a:pt x="655342" y="34939"/>
                      <a:pt x="639641" y="31964"/>
                    </a:cubicBezTo>
                    <a:cubicBezTo>
                      <a:pt x="623775" y="28990"/>
                      <a:pt x="598323" y="23866"/>
                      <a:pt x="582788" y="20891"/>
                    </a:cubicBezTo>
                    <a:cubicBezTo>
                      <a:pt x="507921" y="6017"/>
                      <a:pt x="420658" y="-759"/>
                      <a:pt x="313728" y="67"/>
                    </a:cubicBezTo>
                    <a:cubicBezTo>
                      <a:pt x="227126" y="728"/>
                      <a:pt x="183991" y="4695"/>
                      <a:pt x="91274" y="20891"/>
                    </a:cubicBezTo>
                    <a:cubicBezTo>
                      <a:pt x="34421" y="30808"/>
                      <a:pt x="25662" y="32626"/>
                      <a:pt x="22852" y="35105"/>
                    </a:cubicBezTo>
                    <a:cubicBezTo>
                      <a:pt x="20373" y="37418"/>
                      <a:pt x="-1112" y="94437"/>
                      <a:pt x="45" y="95593"/>
                    </a:cubicBezTo>
                    <a:cubicBezTo>
                      <a:pt x="541" y="96089"/>
                      <a:pt x="5830" y="94932"/>
                      <a:pt x="11779" y="93114"/>
                    </a:cubicBezTo>
                    <a:cubicBezTo>
                      <a:pt x="34917" y="85843"/>
                      <a:pt x="92101" y="74769"/>
                      <a:pt x="141021" y="67828"/>
                    </a:cubicBezTo>
                    <a:cubicBezTo>
                      <a:pt x="257205" y="51466"/>
                      <a:pt x="391735" y="50805"/>
                      <a:pt x="516515" y="65845"/>
                    </a:cubicBezTo>
                    <a:cubicBezTo>
                      <a:pt x="566591" y="71795"/>
                      <a:pt x="654185" y="89313"/>
                      <a:pt x="688726" y="100056"/>
                    </a:cubicBezTo>
                    <a:cubicBezTo>
                      <a:pt x="697155" y="102700"/>
                      <a:pt x="704262" y="104683"/>
                      <a:pt x="704427" y="104518"/>
                    </a:cubicBezTo>
                    <a:cubicBezTo>
                      <a:pt x="704757" y="104188"/>
                      <a:pt x="702939" y="98734"/>
                      <a:pt x="700626" y="91958"/>
                    </a:cubicBezTo>
                    <a:lnTo>
                      <a:pt x="700626" y="91958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8FC64C61-7EA1-0038-A15E-CFE89A45C486}"/>
                  </a:ext>
                </a:extLst>
              </p:cNvPr>
              <p:cNvSpPr/>
              <p:nvPr/>
            </p:nvSpPr>
            <p:spPr>
              <a:xfrm>
                <a:off x="7596585" y="3884235"/>
                <a:ext cx="1225543" cy="903351"/>
              </a:xfrm>
              <a:custGeom>
                <a:avLst/>
                <a:gdLst>
                  <a:gd name="connsiteX0" fmla="*/ 988761 w 1225543"/>
                  <a:gd name="connsiteY0" fmla="*/ 494529 h 903351"/>
                  <a:gd name="connsiteX1" fmla="*/ 950915 w 1225543"/>
                  <a:gd name="connsiteY1" fmla="*/ 488580 h 903351"/>
                  <a:gd name="connsiteX2" fmla="*/ 911250 w 1225543"/>
                  <a:gd name="connsiteY2" fmla="*/ 473209 h 903351"/>
                  <a:gd name="connsiteX3" fmla="*/ 852579 w 1225543"/>
                  <a:gd name="connsiteY3" fmla="*/ 472053 h 903351"/>
                  <a:gd name="connsiteX4" fmla="*/ 777546 w 1225543"/>
                  <a:gd name="connsiteY4" fmla="*/ 527418 h 903351"/>
                  <a:gd name="connsiteX5" fmla="*/ 768291 w 1225543"/>
                  <a:gd name="connsiteY5" fmla="*/ 604930 h 903351"/>
                  <a:gd name="connsiteX6" fmla="*/ 771266 w 1225543"/>
                  <a:gd name="connsiteY6" fmla="*/ 637488 h 903351"/>
                  <a:gd name="connsiteX7" fmla="*/ 754904 w 1225543"/>
                  <a:gd name="connsiteY7" fmla="*/ 653354 h 903351"/>
                  <a:gd name="connsiteX8" fmla="*/ 718379 w 1225543"/>
                  <a:gd name="connsiteY8" fmla="*/ 638149 h 903351"/>
                  <a:gd name="connsiteX9" fmla="*/ 685160 w 1225543"/>
                  <a:gd name="connsiteY9" fmla="*/ 618647 h 903351"/>
                  <a:gd name="connsiteX10" fmla="*/ 650949 w 1225543"/>
                  <a:gd name="connsiteY10" fmla="*/ 630381 h 903351"/>
                  <a:gd name="connsiteX11" fmla="*/ 638389 w 1225543"/>
                  <a:gd name="connsiteY11" fmla="*/ 660295 h 903351"/>
                  <a:gd name="connsiteX12" fmla="*/ 628142 w 1225543"/>
                  <a:gd name="connsiteY12" fmla="*/ 686243 h 903351"/>
                  <a:gd name="connsiteX13" fmla="*/ 592774 w 1225543"/>
                  <a:gd name="connsiteY13" fmla="*/ 688391 h 903351"/>
                  <a:gd name="connsiteX14" fmla="*/ 580048 w 1225543"/>
                  <a:gd name="connsiteY14" fmla="*/ 672525 h 903351"/>
                  <a:gd name="connsiteX15" fmla="*/ 517907 w 1225543"/>
                  <a:gd name="connsiteY15" fmla="*/ 607078 h 903351"/>
                  <a:gd name="connsiteX16" fmla="*/ 247359 w 1225543"/>
                  <a:gd name="connsiteY16" fmla="*/ 574520 h 903351"/>
                  <a:gd name="connsiteX17" fmla="*/ 109193 w 1225543"/>
                  <a:gd name="connsiteY17" fmla="*/ 684755 h 903351"/>
                  <a:gd name="connsiteX18" fmla="*/ 54819 w 1225543"/>
                  <a:gd name="connsiteY18" fmla="*/ 861760 h 903351"/>
                  <a:gd name="connsiteX19" fmla="*/ 48539 w 1225543"/>
                  <a:gd name="connsiteY19" fmla="*/ 895144 h 903351"/>
                  <a:gd name="connsiteX20" fmla="*/ 5404 w 1225543"/>
                  <a:gd name="connsiteY20" fmla="*/ 889194 h 903351"/>
                  <a:gd name="connsiteX21" fmla="*/ 115 w 1225543"/>
                  <a:gd name="connsiteY21" fmla="*/ 849860 h 903351"/>
                  <a:gd name="connsiteX22" fmla="*/ 56307 w 1225543"/>
                  <a:gd name="connsiteY22" fmla="*/ 665253 h 903351"/>
                  <a:gd name="connsiteX23" fmla="*/ 313633 w 1225543"/>
                  <a:gd name="connsiteY23" fmla="*/ 501305 h 903351"/>
                  <a:gd name="connsiteX24" fmla="*/ 400069 w 1225543"/>
                  <a:gd name="connsiteY24" fmla="*/ 501801 h 903351"/>
                  <a:gd name="connsiteX25" fmla="*/ 585006 w 1225543"/>
                  <a:gd name="connsiteY25" fmla="*/ 592369 h 903351"/>
                  <a:gd name="connsiteX26" fmla="*/ 598724 w 1225543"/>
                  <a:gd name="connsiteY26" fmla="*/ 605426 h 903351"/>
                  <a:gd name="connsiteX27" fmla="*/ 609631 w 1225543"/>
                  <a:gd name="connsiteY27" fmla="*/ 594352 h 903351"/>
                  <a:gd name="connsiteX28" fmla="*/ 630456 w 1225543"/>
                  <a:gd name="connsiteY28" fmla="*/ 577164 h 903351"/>
                  <a:gd name="connsiteX29" fmla="*/ 698051 w 1225543"/>
                  <a:gd name="connsiteY29" fmla="*/ 564934 h 903351"/>
                  <a:gd name="connsiteX30" fmla="*/ 710612 w 1225543"/>
                  <a:gd name="connsiteY30" fmla="*/ 566422 h 903351"/>
                  <a:gd name="connsiteX31" fmla="*/ 711273 w 1225543"/>
                  <a:gd name="connsiteY31" fmla="*/ 561629 h 903351"/>
                  <a:gd name="connsiteX32" fmla="*/ 713917 w 1225543"/>
                  <a:gd name="connsiteY32" fmla="*/ 544441 h 903351"/>
                  <a:gd name="connsiteX33" fmla="*/ 884972 w 1225543"/>
                  <a:gd name="connsiteY33" fmla="*/ 415200 h 903351"/>
                  <a:gd name="connsiteX34" fmla="*/ 965458 w 1225543"/>
                  <a:gd name="connsiteY34" fmla="*/ 434536 h 903351"/>
                  <a:gd name="connsiteX35" fmla="*/ 971739 w 1225543"/>
                  <a:gd name="connsiteY35" fmla="*/ 433875 h 903351"/>
                  <a:gd name="connsiteX36" fmla="*/ 992397 w 1225543"/>
                  <a:gd name="connsiteY36" fmla="*/ 405779 h 903351"/>
                  <a:gd name="connsiteX37" fmla="*/ 1056522 w 1225543"/>
                  <a:gd name="connsiteY37" fmla="*/ 310253 h 903351"/>
                  <a:gd name="connsiteX38" fmla="*/ 1163452 w 1225543"/>
                  <a:gd name="connsiteY38" fmla="*/ 52266 h 903351"/>
                  <a:gd name="connsiteX39" fmla="*/ 1179814 w 1225543"/>
                  <a:gd name="connsiteY39" fmla="*/ 8965 h 903351"/>
                  <a:gd name="connsiteX40" fmla="*/ 1192705 w 1225543"/>
                  <a:gd name="connsiteY40" fmla="*/ 702 h 903351"/>
                  <a:gd name="connsiteX41" fmla="*/ 1225098 w 1225543"/>
                  <a:gd name="connsiteY41" fmla="*/ 33425 h 903351"/>
                  <a:gd name="connsiteX42" fmla="*/ 1203943 w 1225543"/>
                  <a:gd name="connsiteY42" fmla="*/ 109119 h 903351"/>
                  <a:gd name="connsiteX43" fmla="*/ 1061976 w 1225543"/>
                  <a:gd name="connsiteY43" fmla="*/ 410076 h 903351"/>
                  <a:gd name="connsiteX44" fmla="*/ 1008759 w 1225543"/>
                  <a:gd name="connsiteY44" fmla="*/ 479820 h 903351"/>
                  <a:gd name="connsiteX45" fmla="*/ 988761 w 1225543"/>
                  <a:gd name="connsiteY45" fmla="*/ 494860 h 903351"/>
                  <a:gd name="connsiteX46" fmla="*/ 988761 w 1225543"/>
                  <a:gd name="connsiteY46" fmla="*/ 494860 h 903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225543" h="903351">
                    <a:moveTo>
                      <a:pt x="988761" y="494529"/>
                    </a:moveTo>
                    <a:cubicBezTo>
                      <a:pt x="974714" y="498991"/>
                      <a:pt x="968433" y="498000"/>
                      <a:pt x="950915" y="488580"/>
                    </a:cubicBezTo>
                    <a:cubicBezTo>
                      <a:pt x="936536" y="480812"/>
                      <a:pt x="926455" y="476845"/>
                      <a:pt x="911250" y="473209"/>
                    </a:cubicBezTo>
                    <a:cubicBezTo>
                      <a:pt x="895384" y="469243"/>
                      <a:pt x="867784" y="468747"/>
                      <a:pt x="852579" y="472053"/>
                    </a:cubicBezTo>
                    <a:cubicBezTo>
                      <a:pt x="820847" y="478994"/>
                      <a:pt x="792090" y="500148"/>
                      <a:pt x="777546" y="527418"/>
                    </a:cubicBezTo>
                    <a:cubicBezTo>
                      <a:pt x="766142" y="548738"/>
                      <a:pt x="762341" y="580470"/>
                      <a:pt x="768291" y="604930"/>
                    </a:cubicBezTo>
                    <a:cubicBezTo>
                      <a:pt x="773414" y="626084"/>
                      <a:pt x="773745" y="630547"/>
                      <a:pt x="771266" y="637488"/>
                    </a:cubicBezTo>
                    <a:cubicBezTo>
                      <a:pt x="768291" y="645586"/>
                      <a:pt x="763168" y="650544"/>
                      <a:pt x="754904" y="653354"/>
                    </a:cubicBezTo>
                    <a:cubicBezTo>
                      <a:pt x="741683" y="657816"/>
                      <a:pt x="733088" y="654180"/>
                      <a:pt x="718379" y="638149"/>
                    </a:cubicBezTo>
                    <a:cubicBezTo>
                      <a:pt x="705488" y="623936"/>
                      <a:pt x="698216" y="619804"/>
                      <a:pt x="685160" y="618647"/>
                    </a:cubicBezTo>
                    <a:cubicBezTo>
                      <a:pt x="671112" y="617325"/>
                      <a:pt x="661031" y="620796"/>
                      <a:pt x="650949" y="630381"/>
                    </a:cubicBezTo>
                    <a:cubicBezTo>
                      <a:pt x="641198" y="639471"/>
                      <a:pt x="639215" y="644429"/>
                      <a:pt x="638389" y="660295"/>
                    </a:cubicBezTo>
                    <a:cubicBezTo>
                      <a:pt x="637728" y="673021"/>
                      <a:pt x="635083" y="679797"/>
                      <a:pt x="628142" y="686243"/>
                    </a:cubicBezTo>
                    <a:cubicBezTo>
                      <a:pt x="618556" y="695333"/>
                      <a:pt x="603517" y="696324"/>
                      <a:pt x="592774" y="688391"/>
                    </a:cubicBezTo>
                    <a:cubicBezTo>
                      <a:pt x="590130" y="686408"/>
                      <a:pt x="584676" y="679962"/>
                      <a:pt x="580048" y="672525"/>
                    </a:cubicBezTo>
                    <a:cubicBezTo>
                      <a:pt x="568479" y="654676"/>
                      <a:pt x="535095" y="619804"/>
                      <a:pt x="517907" y="607078"/>
                    </a:cubicBezTo>
                    <a:cubicBezTo>
                      <a:pt x="440064" y="550060"/>
                      <a:pt x="338919" y="537995"/>
                      <a:pt x="247359" y="574520"/>
                    </a:cubicBezTo>
                    <a:cubicBezTo>
                      <a:pt x="192324" y="596501"/>
                      <a:pt x="144065" y="635009"/>
                      <a:pt x="109193" y="684755"/>
                    </a:cubicBezTo>
                    <a:cubicBezTo>
                      <a:pt x="73825" y="734997"/>
                      <a:pt x="53828" y="800114"/>
                      <a:pt x="54819" y="861760"/>
                    </a:cubicBezTo>
                    <a:cubicBezTo>
                      <a:pt x="55150" y="883080"/>
                      <a:pt x="54324" y="887542"/>
                      <a:pt x="48539" y="895144"/>
                    </a:cubicBezTo>
                    <a:cubicBezTo>
                      <a:pt x="38458" y="908366"/>
                      <a:pt x="14824" y="905060"/>
                      <a:pt x="5404" y="889194"/>
                    </a:cubicBezTo>
                    <a:cubicBezTo>
                      <a:pt x="611" y="881261"/>
                      <a:pt x="-381" y="873163"/>
                      <a:pt x="115" y="849860"/>
                    </a:cubicBezTo>
                    <a:cubicBezTo>
                      <a:pt x="1602" y="784909"/>
                      <a:pt x="21104" y="720784"/>
                      <a:pt x="56307" y="665253"/>
                    </a:cubicBezTo>
                    <a:cubicBezTo>
                      <a:pt x="113325" y="575181"/>
                      <a:pt x="209016" y="514196"/>
                      <a:pt x="313633" y="501305"/>
                    </a:cubicBezTo>
                    <a:cubicBezTo>
                      <a:pt x="337431" y="498330"/>
                      <a:pt x="377262" y="498661"/>
                      <a:pt x="400069" y="501801"/>
                    </a:cubicBezTo>
                    <a:cubicBezTo>
                      <a:pt x="469813" y="511387"/>
                      <a:pt x="531128" y="541466"/>
                      <a:pt x="585006" y="592369"/>
                    </a:cubicBezTo>
                    <a:lnTo>
                      <a:pt x="598724" y="605426"/>
                    </a:lnTo>
                    <a:lnTo>
                      <a:pt x="609631" y="594352"/>
                    </a:lnTo>
                    <a:cubicBezTo>
                      <a:pt x="617234" y="586585"/>
                      <a:pt x="623514" y="581461"/>
                      <a:pt x="630456" y="577164"/>
                    </a:cubicBezTo>
                    <a:cubicBezTo>
                      <a:pt x="649957" y="565430"/>
                      <a:pt x="676070" y="560803"/>
                      <a:pt x="698051" y="564934"/>
                    </a:cubicBezTo>
                    <a:cubicBezTo>
                      <a:pt x="704497" y="566257"/>
                      <a:pt x="710281" y="566918"/>
                      <a:pt x="710612" y="566422"/>
                    </a:cubicBezTo>
                    <a:cubicBezTo>
                      <a:pt x="710942" y="565926"/>
                      <a:pt x="711438" y="563777"/>
                      <a:pt x="711273" y="561629"/>
                    </a:cubicBezTo>
                    <a:cubicBezTo>
                      <a:pt x="711273" y="559480"/>
                      <a:pt x="712430" y="551713"/>
                      <a:pt x="713917" y="544441"/>
                    </a:cubicBezTo>
                    <a:cubicBezTo>
                      <a:pt x="730279" y="465937"/>
                      <a:pt x="800684" y="412720"/>
                      <a:pt x="884972" y="415200"/>
                    </a:cubicBezTo>
                    <a:cubicBezTo>
                      <a:pt x="912241" y="416026"/>
                      <a:pt x="944469" y="423628"/>
                      <a:pt x="965458" y="434536"/>
                    </a:cubicBezTo>
                    <a:cubicBezTo>
                      <a:pt x="968929" y="436354"/>
                      <a:pt x="970086" y="436189"/>
                      <a:pt x="971739" y="433875"/>
                    </a:cubicBezTo>
                    <a:cubicBezTo>
                      <a:pt x="972896" y="432222"/>
                      <a:pt x="982151" y="419662"/>
                      <a:pt x="992397" y="405779"/>
                    </a:cubicBezTo>
                    <a:cubicBezTo>
                      <a:pt x="1012560" y="378675"/>
                      <a:pt x="1042309" y="334217"/>
                      <a:pt x="1056522" y="310253"/>
                    </a:cubicBezTo>
                    <a:cubicBezTo>
                      <a:pt x="1097014" y="241996"/>
                      <a:pt x="1138992" y="140851"/>
                      <a:pt x="1163452" y="52266"/>
                    </a:cubicBezTo>
                    <a:cubicBezTo>
                      <a:pt x="1173038" y="17725"/>
                      <a:pt x="1173864" y="15245"/>
                      <a:pt x="1179814" y="8965"/>
                    </a:cubicBezTo>
                    <a:cubicBezTo>
                      <a:pt x="1184772" y="3511"/>
                      <a:pt x="1187251" y="2024"/>
                      <a:pt x="1192705" y="702"/>
                    </a:cubicBezTo>
                    <a:cubicBezTo>
                      <a:pt x="1211215" y="-3761"/>
                      <a:pt x="1228569" y="13758"/>
                      <a:pt x="1225098" y="33425"/>
                    </a:cubicBezTo>
                    <a:cubicBezTo>
                      <a:pt x="1223445" y="42680"/>
                      <a:pt x="1211711" y="84824"/>
                      <a:pt x="1203943" y="109119"/>
                    </a:cubicBezTo>
                    <a:cubicBezTo>
                      <a:pt x="1171220" y="212413"/>
                      <a:pt x="1115028" y="331242"/>
                      <a:pt x="1061976" y="410076"/>
                    </a:cubicBezTo>
                    <a:cubicBezTo>
                      <a:pt x="1040326" y="442138"/>
                      <a:pt x="1021981" y="466433"/>
                      <a:pt x="1008759" y="479820"/>
                    </a:cubicBezTo>
                    <a:cubicBezTo>
                      <a:pt x="997521" y="491389"/>
                      <a:pt x="996033" y="492546"/>
                      <a:pt x="988761" y="494860"/>
                    </a:cubicBezTo>
                    <a:lnTo>
                      <a:pt x="988761" y="49486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61751515-947B-C795-E274-945A2BFE54CA}"/>
                  </a:ext>
                </a:extLst>
              </p:cNvPr>
              <p:cNvSpPr/>
              <p:nvPr/>
            </p:nvSpPr>
            <p:spPr>
              <a:xfrm>
                <a:off x="8818213" y="1211856"/>
                <a:ext cx="644553" cy="644553"/>
              </a:xfrm>
              <a:custGeom>
                <a:avLst/>
                <a:gdLst>
                  <a:gd name="connsiteX0" fmla="*/ 322277 w 644553"/>
                  <a:gd name="connsiteY0" fmla="*/ 0 h 644553"/>
                  <a:gd name="connsiteX1" fmla="*/ 322277 w 644553"/>
                  <a:gd name="connsiteY1" fmla="*/ 0 h 644553"/>
                  <a:gd name="connsiteX2" fmla="*/ 0 w 644553"/>
                  <a:gd name="connsiteY2" fmla="*/ 322277 h 644553"/>
                  <a:gd name="connsiteX3" fmla="*/ 322277 w 644553"/>
                  <a:gd name="connsiteY3" fmla="*/ 644554 h 644553"/>
                  <a:gd name="connsiteX4" fmla="*/ 322277 w 644553"/>
                  <a:gd name="connsiteY4" fmla="*/ 644554 h 644553"/>
                  <a:gd name="connsiteX5" fmla="*/ 644554 w 644553"/>
                  <a:gd name="connsiteY5" fmla="*/ 322277 h 644553"/>
                  <a:gd name="connsiteX6" fmla="*/ 322277 w 644553"/>
                  <a:gd name="connsiteY6" fmla="*/ 0 h 644553"/>
                  <a:gd name="connsiteX7" fmla="*/ 617945 w 644553"/>
                  <a:gd name="connsiteY7" fmla="*/ 322442 h 644553"/>
                  <a:gd name="connsiteX8" fmla="*/ 506057 w 644553"/>
                  <a:gd name="connsiteY8" fmla="*/ 345249 h 644553"/>
                  <a:gd name="connsiteX9" fmla="*/ 538120 w 644553"/>
                  <a:gd name="connsiteY9" fmla="*/ 302445 h 644553"/>
                  <a:gd name="connsiteX10" fmla="*/ 617945 w 644553"/>
                  <a:gd name="connsiteY10" fmla="*/ 322442 h 644553"/>
                  <a:gd name="connsiteX11" fmla="*/ 557126 w 644553"/>
                  <a:gd name="connsiteY11" fmla="*/ 272531 h 644553"/>
                  <a:gd name="connsiteX12" fmla="*/ 588693 w 644553"/>
                  <a:gd name="connsiteY12" fmla="*/ 193862 h 644553"/>
                  <a:gd name="connsiteX13" fmla="*/ 616293 w 644553"/>
                  <a:gd name="connsiteY13" fmla="*/ 289553 h 644553"/>
                  <a:gd name="connsiteX14" fmla="*/ 600923 w 644553"/>
                  <a:gd name="connsiteY14" fmla="*/ 285256 h 644553"/>
                  <a:gd name="connsiteX15" fmla="*/ 554151 w 644553"/>
                  <a:gd name="connsiteY15" fmla="*/ 277654 h 644553"/>
                  <a:gd name="connsiteX16" fmla="*/ 557126 w 644553"/>
                  <a:gd name="connsiteY16" fmla="*/ 272696 h 644553"/>
                  <a:gd name="connsiteX17" fmla="*/ 548036 w 644553"/>
                  <a:gd name="connsiteY17" fmla="*/ 131720 h 644553"/>
                  <a:gd name="connsiteX18" fmla="*/ 549193 w 644553"/>
                  <a:gd name="connsiteY18" fmla="*/ 133043 h 644553"/>
                  <a:gd name="connsiteX19" fmla="*/ 502752 w 644553"/>
                  <a:gd name="connsiteY19" fmla="*/ 261623 h 644553"/>
                  <a:gd name="connsiteX20" fmla="*/ 471681 w 644553"/>
                  <a:gd name="connsiteY20" fmla="*/ 133043 h 644553"/>
                  <a:gd name="connsiteX21" fmla="*/ 548036 w 644553"/>
                  <a:gd name="connsiteY21" fmla="*/ 131886 h 644553"/>
                  <a:gd name="connsiteX22" fmla="*/ 322277 w 644553"/>
                  <a:gd name="connsiteY22" fmla="*/ 351530 h 644553"/>
                  <a:gd name="connsiteX23" fmla="*/ 168576 w 644553"/>
                  <a:gd name="connsiteY23" fmla="*/ 347233 h 644553"/>
                  <a:gd name="connsiteX24" fmla="*/ 215843 w 644553"/>
                  <a:gd name="connsiteY24" fmla="*/ 295007 h 644553"/>
                  <a:gd name="connsiteX25" fmla="*/ 322277 w 644553"/>
                  <a:gd name="connsiteY25" fmla="*/ 293024 h 644553"/>
                  <a:gd name="connsiteX26" fmla="*/ 475978 w 644553"/>
                  <a:gd name="connsiteY26" fmla="*/ 297321 h 644553"/>
                  <a:gd name="connsiteX27" fmla="*/ 428711 w 644553"/>
                  <a:gd name="connsiteY27" fmla="*/ 349547 h 644553"/>
                  <a:gd name="connsiteX28" fmla="*/ 322277 w 644553"/>
                  <a:gd name="connsiteY28" fmla="*/ 351530 h 644553"/>
                  <a:gd name="connsiteX29" fmla="*/ 399954 w 644553"/>
                  <a:gd name="connsiteY29" fmla="*/ 377147 h 644553"/>
                  <a:gd name="connsiteX30" fmla="*/ 381774 w 644553"/>
                  <a:gd name="connsiteY30" fmla="*/ 393178 h 644553"/>
                  <a:gd name="connsiteX31" fmla="*/ 261292 w 644553"/>
                  <a:gd name="connsiteY31" fmla="*/ 474987 h 644553"/>
                  <a:gd name="connsiteX32" fmla="*/ 198159 w 644553"/>
                  <a:gd name="connsiteY32" fmla="*/ 503248 h 644553"/>
                  <a:gd name="connsiteX33" fmla="*/ 167749 w 644553"/>
                  <a:gd name="connsiteY33" fmla="*/ 374007 h 644553"/>
                  <a:gd name="connsiteX34" fmla="*/ 322442 w 644553"/>
                  <a:gd name="connsiteY34" fmla="*/ 378304 h 644553"/>
                  <a:gd name="connsiteX35" fmla="*/ 400119 w 644553"/>
                  <a:gd name="connsiteY35" fmla="*/ 377312 h 644553"/>
                  <a:gd name="connsiteX36" fmla="*/ 322277 w 644553"/>
                  <a:gd name="connsiteY36" fmla="*/ 266581 h 644553"/>
                  <a:gd name="connsiteX37" fmla="*/ 244600 w 644553"/>
                  <a:gd name="connsiteY37" fmla="*/ 267573 h 644553"/>
                  <a:gd name="connsiteX38" fmla="*/ 262780 w 644553"/>
                  <a:gd name="connsiteY38" fmla="*/ 251541 h 644553"/>
                  <a:gd name="connsiteX39" fmla="*/ 383262 w 644553"/>
                  <a:gd name="connsiteY39" fmla="*/ 169733 h 644553"/>
                  <a:gd name="connsiteX40" fmla="*/ 446395 w 644553"/>
                  <a:gd name="connsiteY40" fmla="*/ 141471 h 644553"/>
                  <a:gd name="connsiteX41" fmla="*/ 476804 w 644553"/>
                  <a:gd name="connsiteY41" fmla="*/ 270713 h 644553"/>
                  <a:gd name="connsiteX42" fmla="*/ 322112 w 644553"/>
                  <a:gd name="connsiteY42" fmla="*/ 266416 h 644553"/>
                  <a:gd name="connsiteX43" fmla="*/ 494819 w 644553"/>
                  <a:gd name="connsiteY43" fmla="*/ 82305 h 644553"/>
                  <a:gd name="connsiteX44" fmla="*/ 449535 w 644553"/>
                  <a:gd name="connsiteY44" fmla="*/ 88089 h 644553"/>
                  <a:gd name="connsiteX45" fmla="*/ 413010 w 644553"/>
                  <a:gd name="connsiteY45" fmla="*/ 40822 h 644553"/>
                  <a:gd name="connsiteX46" fmla="*/ 494819 w 644553"/>
                  <a:gd name="connsiteY46" fmla="*/ 82305 h 644553"/>
                  <a:gd name="connsiteX47" fmla="*/ 322277 w 644553"/>
                  <a:gd name="connsiteY47" fmla="*/ 26608 h 644553"/>
                  <a:gd name="connsiteX48" fmla="*/ 322277 w 644553"/>
                  <a:gd name="connsiteY48" fmla="*/ 26608 h 644553"/>
                  <a:gd name="connsiteX49" fmla="*/ 423257 w 644553"/>
                  <a:gd name="connsiteY49" fmla="*/ 95857 h 644553"/>
                  <a:gd name="connsiteX50" fmla="*/ 412184 w 644553"/>
                  <a:gd name="connsiteY50" fmla="*/ 99823 h 644553"/>
                  <a:gd name="connsiteX51" fmla="*/ 227742 w 644553"/>
                  <a:gd name="connsiteY51" fmla="*/ 209728 h 644553"/>
                  <a:gd name="connsiteX52" fmla="*/ 168080 w 644553"/>
                  <a:gd name="connsiteY52" fmla="*/ 265920 h 644553"/>
                  <a:gd name="connsiteX53" fmla="*/ 322277 w 644553"/>
                  <a:gd name="connsiteY53" fmla="*/ 26608 h 644553"/>
                  <a:gd name="connsiteX54" fmla="*/ 231544 w 644553"/>
                  <a:gd name="connsiteY54" fmla="*/ 40822 h 644553"/>
                  <a:gd name="connsiteX55" fmla="*/ 140645 w 644553"/>
                  <a:gd name="connsiteY55" fmla="*/ 272696 h 644553"/>
                  <a:gd name="connsiteX56" fmla="*/ 110566 w 644553"/>
                  <a:gd name="connsiteY56" fmla="*/ 275340 h 644553"/>
                  <a:gd name="connsiteX57" fmla="*/ 43797 w 644553"/>
                  <a:gd name="connsiteY57" fmla="*/ 285256 h 644553"/>
                  <a:gd name="connsiteX58" fmla="*/ 28427 w 644553"/>
                  <a:gd name="connsiteY58" fmla="*/ 289553 h 644553"/>
                  <a:gd name="connsiteX59" fmla="*/ 231544 w 644553"/>
                  <a:gd name="connsiteY59" fmla="*/ 40987 h 644553"/>
                  <a:gd name="connsiteX60" fmla="*/ 26609 w 644553"/>
                  <a:gd name="connsiteY60" fmla="*/ 322442 h 644553"/>
                  <a:gd name="connsiteX61" fmla="*/ 138496 w 644553"/>
                  <a:gd name="connsiteY61" fmla="*/ 299635 h 644553"/>
                  <a:gd name="connsiteX62" fmla="*/ 106434 w 644553"/>
                  <a:gd name="connsiteY62" fmla="*/ 342440 h 644553"/>
                  <a:gd name="connsiteX63" fmla="*/ 26609 w 644553"/>
                  <a:gd name="connsiteY63" fmla="*/ 322442 h 644553"/>
                  <a:gd name="connsiteX64" fmla="*/ 87428 w 644553"/>
                  <a:gd name="connsiteY64" fmla="*/ 372189 h 644553"/>
                  <a:gd name="connsiteX65" fmla="*/ 55861 w 644553"/>
                  <a:gd name="connsiteY65" fmla="*/ 450857 h 644553"/>
                  <a:gd name="connsiteX66" fmla="*/ 28261 w 644553"/>
                  <a:gd name="connsiteY66" fmla="*/ 355166 h 644553"/>
                  <a:gd name="connsiteX67" fmla="*/ 43631 w 644553"/>
                  <a:gd name="connsiteY67" fmla="*/ 359463 h 644553"/>
                  <a:gd name="connsiteX68" fmla="*/ 90403 w 644553"/>
                  <a:gd name="connsiteY68" fmla="*/ 367065 h 644553"/>
                  <a:gd name="connsiteX69" fmla="*/ 87428 w 644553"/>
                  <a:gd name="connsiteY69" fmla="*/ 372023 h 644553"/>
                  <a:gd name="connsiteX70" fmla="*/ 96353 w 644553"/>
                  <a:gd name="connsiteY70" fmla="*/ 513164 h 644553"/>
                  <a:gd name="connsiteX71" fmla="*/ 95196 w 644553"/>
                  <a:gd name="connsiteY71" fmla="*/ 511842 h 644553"/>
                  <a:gd name="connsiteX72" fmla="*/ 141636 w 644553"/>
                  <a:gd name="connsiteY72" fmla="*/ 383262 h 644553"/>
                  <a:gd name="connsiteX73" fmla="*/ 172707 w 644553"/>
                  <a:gd name="connsiteY73" fmla="*/ 511842 h 644553"/>
                  <a:gd name="connsiteX74" fmla="*/ 96353 w 644553"/>
                  <a:gd name="connsiteY74" fmla="*/ 512999 h 644553"/>
                  <a:gd name="connsiteX75" fmla="*/ 149735 w 644553"/>
                  <a:gd name="connsiteY75" fmla="*/ 562415 h 644553"/>
                  <a:gd name="connsiteX76" fmla="*/ 195019 w 644553"/>
                  <a:gd name="connsiteY76" fmla="*/ 556630 h 644553"/>
                  <a:gd name="connsiteX77" fmla="*/ 231544 w 644553"/>
                  <a:gd name="connsiteY77" fmla="*/ 603897 h 644553"/>
                  <a:gd name="connsiteX78" fmla="*/ 149735 w 644553"/>
                  <a:gd name="connsiteY78" fmla="*/ 562415 h 644553"/>
                  <a:gd name="connsiteX79" fmla="*/ 322277 w 644553"/>
                  <a:gd name="connsiteY79" fmla="*/ 618111 h 644553"/>
                  <a:gd name="connsiteX80" fmla="*/ 221297 w 644553"/>
                  <a:gd name="connsiteY80" fmla="*/ 548862 h 644553"/>
                  <a:gd name="connsiteX81" fmla="*/ 232370 w 644553"/>
                  <a:gd name="connsiteY81" fmla="*/ 544896 h 644553"/>
                  <a:gd name="connsiteX82" fmla="*/ 416812 w 644553"/>
                  <a:gd name="connsiteY82" fmla="*/ 434991 h 644553"/>
                  <a:gd name="connsiteX83" fmla="*/ 476474 w 644553"/>
                  <a:gd name="connsiteY83" fmla="*/ 378799 h 644553"/>
                  <a:gd name="connsiteX84" fmla="*/ 322277 w 644553"/>
                  <a:gd name="connsiteY84" fmla="*/ 618111 h 644553"/>
                  <a:gd name="connsiteX85" fmla="*/ 413010 w 644553"/>
                  <a:gd name="connsiteY85" fmla="*/ 603897 h 644553"/>
                  <a:gd name="connsiteX86" fmla="*/ 503909 w 644553"/>
                  <a:gd name="connsiteY86" fmla="*/ 372023 h 644553"/>
                  <a:gd name="connsiteX87" fmla="*/ 533988 w 644553"/>
                  <a:gd name="connsiteY87" fmla="*/ 369379 h 644553"/>
                  <a:gd name="connsiteX88" fmla="*/ 600757 w 644553"/>
                  <a:gd name="connsiteY88" fmla="*/ 359463 h 644553"/>
                  <a:gd name="connsiteX89" fmla="*/ 616127 w 644553"/>
                  <a:gd name="connsiteY89" fmla="*/ 355166 h 644553"/>
                  <a:gd name="connsiteX90" fmla="*/ 413010 w 644553"/>
                  <a:gd name="connsiteY90" fmla="*/ 603732 h 644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44553" h="644553">
                    <a:moveTo>
                      <a:pt x="322277" y="0"/>
                    </a:moveTo>
                    <a:lnTo>
                      <a:pt x="322277" y="0"/>
                    </a:lnTo>
                    <a:cubicBezTo>
                      <a:pt x="144611" y="0"/>
                      <a:pt x="0" y="144611"/>
                      <a:pt x="0" y="322277"/>
                    </a:cubicBezTo>
                    <a:cubicBezTo>
                      <a:pt x="0" y="499942"/>
                      <a:pt x="144611" y="644554"/>
                      <a:pt x="322277" y="644554"/>
                    </a:cubicBezTo>
                    <a:lnTo>
                      <a:pt x="322277" y="644554"/>
                    </a:lnTo>
                    <a:cubicBezTo>
                      <a:pt x="499942" y="644554"/>
                      <a:pt x="644554" y="499942"/>
                      <a:pt x="644554" y="322277"/>
                    </a:cubicBezTo>
                    <a:cubicBezTo>
                      <a:pt x="644554" y="144611"/>
                      <a:pt x="499942" y="0"/>
                      <a:pt x="322277" y="0"/>
                    </a:cubicBezTo>
                    <a:close/>
                    <a:moveTo>
                      <a:pt x="617945" y="322442"/>
                    </a:moveTo>
                    <a:cubicBezTo>
                      <a:pt x="617945" y="331697"/>
                      <a:pt x="574149" y="339961"/>
                      <a:pt x="506057" y="345249"/>
                    </a:cubicBezTo>
                    <a:cubicBezTo>
                      <a:pt x="517461" y="331367"/>
                      <a:pt x="528204" y="317154"/>
                      <a:pt x="538120" y="302445"/>
                    </a:cubicBezTo>
                    <a:cubicBezTo>
                      <a:pt x="587701" y="307733"/>
                      <a:pt x="617945" y="314674"/>
                      <a:pt x="617945" y="322442"/>
                    </a:cubicBezTo>
                    <a:close/>
                    <a:moveTo>
                      <a:pt x="557126" y="272531"/>
                    </a:moveTo>
                    <a:cubicBezTo>
                      <a:pt x="570678" y="249393"/>
                      <a:pt x="584230" y="221958"/>
                      <a:pt x="588693" y="193862"/>
                    </a:cubicBezTo>
                    <a:cubicBezTo>
                      <a:pt x="602906" y="223280"/>
                      <a:pt x="612491" y="255508"/>
                      <a:pt x="616293" y="289553"/>
                    </a:cubicBezTo>
                    <a:cubicBezTo>
                      <a:pt x="610508" y="287405"/>
                      <a:pt x="604889" y="286083"/>
                      <a:pt x="600923" y="285256"/>
                    </a:cubicBezTo>
                    <a:cubicBezTo>
                      <a:pt x="588858" y="282447"/>
                      <a:pt x="573157" y="279803"/>
                      <a:pt x="554151" y="277654"/>
                    </a:cubicBezTo>
                    <a:cubicBezTo>
                      <a:pt x="555143" y="276001"/>
                      <a:pt x="556134" y="274349"/>
                      <a:pt x="557126" y="272696"/>
                    </a:cubicBezTo>
                    <a:close/>
                    <a:moveTo>
                      <a:pt x="548036" y="131720"/>
                    </a:moveTo>
                    <a:cubicBezTo>
                      <a:pt x="548036" y="131720"/>
                      <a:pt x="548697" y="132547"/>
                      <a:pt x="549193" y="133043"/>
                    </a:cubicBezTo>
                    <a:cubicBezTo>
                      <a:pt x="567373" y="157337"/>
                      <a:pt x="529030" y="222784"/>
                      <a:pt x="502752" y="261623"/>
                    </a:cubicBezTo>
                    <a:cubicBezTo>
                      <a:pt x="497794" y="214025"/>
                      <a:pt x="487051" y="170394"/>
                      <a:pt x="471681" y="133043"/>
                    </a:cubicBezTo>
                    <a:cubicBezTo>
                      <a:pt x="503909" y="123126"/>
                      <a:pt x="535310" y="118499"/>
                      <a:pt x="548036" y="131886"/>
                    </a:cubicBezTo>
                    <a:close/>
                    <a:moveTo>
                      <a:pt x="322277" y="351530"/>
                    </a:moveTo>
                    <a:cubicBezTo>
                      <a:pt x="265920" y="351530"/>
                      <a:pt x="213364" y="350042"/>
                      <a:pt x="168576" y="347233"/>
                    </a:cubicBezTo>
                    <a:cubicBezTo>
                      <a:pt x="183285" y="329218"/>
                      <a:pt x="199151" y="311865"/>
                      <a:pt x="215843" y="295007"/>
                    </a:cubicBezTo>
                    <a:cubicBezTo>
                      <a:pt x="248897" y="293685"/>
                      <a:pt x="284761" y="293024"/>
                      <a:pt x="322277" y="293024"/>
                    </a:cubicBezTo>
                    <a:cubicBezTo>
                      <a:pt x="378634" y="293024"/>
                      <a:pt x="431190" y="294512"/>
                      <a:pt x="475978" y="297321"/>
                    </a:cubicBezTo>
                    <a:cubicBezTo>
                      <a:pt x="461269" y="315336"/>
                      <a:pt x="445403" y="332689"/>
                      <a:pt x="428711" y="349547"/>
                    </a:cubicBezTo>
                    <a:cubicBezTo>
                      <a:pt x="395657" y="350869"/>
                      <a:pt x="359793" y="351530"/>
                      <a:pt x="322277" y="351530"/>
                    </a:cubicBezTo>
                    <a:close/>
                    <a:moveTo>
                      <a:pt x="399954" y="377147"/>
                    </a:moveTo>
                    <a:cubicBezTo>
                      <a:pt x="394004" y="382601"/>
                      <a:pt x="387889" y="387889"/>
                      <a:pt x="381774" y="393178"/>
                    </a:cubicBezTo>
                    <a:cubicBezTo>
                      <a:pt x="344093" y="424579"/>
                      <a:pt x="303271" y="452014"/>
                      <a:pt x="261292" y="474987"/>
                    </a:cubicBezTo>
                    <a:cubicBezTo>
                      <a:pt x="252864" y="479614"/>
                      <a:pt x="227081" y="492340"/>
                      <a:pt x="198159" y="503248"/>
                    </a:cubicBezTo>
                    <a:cubicBezTo>
                      <a:pt x="182954" y="466062"/>
                      <a:pt x="172212" y="422100"/>
                      <a:pt x="167749" y="374007"/>
                    </a:cubicBezTo>
                    <a:cubicBezTo>
                      <a:pt x="214025" y="376816"/>
                      <a:pt x="267077" y="378304"/>
                      <a:pt x="322442" y="378304"/>
                    </a:cubicBezTo>
                    <a:cubicBezTo>
                      <a:pt x="349051" y="378304"/>
                      <a:pt x="374998" y="377973"/>
                      <a:pt x="400119" y="377312"/>
                    </a:cubicBezTo>
                    <a:close/>
                    <a:moveTo>
                      <a:pt x="322277" y="266581"/>
                    </a:moveTo>
                    <a:cubicBezTo>
                      <a:pt x="295668" y="266581"/>
                      <a:pt x="269721" y="266911"/>
                      <a:pt x="244600" y="267573"/>
                    </a:cubicBezTo>
                    <a:cubicBezTo>
                      <a:pt x="250549" y="262119"/>
                      <a:pt x="256665" y="256830"/>
                      <a:pt x="262780" y="251541"/>
                    </a:cubicBezTo>
                    <a:cubicBezTo>
                      <a:pt x="300461" y="220140"/>
                      <a:pt x="341283" y="192705"/>
                      <a:pt x="383262" y="169733"/>
                    </a:cubicBezTo>
                    <a:cubicBezTo>
                      <a:pt x="391690" y="165105"/>
                      <a:pt x="417473" y="152379"/>
                      <a:pt x="446395" y="141471"/>
                    </a:cubicBezTo>
                    <a:cubicBezTo>
                      <a:pt x="461600" y="178657"/>
                      <a:pt x="472342" y="222619"/>
                      <a:pt x="476804" y="270713"/>
                    </a:cubicBezTo>
                    <a:cubicBezTo>
                      <a:pt x="430529" y="267903"/>
                      <a:pt x="377477" y="266416"/>
                      <a:pt x="322112" y="266416"/>
                    </a:cubicBezTo>
                    <a:close/>
                    <a:moveTo>
                      <a:pt x="494819" y="82305"/>
                    </a:moveTo>
                    <a:cubicBezTo>
                      <a:pt x="479779" y="82139"/>
                      <a:pt x="464409" y="84453"/>
                      <a:pt x="449535" y="88089"/>
                    </a:cubicBezTo>
                    <a:cubicBezTo>
                      <a:pt x="438627" y="69744"/>
                      <a:pt x="426397" y="53878"/>
                      <a:pt x="413010" y="40822"/>
                    </a:cubicBezTo>
                    <a:cubicBezTo>
                      <a:pt x="442594" y="50407"/>
                      <a:pt x="470029" y="64455"/>
                      <a:pt x="494819" y="82305"/>
                    </a:cubicBezTo>
                    <a:close/>
                    <a:moveTo>
                      <a:pt x="322277" y="26608"/>
                    </a:moveTo>
                    <a:lnTo>
                      <a:pt x="322277" y="26608"/>
                    </a:lnTo>
                    <a:cubicBezTo>
                      <a:pt x="360620" y="26608"/>
                      <a:pt x="395822" y="52721"/>
                      <a:pt x="423257" y="95857"/>
                    </a:cubicBezTo>
                    <a:cubicBezTo>
                      <a:pt x="419456" y="97179"/>
                      <a:pt x="415820" y="98501"/>
                      <a:pt x="412184" y="99823"/>
                    </a:cubicBezTo>
                    <a:cubicBezTo>
                      <a:pt x="346406" y="124283"/>
                      <a:pt x="283438" y="162791"/>
                      <a:pt x="227742" y="209728"/>
                    </a:cubicBezTo>
                    <a:cubicBezTo>
                      <a:pt x="206753" y="227247"/>
                      <a:pt x="186755" y="246087"/>
                      <a:pt x="168080" y="265920"/>
                    </a:cubicBezTo>
                    <a:cubicBezTo>
                      <a:pt x="182128" y="129737"/>
                      <a:pt x="245922" y="26608"/>
                      <a:pt x="322277" y="26608"/>
                    </a:cubicBezTo>
                    <a:close/>
                    <a:moveTo>
                      <a:pt x="231544" y="40822"/>
                    </a:moveTo>
                    <a:cubicBezTo>
                      <a:pt x="183450" y="87924"/>
                      <a:pt x="149239" y="171881"/>
                      <a:pt x="140645" y="272696"/>
                    </a:cubicBezTo>
                    <a:cubicBezTo>
                      <a:pt x="130233" y="273522"/>
                      <a:pt x="120151" y="274349"/>
                      <a:pt x="110566" y="275340"/>
                    </a:cubicBezTo>
                    <a:cubicBezTo>
                      <a:pt x="82305" y="278150"/>
                      <a:pt x="59828" y="281455"/>
                      <a:pt x="43797" y="285256"/>
                    </a:cubicBezTo>
                    <a:cubicBezTo>
                      <a:pt x="39830" y="286248"/>
                      <a:pt x="34211" y="287570"/>
                      <a:pt x="28427" y="289553"/>
                    </a:cubicBezTo>
                    <a:cubicBezTo>
                      <a:pt x="41483" y="172542"/>
                      <a:pt x="122796" y="76024"/>
                      <a:pt x="231544" y="40987"/>
                    </a:cubicBezTo>
                    <a:close/>
                    <a:moveTo>
                      <a:pt x="26609" y="322442"/>
                    </a:moveTo>
                    <a:cubicBezTo>
                      <a:pt x="26609" y="313187"/>
                      <a:pt x="70405" y="304924"/>
                      <a:pt x="138496" y="299635"/>
                    </a:cubicBezTo>
                    <a:cubicBezTo>
                      <a:pt x="127093" y="313518"/>
                      <a:pt x="116350" y="327731"/>
                      <a:pt x="106434" y="342440"/>
                    </a:cubicBezTo>
                    <a:cubicBezTo>
                      <a:pt x="56853" y="337151"/>
                      <a:pt x="26609" y="330210"/>
                      <a:pt x="26609" y="322442"/>
                    </a:cubicBezTo>
                    <a:close/>
                    <a:moveTo>
                      <a:pt x="87428" y="372189"/>
                    </a:moveTo>
                    <a:cubicBezTo>
                      <a:pt x="73876" y="395326"/>
                      <a:pt x="60324" y="422761"/>
                      <a:pt x="55861" y="450857"/>
                    </a:cubicBezTo>
                    <a:cubicBezTo>
                      <a:pt x="41648" y="421439"/>
                      <a:pt x="32062" y="389211"/>
                      <a:pt x="28261" y="355166"/>
                    </a:cubicBezTo>
                    <a:cubicBezTo>
                      <a:pt x="34046" y="357314"/>
                      <a:pt x="39665" y="358636"/>
                      <a:pt x="43631" y="359463"/>
                    </a:cubicBezTo>
                    <a:cubicBezTo>
                      <a:pt x="55696" y="362272"/>
                      <a:pt x="71397" y="364917"/>
                      <a:pt x="90403" y="367065"/>
                    </a:cubicBezTo>
                    <a:cubicBezTo>
                      <a:pt x="89411" y="368718"/>
                      <a:pt x="88419" y="370371"/>
                      <a:pt x="87428" y="372023"/>
                    </a:cubicBezTo>
                    <a:close/>
                    <a:moveTo>
                      <a:pt x="96353" y="513164"/>
                    </a:moveTo>
                    <a:cubicBezTo>
                      <a:pt x="96353" y="513164"/>
                      <a:pt x="95691" y="512338"/>
                      <a:pt x="95196" y="511842"/>
                    </a:cubicBezTo>
                    <a:cubicBezTo>
                      <a:pt x="77016" y="487547"/>
                      <a:pt x="115359" y="422100"/>
                      <a:pt x="141636" y="383262"/>
                    </a:cubicBezTo>
                    <a:cubicBezTo>
                      <a:pt x="146595" y="430859"/>
                      <a:pt x="157337" y="474491"/>
                      <a:pt x="172707" y="511842"/>
                    </a:cubicBezTo>
                    <a:cubicBezTo>
                      <a:pt x="140480" y="521758"/>
                      <a:pt x="109078" y="526386"/>
                      <a:pt x="96353" y="512999"/>
                    </a:cubicBezTo>
                    <a:close/>
                    <a:moveTo>
                      <a:pt x="149735" y="562415"/>
                    </a:moveTo>
                    <a:cubicBezTo>
                      <a:pt x="164774" y="562580"/>
                      <a:pt x="180144" y="560266"/>
                      <a:pt x="195019" y="556630"/>
                    </a:cubicBezTo>
                    <a:cubicBezTo>
                      <a:pt x="205927" y="574975"/>
                      <a:pt x="218157" y="590841"/>
                      <a:pt x="231544" y="603897"/>
                    </a:cubicBezTo>
                    <a:cubicBezTo>
                      <a:pt x="201960" y="594312"/>
                      <a:pt x="174525" y="580264"/>
                      <a:pt x="149735" y="562415"/>
                    </a:cubicBezTo>
                    <a:close/>
                    <a:moveTo>
                      <a:pt x="322277" y="618111"/>
                    </a:moveTo>
                    <a:cubicBezTo>
                      <a:pt x="283934" y="618111"/>
                      <a:pt x="248732" y="591998"/>
                      <a:pt x="221297" y="548862"/>
                    </a:cubicBezTo>
                    <a:cubicBezTo>
                      <a:pt x="225098" y="547540"/>
                      <a:pt x="228734" y="546218"/>
                      <a:pt x="232370" y="544896"/>
                    </a:cubicBezTo>
                    <a:cubicBezTo>
                      <a:pt x="298147" y="520436"/>
                      <a:pt x="361115" y="481928"/>
                      <a:pt x="416812" y="434991"/>
                    </a:cubicBezTo>
                    <a:cubicBezTo>
                      <a:pt x="437801" y="417473"/>
                      <a:pt x="457799" y="398632"/>
                      <a:pt x="476474" y="378799"/>
                    </a:cubicBezTo>
                    <a:cubicBezTo>
                      <a:pt x="462426" y="514982"/>
                      <a:pt x="398632" y="618111"/>
                      <a:pt x="322277" y="618111"/>
                    </a:cubicBezTo>
                    <a:close/>
                    <a:moveTo>
                      <a:pt x="413010" y="603897"/>
                    </a:moveTo>
                    <a:cubicBezTo>
                      <a:pt x="461104" y="556795"/>
                      <a:pt x="495315" y="472838"/>
                      <a:pt x="503909" y="372023"/>
                    </a:cubicBezTo>
                    <a:cubicBezTo>
                      <a:pt x="514486" y="371197"/>
                      <a:pt x="524402" y="370371"/>
                      <a:pt x="533988" y="369379"/>
                    </a:cubicBezTo>
                    <a:cubicBezTo>
                      <a:pt x="562249" y="366569"/>
                      <a:pt x="584726" y="363264"/>
                      <a:pt x="600757" y="359463"/>
                    </a:cubicBezTo>
                    <a:cubicBezTo>
                      <a:pt x="604724" y="358471"/>
                      <a:pt x="610343" y="357149"/>
                      <a:pt x="616127" y="355166"/>
                    </a:cubicBezTo>
                    <a:cubicBezTo>
                      <a:pt x="603071" y="472177"/>
                      <a:pt x="521758" y="568695"/>
                      <a:pt x="413010" y="60373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49747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684D5582-F976-F051-EDE1-C5E82CC1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1600058-E735-8C96-FACB-9957DF9CFC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1EAF78-8444-739A-69B0-DFD1BCC1F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20C1FE-E7B4-04B1-F6BF-AF5F41E9BA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CR </a:t>
            </a:r>
            <a:r>
              <a:rPr lang="en-US" dirty="0" err="1"/>
              <a:t>Atleos</a:t>
            </a:r>
            <a:r>
              <a:rPr lang="en-US" dirty="0"/>
              <a:t>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CFF23-B975-9E67-9263-C077DC47D5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6C3BBE-A286-8A42-8D1F-96885F6DDE0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E0222C-8B3D-B6BF-1E25-A00FA4F5C162}"/>
              </a:ext>
            </a:extLst>
          </p:cNvPr>
          <p:cNvSpPr/>
          <p:nvPr userDrawn="1"/>
        </p:nvSpPr>
        <p:spPr>
          <a:xfrm>
            <a:off x="468126" y="6400799"/>
            <a:ext cx="1455924" cy="451233"/>
          </a:xfrm>
          <a:prstGeom prst="rect">
            <a:avLst/>
          </a:prstGeom>
          <a:solidFill>
            <a:srgbClr val="0036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499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- body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4B1ED3C-F34C-C5BE-7E38-4A216D3C4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1A3E626-2FCA-B8D9-BAE5-350C74AD80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B4C7155-9A8F-2196-3E34-264D12B9EC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29225E-6BCC-C25E-3D06-F8131326D3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71600"/>
            <a:ext cx="10972800" cy="48768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A964B61-5F1D-4DC2-ABB8-81D74C7533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6425608"/>
            <a:ext cx="1223963" cy="32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8774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94572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256A5207-6608-CBBE-DDB6-29780D08E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F91CCFC-CF8D-9FBB-1AC7-0B35CC5D1AC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3228" y="4336539"/>
            <a:ext cx="7004288" cy="937104"/>
          </a:xfrm>
        </p:spPr>
        <p:txBody>
          <a:bodyPr wrap="square" lIns="0" tIns="0" rIns="0" bIns="0" anchor="t" anchorCtr="0">
            <a:normAutofit/>
          </a:bodyPr>
          <a:lstStyle>
            <a:lvl1pPr algn="ctr">
              <a:defRPr sz="32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56794" y="5497688"/>
            <a:ext cx="5750051" cy="54751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3947A5D-050D-3ED8-6FCC-C5F7CD9FF3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52725" y="1340236"/>
            <a:ext cx="6758188" cy="182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6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256A5207-6608-CBBE-DDB6-29780D08E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F91CCFC-CF8D-9FBB-1AC7-0B35CC5D1AC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3228" y="4336539"/>
            <a:ext cx="7004288" cy="937104"/>
          </a:xfrm>
        </p:spPr>
        <p:txBody>
          <a:bodyPr wrap="square" lIns="0" tIns="0" rIns="0" bIns="0" anchor="t" anchorCtr="0">
            <a:normAutofit/>
          </a:bodyPr>
          <a:lstStyle>
            <a:lvl1pPr algn="ctr">
              <a:defRPr sz="32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56794" y="5497688"/>
            <a:ext cx="5750051" cy="54751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55E514C-2613-A248-45DF-7A208E6945F9}"/>
              </a:ext>
            </a:extLst>
          </p:cNvPr>
          <p:cNvGrpSpPr/>
          <p:nvPr userDrawn="1"/>
        </p:nvGrpSpPr>
        <p:grpSpPr>
          <a:xfrm>
            <a:off x="2752724" y="1340236"/>
            <a:ext cx="6765655" cy="1822342"/>
            <a:chOff x="2752724" y="1340236"/>
            <a:chExt cx="6765655" cy="18223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6B7D02E-E305-6EB2-BDF4-E960AB2A8538}"/>
                </a:ext>
              </a:extLst>
            </p:cNvPr>
            <p:cNvSpPr/>
            <p:nvPr/>
          </p:nvSpPr>
          <p:spPr>
            <a:xfrm>
              <a:off x="2752724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D83F4D-80B6-EA65-E174-9628AF7A1033}"/>
                </a:ext>
              </a:extLst>
            </p:cNvPr>
            <p:cNvSpPr/>
            <p:nvPr/>
          </p:nvSpPr>
          <p:spPr>
            <a:xfrm>
              <a:off x="3466614" y="1873968"/>
              <a:ext cx="782018" cy="719173"/>
            </a:xfrm>
            <a:custGeom>
              <a:avLst/>
              <a:gdLst>
                <a:gd name="connsiteX0" fmla="*/ 136075 w 782018"/>
                <a:gd name="connsiteY0" fmla="*/ 719173 h 719173"/>
                <a:gd name="connsiteX1" fmla="*/ 0 w 782018"/>
                <a:gd name="connsiteY1" fmla="*/ 719173 h 719173"/>
                <a:gd name="connsiteX2" fmla="*/ 248104 w 782018"/>
                <a:gd name="connsiteY2" fmla="*/ 91081 h 719173"/>
                <a:gd name="connsiteX3" fmla="*/ 396748 w 782018"/>
                <a:gd name="connsiteY3" fmla="*/ 0 h 719173"/>
                <a:gd name="connsiteX4" fmla="*/ 543387 w 782018"/>
                <a:gd name="connsiteY4" fmla="*/ 91081 h 719173"/>
                <a:gd name="connsiteX5" fmla="*/ 782019 w 782018"/>
                <a:gd name="connsiteY5" fmla="*/ 719173 h 719173"/>
                <a:gd name="connsiteX6" fmla="*/ 644851 w 782018"/>
                <a:gd name="connsiteY6" fmla="*/ 719173 h 719173"/>
                <a:gd name="connsiteX7" fmla="*/ 430265 w 782018"/>
                <a:gd name="connsiteY7" fmla="*/ 150830 h 719173"/>
                <a:gd name="connsiteX8" fmla="*/ 395655 w 782018"/>
                <a:gd name="connsiteY8" fmla="*/ 126784 h 719173"/>
                <a:gd name="connsiteX9" fmla="*/ 360133 w 782018"/>
                <a:gd name="connsiteY9" fmla="*/ 150830 h 719173"/>
                <a:gd name="connsiteX10" fmla="*/ 136075 w 782018"/>
                <a:gd name="connsiteY10" fmla="*/ 719173 h 719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2018" h="719173">
                  <a:moveTo>
                    <a:pt x="136075" y="719173"/>
                  </a:moveTo>
                  <a:lnTo>
                    <a:pt x="0" y="719173"/>
                  </a:lnTo>
                  <a:lnTo>
                    <a:pt x="248104" y="91081"/>
                  </a:lnTo>
                  <a:cubicBezTo>
                    <a:pt x="274335" y="25138"/>
                    <a:pt x="322426" y="0"/>
                    <a:pt x="396748" y="0"/>
                  </a:cubicBezTo>
                  <a:cubicBezTo>
                    <a:pt x="471069" y="0"/>
                    <a:pt x="518249" y="25138"/>
                    <a:pt x="543387" y="91081"/>
                  </a:cubicBezTo>
                  <a:lnTo>
                    <a:pt x="782019" y="719173"/>
                  </a:lnTo>
                  <a:lnTo>
                    <a:pt x="644851" y="719173"/>
                  </a:lnTo>
                  <a:lnTo>
                    <a:pt x="430265" y="150830"/>
                  </a:lnTo>
                  <a:cubicBezTo>
                    <a:pt x="424072" y="134071"/>
                    <a:pt x="412413" y="126784"/>
                    <a:pt x="395655" y="126784"/>
                  </a:cubicBezTo>
                  <a:cubicBezTo>
                    <a:pt x="378896" y="126784"/>
                    <a:pt x="367420" y="134071"/>
                    <a:pt x="360133" y="150830"/>
                  </a:cubicBezTo>
                  <a:lnTo>
                    <a:pt x="136075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0D99F3A-0065-C515-DC4F-7A7D2A029DAF}"/>
                </a:ext>
              </a:extLst>
            </p:cNvPr>
            <p:cNvSpPr/>
            <p:nvPr/>
          </p:nvSpPr>
          <p:spPr>
            <a:xfrm>
              <a:off x="5026280" y="1886355"/>
              <a:ext cx="634103" cy="706604"/>
            </a:xfrm>
            <a:custGeom>
              <a:avLst/>
              <a:gdLst>
                <a:gd name="connsiteX0" fmla="*/ 123323 w 634103"/>
                <a:gd name="connsiteY0" fmla="*/ 182 h 706604"/>
                <a:gd name="connsiteX1" fmla="*/ 123323 w 634103"/>
                <a:gd name="connsiteY1" fmla="*/ 299473 h 706604"/>
                <a:gd name="connsiteX2" fmla="*/ 191269 w 634103"/>
                <a:gd name="connsiteY2" fmla="*/ 299473 h 706604"/>
                <a:gd name="connsiteX3" fmla="*/ 372338 w 634103"/>
                <a:gd name="connsiteY3" fmla="*/ 211489 h 706604"/>
                <a:gd name="connsiteX4" fmla="*/ 480177 w 634103"/>
                <a:gd name="connsiteY4" fmla="*/ 0 h 706604"/>
                <a:gd name="connsiteX5" fmla="*/ 613155 w 634103"/>
                <a:gd name="connsiteY5" fmla="*/ 0 h 706604"/>
                <a:gd name="connsiteX6" fmla="*/ 502219 w 634103"/>
                <a:gd name="connsiteY6" fmla="*/ 219869 h 706604"/>
                <a:gd name="connsiteX7" fmla="*/ 379807 w 634103"/>
                <a:gd name="connsiteY7" fmla="*/ 348657 h 706604"/>
                <a:gd name="connsiteX8" fmla="*/ 520071 w 634103"/>
                <a:gd name="connsiteY8" fmla="*/ 484732 h 706604"/>
                <a:gd name="connsiteX9" fmla="*/ 634104 w 634103"/>
                <a:gd name="connsiteY9" fmla="*/ 706604 h 706604"/>
                <a:gd name="connsiteX10" fmla="*/ 496025 w 634103"/>
                <a:gd name="connsiteY10" fmla="*/ 706604 h 706604"/>
                <a:gd name="connsiteX11" fmla="*/ 388186 w 634103"/>
                <a:gd name="connsiteY11" fmla="*/ 497301 h 706604"/>
                <a:gd name="connsiteX12" fmla="*/ 191452 w 634103"/>
                <a:gd name="connsiteY12" fmla="*/ 411503 h 706604"/>
                <a:gd name="connsiteX13" fmla="*/ 123505 w 634103"/>
                <a:gd name="connsiteY13" fmla="*/ 411503 h 706604"/>
                <a:gd name="connsiteX14" fmla="*/ 123505 w 634103"/>
                <a:gd name="connsiteY14" fmla="*/ 706604 h 706604"/>
                <a:gd name="connsiteX15" fmla="*/ 0 w 634103"/>
                <a:gd name="connsiteY15" fmla="*/ 706604 h 706604"/>
                <a:gd name="connsiteX16" fmla="*/ 0 w 634103"/>
                <a:gd name="connsiteY16" fmla="*/ 182 h 706604"/>
                <a:gd name="connsiteX17" fmla="*/ 123505 w 634103"/>
                <a:gd name="connsiteY17" fmla="*/ 182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4103" h="706604">
                  <a:moveTo>
                    <a:pt x="123323" y="182"/>
                  </a:moveTo>
                  <a:lnTo>
                    <a:pt x="123323" y="299473"/>
                  </a:lnTo>
                  <a:lnTo>
                    <a:pt x="191269" y="299473"/>
                  </a:lnTo>
                  <a:cubicBezTo>
                    <a:pt x="312771" y="299473"/>
                    <a:pt x="332627" y="289090"/>
                    <a:pt x="372338" y="211489"/>
                  </a:cubicBezTo>
                  <a:lnTo>
                    <a:pt x="480177" y="0"/>
                  </a:lnTo>
                  <a:lnTo>
                    <a:pt x="613155" y="0"/>
                  </a:lnTo>
                  <a:lnTo>
                    <a:pt x="502219" y="219869"/>
                  </a:lnTo>
                  <a:cubicBezTo>
                    <a:pt x="470887" y="282715"/>
                    <a:pt x="437370" y="323519"/>
                    <a:pt x="379807" y="348657"/>
                  </a:cubicBezTo>
                  <a:cubicBezTo>
                    <a:pt x="445749" y="366509"/>
                    <a:pt x="478174" y="403123"/>
                    <a:pt x="520071" y="484732"/>
                  </a:cubicBezTo>
                  <a:lnTo>
                    <a:pt x="634104" y="706604"/>
                  </a:lnTo>
                  <a:lnTo>
                    <a:pt x="496025" y="706604"/>
                  </a:lnTo>
                  <a:lnTo>
                    <a:pt x="388186" y="497301"/>
                  </a:lnTo>
                  <a:cubicBezTo>
                    <a:pt x="349386" y="421886"/>
                    <a:pt x="324247" y="411503"/>
                    <a:pt x="191452" y="411503"/>
                  </a:cubicBez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182"/>
                  </a:lnTo>
                  <a:lnTo>
                    <a:pt x="123505" y="182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3609F3B-3256-814F-6D6A-CE6D4F027DB5}"/>
                </a:ext>
              </a:extLst>
            </p:cNvPr>
            <p:cNvSpPr/>
            <p:nvPr/>
          </p:nvSpPr>
          <p:spPr>
            <a:xfrm>
              <a:off x="5468932" y="1893460"/>
              <a:ext cx="1035223" cy="1269118"/>
            </a:xfrm>
            <a:custGeom>
              <a:avLst/>
              <a:gdLst>
                <a:gd name="connsiteX0" fmla="*/ 136075 w 1035223"/>
                <a:gd name="connsiteY0" fmla="*/ 1269119 h 1269118"/>
                <a:gd name="connsiteX1" fmla="*/ 0 w 1035223"/>
                <a:gd name="connsiteY1" fmla="*/ 1269119 h 1269118"/>
                <a:gd name="connsiteX2" fmla="*/ 501308 w 1035223"/>
                <a:gd name="connsiteY2" fmla="*/ 91081 h 1269118"/>
                <a:gd name="connsiteX3" fmla="*/ 649952 w 1035223"/>
                <a:gd name="connsiteY3" fmla="*/ 0 h 1269118"/>
                <a:gd name="connsiteX4" fmla="*/ 796592 w 1035223"/>
                <a:gd name="connsiteY4" fmla="*/ 91081 h 1269118"/>
                <a:gd name="connsiteX5" fmla="*/ 1035223 w 1035223"/>
                <a:gd name="connsiteY5" fmla="*/ 719173 h 1269118"/>
                <a:gd name="connsiteX6" fmla="*/ 898056 w 1035223"/>
                <a:gd name="connsiteY6" fmla="*/ 719173 h 1269118"/>
                <a:gd name="connsiteX7" fmla="*/ 683470 w 1035223"/>
                <a:gd name="connsiteY7" fmla="*/ 150830 h 1269118"/>
                <a:gd name="connsiteX8" fmla="*/ 648859 w 1035223"/>
                <a:gd name="connsiteY8" fmla="*/ 126784 h 1269118"/>
                <a:gd name="connsiteX9" fmla="*/ 613337 w 1035223"/>
                <a:gd name="connsiteY9" fmla="*/ 150830 h 1269118"/>
                <a:gd name="connsiteX10" fmla="*/ 136075 w 1035223"/>
                <a:gd name="connsiteY10" fmla="*/ 1269119 h 126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5223" h="1269118">
                  <a:moveTo>
                    <a:pt x="136075" y="1269119"/>
                  </a:moveTo>
                  <a:lnTo>
                    <a:pt x="0" y="1269119"/>
                  </a:lnTo>
                  <a:lnTo>
                    <a:pt x="501308" y="91081"/>
                  </a:lnTo>
                  <a:cubicBezTo>
                    <a:pt x="527540" y="25138"/>
                    <a:pt x="575630" y="0"/>
                    <a:pt x="649952" y="0"/>
                  </a:cubicBezTo>
                  <a:cubicBezTo>
                    <a:pt x="724274" y="0"/>
                    <a:pt x="771454" y="25138"/>
                    <a:pt x="796592" y="91081"/>
                  </a:cubicBezTo>
                  <a:lnTo>
                    <a:pt x="1035223" y="719173"/>
                  </a:lnTo>
                  <a:lnTo>
                    <a:pt x="898056" y="719173"/>
                  </a:lnTo>
                  <a:lnTo>
                    <a:pt x="683470" y="150830"/>
                  </a:lnTo>
                  <a:cubicBezTo>
                    <a:pt x="677276" y="134071"/>
                    <a:pt x="665618" y="126784"/>
                    <a:pt x="648859" y="126784"/>
                  </a:cubicBezTo>
                  <a:cubicBezTo>
                    <a:pt x="632100" y="126784"/>
                    <a:pt x="620624" y="134071"/>
                    <a:pt x="613337" y="150830"/>
                  </a:cubicBezTo>
                  <a:lnTo>
                    <a:pt x="136075" y="1269119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F0A67AF-F21D-DB11-BF64-DEA0DEC92C44}"/>
                </a:ext>
              </a:extLst>
            </p:cNvPr>
            <p:cNvSpPr/>
            <p:nvPr/>
          </p:nvSpPr>
          <p:spPr>
            <a:xfrm>
              <a:off x="6481021" y="1886538"/>
              <a:ext cx="537011" cy="706421"/>
            </a:xfrm>
            <a:custGeom>
              <a:avLst/>
              <a:gdLst>
                <a:gd name="connsiteX0" fmla="*/ 537012 w 537011"/>
                <a:gd name="connsiteY0" fmla="*/ 0 h 706421"/>
                <a:gd name="connsiteX1" fmla="*/ 537012 w 537011"/>
                <a:gd name="connsiteY1" fmla="*/ 123505 h 706421"/>
                <a:gd name="connsiteX2" fmla="*/ 330805 w 537011"/>
                <a:gd name="connsiteY2" fmla="*/ 123505 h 706421"/>
                <a:gd name="connsiteX3" fmla="*/ 330805 w 537011"/>
                <a:gd name="connsiteY3" fmla="*/ 706422 h 706421"/>
                <a:gd name="connsiteX4" fmla="*/ 206207 w 537011"/>
                <a:gd name="connsiteY4" fmla="*/ 706422 h 706421"/>
                <a:gd name="connsiteX5" fmla="*/ 206207 w 537011"/>
                <a:gd name="connsiteY5" fmla="*/ 123505 h 706421"/>
                <a:gd name="connsiteX6" fmla="*/ 0 w 537011"/>
                <a:gd name="connsiteY6" fmla="*/ 123505 h 706421"/>
                <a:gd name="connsiteX7" fmla="*/ 0 w 537011"/>
                <a:gd name="connsiteY7" fmla="*/ 0 h 706421"/>
                <a:gd name="connsiteX8" fmla="*/ 537012 w 537011"/>
                <a:gd name="connsiteY8" fmla="*/ 0 h 70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011" h="706421">
                  <a:moveTo>
                    <a:pt x="537012" y="0"/>
                  </a:moveTo>
                  <a:lnTo>
                    <a:pt x="537012" y="123505"/>
                  </a:lnTo>
                  <a:lnTo>
                    <a:pt x="330805" y="123505"/>
                  </a:lnTo>
                  <a:lnTo>
                    <a:pt x="330805" y="706422"/>
                  </a:lnTo>
                  <a:lnTo>
                    <a:pt x="206207" y="706422"/>
                  </a:lnTo>
                  <a:lnTo>
                    <a:pt x="206207" y="123505"/>
                  </a:lnTo>
                  <a:lnTo>
                    <a:pt x="0" y="123505"/>
                  </a:lnTo>
                  <a:lnTo>
                    <a:pt x="0" y="0"/>
                  </a:lnTo>
                  <a:lnTo>
                    <a:pt x="537012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EB684B4-04C3-715F-3DD7-885BE0BD8C13}"/>
                </a:ext>
              </a:extLst>
            </p:cNvPr>
            <p:cNvSpPr/>
            <p:nvPr/>
          </p:nvSpPr>
          <p:spPr>
            <a:xfrm>
              <a:off x="7134252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0A887B1-3462-44A7-99A3-870EA6E0790B}"/>
                </a:ext>
              </a:extLst>
            </p:cNvPr>
            <p:cNvSpPr/>
            <p:nvPr/>
          </p:nvSpPr>
          <p:spPr>
            <a:xfrm>
              <a:off x="8766964" y="1873968"/>
              <a:ext cx="751415" cy="731742"/>
            </a:xfrm>
            <a:custGeom>
              <a:avLst/>
              <a:gdLst>
                <a:gd name="connsiteX0" fmla="*/ 123505 w 751415"/>
                <a:gd name="connsiteY0" fmla="*/ 719173 h 731742"/>
                <a:gd name="connsiteX1" fmla="*/ 0 w 751415"/>
                <a:gd name="connsiteY1" fmla="*/ 719173 h 731742"/>
                <a:gd name="connsiteX2" fmla="*/ 0 w 751415"/>
                <a:gd name="connsiteY2" fmla="*/ 153926 h 731742"/>
                <a:gd name="connsiteX3" fmla="*/ 162124 w 751415"/>
                <a:gd name="connsiteY3" fmla="*/ 0 h 731742"/>
                <a:gd name="connsiteX4" fmla="*/ 333720 w 751415"/>
                <a:gd name="connsiteY4" fmla="*/ 130792 h 731742"/>
                <a:gd name="connsiteX5" fmla="*/ 539926 w 751415"/>
                <a:gd name="connsiteY5" fmla="*/ 582006 h 731742"/>
                <a:gd name="connsiteX6" fmla="*/ 584920 w 751415"/>
                <a:gd name="connsiteY6" fmla="*/ 611334 h 731742"/>
                <a:gd name="connsiteX7" fmla="*/ 626817 w 751415"/>
                <a:gd name="connsiteY7" fmla="*/ 571623 h 731742"/>
                <a:gd name="connsiteX8" fmla="*/ 626817 w 751415"/>
                <a:gd name="connsiteY8" fmla="*/ 12751 h 731742"/>
                <a:gd name="connsiteX9" fmla="*/ 751416 w 751415"/>
                <a:gd name="connsiteY9" fmla="*/ 12751 h 731742"/>
                <a:gd name="connsiteX10" fmla="*/ 751416 w 751415"/>
                <a:gd name="connsiteY10" fmla="*/ 576905 h 731742"/>
                <a:gd name="connsiteX11" fmla="*/ 589110 w 751415"/>
                <a:gd name="connsiteY11" fmla="*/ 731742 h 731742"/>
                <a:gd name="connsiteX12" fmla="*/ 416421 w 751415"/>
                <a:gd name="connsiteY12" fmla="*/ 600951 h 731742"/>
                <a:gd name="connsiteX13" fmla="*/ 210214 w 751415"/>
                <a:gd name="connsiteY13" fmla="*/ 149919 h 731742"/>
                <a:gd name="connsiteX14" fmla="*/ 166313 w 751415"/>
                <a:gd name="connsiteY14" fmla="*/ 119498 h 731742"/>
                <a:gd name="connsiteX15" fmla="*/ 123323 w 751415"/>
                <a:gd name="connsiteY15" fmla="*/ 160302 h 731742"/>
                <a:gd name="connsiteX16" fmla="*/ 123323 w 751415"/>
                <a:gd name="connsiteY16" fmla="*/ 719173 h 73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51415" h="731742">
                  <a:moveTo>
                    <a:pt x="123505" y="719173"/>
                  </a:moveTo>
                  <a:lnTo>
                    <a:pt x="0" y="719173"/>
                  </a:lnTo>
                  <a:lnTo>
                    <a:pt x="0" y="153926"/>
                  </a:lnTo>
                  <a:cubicBezTo>
                    <a:pt x="0" y="61753"/>
                    <a:pt x="52280" y="0"/>
                    <a:pt x="162124" y="0"/>
                  </a:cubicBezTo>
                  <a:cubicBezTo>
                    <a:pt x="260491" y="0"/>
                    <a:pt x="304574" y="50277"/>
                    <a:pt x="333720" y="130792"/>
                  </a:cubicBezTo>
                  <a:lnTo>
                    <a:pt x="539926" y="582006"/>
                  </a:lnTo>
                  <a:cubicBezTo>
                    <a:pt x="548306" y="598765"/>
                    <a:pt x="561968" y="611334"/>
                    <a:pt x="584920" y="611334"/>
                  </a:cubicBezTo>
                  <a:cubicBezTo>
                    <a:pt x="611151" y="611334"/>
                    <a:pt x="626817" y="595668"/>
                    <a:pt x="626817" y="571623"/>
                  </a:cubicBezTo>
                  <a:lnTo>
                    <a:pt x="626817" y="12751"/>
                  </a:lnTo>
                  <a:lnTo>
                    <a:pt x="751416" y="12751"/>
                  </a:lnTo>
                  <a:lnTo>
                    <a:pt x="751416" y="576905"/>
                  </a:lnTo>
                  <a:cubicBezTo>
                    <a:pt x="751416" y="669990"/>
                    <a:pt x="698043" y="731742"/>
                    <a:pt x="589110" y="731742"/>
                  </a:cubicBezTo>
                  <a:cubicBezTo>
                    <a:pt x="490743" y="731742"/>
                    <a:pt x="445749" y="681466"/>
                    <a:pt x="416421" y="600951"/>
                  </a:cubicBezTo>
                  <a:lnTo>
                    <a:pt x="210214" y="149919"/>
                  </a:lnTo>
                  <a:cubicBezTo>
                    <a:pt x="200742" y="128970"/>
                    <a:pt x="188172" y="119498"/>
                    <a:pt x="166313" y="119498"/>
                  </a:cubicBezTo>
                  <a:cubicBezTo>
                    <a:pt x="138078" y="119498"/>
                    <a:pt x="123323" y="135164"/>
                    <a:pt x="123323" y="160302"/>
                  </a:cubicBezTo>
                  <a:lnTo>
                    <a:pt x="123323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63B6C91-A6F1-C9C9-51B7-3E1927949176}"/>
                </a:ext>
              </a:extLst>
            </p:cNvPr>
            <p:cNvSpPr/>
            <p:nvPr/>
          </p:nvSpPr>
          <p:spPr>
            <a:xfrm>
              <a:off x="7906069" y="1886538"/>
              <a:ext cx="734839" cy="706604"/>
            </a:xfrm>
            <a:custGeom>
              <a:avLst/>
              <a:gdLst>
                <a:gd name="connsiteX0" fmla="*/ 415510 w 734839"/>
                <a:gd name="connsiteY0" fmla="*/ 0 h 706604"/>
                <a:gd name="connsiteX1" fmla="*/ 319147 w 734839"/>
                <a:gd name="connsiteY1" fmla="*/ 0 h 706604"/>
                <a:gd name="connsiteX2" fmla="*/ 0 w 734839"/>
                <a:gd name="connsiteY2" fmla="*/ 354850 h 706604"/>
                <a:gd name="connsiteX3" fmla="*/ 319147 w 734839"/>
                <a:gd name="connsiteY3" fmla="*/ 706604 h 706604"/>
                <a:gd name="connsiteX4" fmla="*/ 415510 w 734839"/>
                <a:gd name="connsiteY4" fmla="*/ 706604 h 706604"/>
                <a:gd name="connsiteX5" fmla="*/ 734839 w 734839"/>
                <a:gd name="connsiteY5" fmla="*/ 354850 h 706604"/>
                <a:gd name="connsiteX6" fmla="*/ 415510 w 734839"/>
                <a:gd name="connsiteY6" fmla="*/ 0 h 706604"/>
                <a:gd name="connsiteX7" fmla="*/ 415510 w 734839"/>
                <a:gd name="connsiteY7" fmla="*/ 583099 h 706604"/>
                <a:gd name="connsiteX8" fmla="*/ 319147 w 734839"/>
                <a:gd name="connsiteY8" fmla="*/ 583099 h 706604"/>
                <a:gd name="connsiteX9" fmla="*/ 123324 w 734839"/>
                <a:gd name="connsiteY9" fmla="*/ 355033 h 706604"/>
                <a:gd name="connsiteX10" fmla="*/ 319147 w 734839"/>
                <a:gd name="connsiteY10" fmla="*/ 123688 h 706604"/>
                <a:gd name="connsiteX11" fmla="*/ 415510 w 734839"/>
                <a:gd name="connsiteY11" fmla="*/ 123688 h 706604"/>
                <a:gd name="connsiteX12" fmla="*/ 610241 w 734839"/>
                <a:gd name="connsiteY12" fmla="*/ 353940 h 706604"/>
                <a:gd name="connsiteX13" fmla="*/ 415510 w 734839"/>
                <a:gd name="connsiteY13" fmla="*/ 583099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839" h="706604">
                  <a:moveTo>
                    <a:pt x="415510" y="0"/>
                  </a:moveTo>
                  <a:lnTo>
                    <a:pt x="319147" y="0"/>
                  </a:lnTo>
                  <a:cubicBezTo>
                    <a:pt x="114033" y="0"/>
                    <a:pt x="0" y="117130"/>
                    <a:pt x="0" y="354850"/>
                  </a:cubicBezTo>
                  <a:cubicBezTo>
                    <a:pt x="0" y="592571"/>
                    <a:pt x="113122" y="706604"/>
                    <a:pt x="319147" y="706604"/>
                  </a:cubicBezTo>
                  <a:lnTo>
                    <a:pt x="415510" y="706604"/>
                  </a:lnTo>
                  <a:cubicBezTo>
                    <a:pt x="621717" y="706604"/>
                    <a:pt x="734839" y="591478"/>
                    <a:pt x="734839" y="354850"/>
                  </a:cubicBezTo>
                  <a:cubicBezTo>
                    <a:pt x="734839" y="118223"/>
                    <a:pt x="620806" y="0"/>
                    <a:pt x="415510" y="0"/>
                  </a:cubicBezTo>
                  <a:close/>
                  <a:moveTo>
                    <a:pt x="415510" y="583099"/>
                  </a:moveTo>
                  <a:lnTo>
                    <a:pt x="319147" y="583099"/>
                  </a:lnTo>
                  <a:cubicBezTo>
                    <a:pt x="181980" y="583099"/>
                    <a:pt x="123324" y="516063"/>
                    <a:pt x="123324" y="355033"/>
                  </a:cubicBezTo>
                  <a:cubicBezTo>
                    <a:pt x="123324" y="194002"/>
                    <a:pt x="183073" y="123688"/>
                    <a:pt x="319147" y="123688"/>
                  </a:cubicBezTo>
                  <a:lnTo>
                    <a:pt x="415510" y="123688"/>
                  </a:lnTo>
                  <a:cubicBezTo>
                    <a:pt x="551585" y="123688"/>
                    <a:pt x="610241" y="192727"/>
                    <a:pt x="610241" y="353940"/>
                  </a:cubicBezTo>
                  <a:cubicBezTo>
                    <a:pt x="610241" y="515152"/>
                    <a:pt x="551585" y="583099"/>
                    <a:pt x="415510" y="583099"/>
                  </a:cubicBez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9B64EFC-81D9-703F-A553-76E53C7404B3}"/>
                </a:ext>
              </a:extLst>
            </p:cNvPr>
            <p:cNvGrpSpPr/>
            <p:nvPr userDrawn="1"/>
          </p:nvGrpSpPr>
          <p:grpSpPr>
            <a:xfrm>
              <a:off x="2752724" y="1340236"/>
              <a:ext cx="6742703" cy="1822342"/>
              <a:chOff x="2752724" y="1340236"/>
              <a:chExt cx="6742703" cy="1822342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B4AAC63C-AD5B-9CEE-67E3-01F9AF312B43}"/>
                  </a:ext>
                </a:extLst>
              </p:cNvPr>
              <p:cNvSpPr/>
              <p:nvPr/>
            </p:nvSpPr>
            <p:spPr>
              <a:xfrm>
                <a:off x="4281604" y="1938818"/>
                <a:ext cx="601496" cy="618437"/>
              </a:xfrm>
              <a:custGeom>
                <a:avLst/>
                <a:gdLst>
                  <a:gd name="connsiteX0" fmla="*/ 601497 w 601496"/>
                  <a:gd name="connsiteY0" fmla="*/ 0 h 618437"/>
                  <a:gd name="connsiteX1" fmla="*/ 58110 w 601496"/>
                  <a:gd name="connsiteY1" fmla="*/ 214586 h 618437"/>
                  <a:gd name="connsiteX2" fmla="*/ 0 w 601496"/>
                  <a:gd name="connsiteY2" fmla="*/ 309857 h 618437"/>
                  <a:gd name="connsiteX3" fmla="*/ 58292 w 601496"/>
                  <a:gd name="connsiteY3" fmla="*/ 405127 h 618437"/>
                  <a:gd name="connsiteX4" fmla="*/ 601497 w 601496"/>
                  <a:gd name="connsiteY4" fmla="*/ 618438 h 618437"/>
                  <a:gd name="connsiteX5" fmla="*/ 601497 w 601496"/>
                  <a:gd name="connsiteY5" fmla="*/ 495479 h 618437"/>
                  <a:gd name="connsiteX6" fmla="*/ 122048 w 601496"/>
                  <a:gd name="connsiteY6" fmla="*/ 309857 h 618437"/>
                  <a:gd name="connsiteX7" fmla="*/ 601497 w 601496"/>
                  <a:gd name="connsiteY7" fmla="*/ 124052 h 618437"/>
                  <a:gd name="connsiteX8" fmla="*/ 601497 w 601496"/>
                  <a:gd name="connsiteY8" fmla="*/ 0 h 61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1496" h="618437">
                    <a:moveTo>
                      <a:pt x="601497" y="0"/>
                    </a:moveTo>
                    <a:lnTo>
                      <a:pt x="58110" y="214586"/>
                    </a:lnTo>
                    <a:cubicBezTo>
                      <a:pt x="18580" y="230616"/>
                      <a:pt x="0" y="261037"/>
                      <a:pt x="0" y="309857"/>
                    </a:cubicBezTo>
                    <a:cubicBezTo>
                      <a:pt x="0" y="358676"/>
                      <a:pt x="19127" y="390554"/>
                      <a:pt x="58292" y="405127"/>
                    </a:cubicBezTo>
                    <a:lnTo>
                      <a:pt x="601497" y="618438"/>
                    </a:lnTo>
                    <a:lnTo>
                      <a:pt x="601497" y="495479"/>
                    </a:lnTo>
                    <a:lnTo>
                      <a:pt x="122048" y="309857"/>
                    </a:lnTo>
                    <a:lnTo>
                      <a:pt x="601497" y="124052"/>
                    </a:lnTo>
                    <a:lnTo>
                      <a:pt x="60149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7" name="Graphic 5">
                <a:extLst>
                  <a:ext uri="{FF2B5EF4-FFF2-40B4-BE49-F238E27FC236}">
                    <a16:creationId xmlns:a16="http://schemas.microsoft.com/office/drawing/2014/main" id="{92CEAAFA-B73E-502E-DC20-D4EABBFA4B2B}"/>
                  </a:ext>
                </a:extLst>
              </p:cNvPr>
              <p:cNvGrpSpPr/>
              <p:nvPr/>
            </p:nvGrpSpPr>
            <p:grpSpPr>
              <a:xfrm>
                <a:off x="5771867" y="2752351"/>
                <a:ext cx="3723560" cy="410227"/>
                <a:chOff x="5771867" y="2752351"/>
                <a:chExt cx="3723560" cy="410227"/>
              </a:xfrm>
              <a:solidFill>
                <a:schemeClr val="accent2"/>
              </a:solidFill>
            </p:grpSpPr>
            <p:sp>
              <p:nvSpPr>
                <p:cNvPr id="9" name="Freeform: Shape 8">
                  <a:extLst>
                    <a:ext uri="{FF2B5EF4-FFF2-40B4-BE49-F238E27FC236}">
                      <a16:creationId xmlns:a16="http://schemas.microsoft.com/office/drawing/2014/main" id="{42053F5B-D012-A8FC-9FF1-3A982C23C44A}"/>
                    </a:ext>
                  </a:extLst>
                </p:cNvPr>
                <p:cNvSpPr/>
                <p:nvPr/>
              </p:nvSpPr>
              <p:spPr>
                <a:xfrm>
                  <a:off x="5771867" y="2752351"/>
                  <a:ext cx="623902" cy="410227"/>
                </a:xfrm>
                <a:custGeom>
                  <a:avLst/>
                  <a:gdLst>
                    <a:gd name="connsiteX0" fmla="*/ 73957 w 623902"/>
                    <a:gd name="connsiteY0" fmla="*/ 403305 h 410227"/>
                    <a:gd name="connsiteX1" fmla="*/ 0 w 623902"/>
                    <a:gd name="connsiteY1" fmla="*/ 403305 h 410227"/>
                    <a:gd name="connsiteX2" fmla="*/ 122777 w 623902"/>
                    <a:gd name="connsiteY2" fmla="*/ 73411 h 410227"/>
                    <a:gd name="connsiteX3" fmla="*/ 216043 w 623902"/>
                    <a:gd name="connsiteY3" fmla="*/ 0 h 410227"/>
                    <a:gd name="connsiteX4" fmla="*/ 304027 w 623902"/>
                    <a:gd name="connsiteY4" fmla="*/ 86345 h 410227"/>
                    <a:gd name="connsiteX5" fmla="*/ 304027 w 623902"/>
                    <a:gd name="connsiteY5" fmla="*/ 320604 h 410227"/>
                    <a:gd name="connsiteX6" fmla="*/ 324065 w 623902"/>
                    <a:gd name="connsiteY6" fmla="*/ 342828 h 410227"/>
                    <a:gd name="connsiteX7" fmla="*/ 346289 w 623902"/>
                    <a:gd name="connsiteY7" fmla="*/ 326251 h 410227"/>
                    <a:gd name="connsiteX8" fmla="*/ 442652 w 623902"/>
                    <a:gd name="connsiteY8" fmla="*/ 73411 h 410227"/>
                    <a:gd name="connsiteX9" fmla="*/ 535919 w 623902"/>
                    <a:gd name="connsiteY9" fmla="*/ 0 h 410227"/>
                    <a:gd name="connsiteX10" fmla="*/ 623903 w 623902"/>
                    <a:gd name="connsiteY10" fmla="*/ 86345 h 410227"/>
                    <a:gd name="connsiteX11" fmla="*/ 623903 w 623902"/>
                    <a:gd name="connsiteY11" fmla="*/ 403305 h 410227"/>
                    <a:gd name="connsiteX12" fmla="*/ 553953 w 623902"/>
                    <a:gd name="connsiteY12" fmla="*/ 403305 h 410227"/>
                    <a:gd name="connsiteX13" fmla="*/ 553953 w 623902"/>
                    <a:gd name="connsiteY13" fmla="*/ 89806 h 410227"/>
                    <a:gd name="connsiteX14" fmla="*/ 534097 w 623902"/>
                    <a:gd name="connsiteY14" fmla="*/ 66853 h 410227"/>
                    <a:gd name="connsiteX15" fmla="*/ 512420 w 623902"/>
                    <a:gd name="connsiteY15" fmla="*/ 83794 h 410227"/>
                    <a:gd name="connsiteX16" fmla="*/ 416057 w 623902"/>
                    <a:gd name="connsiteY16" fmla="*/ 336817 h 410227"/>
                    <a:gd name="connsiteX17" fmla="*/ 322061 w 623902"/>
                    <a:gd name="connsiteY17" fmla="*/ 410228 h 410227"/>
                    <a:gd name="connsiteX18" fmla="*/ 234624 w 623902"/>
                    <a:gd name="connsiteY18" fmla="*/ 323337 h 410227"/>
                    <a:gd name="connsiteX19" fmla="*/ 234624 w 623902"/>
                    <a:gd name="connsiteY19" fmla="*/ 89806 h 410227"/>
                    <a:gd name="connsiteX20" fmla="*/ 214040 w 623902"/>
                    <a:gd name="connsiteY20" fmla="*/ 66853 h 410227"/>
                    <a:gd name="connsiteX21" fmla="*/ 192362 w 623902"/>
                    <a:gd name="connsiteY21" fmla="*/ 83794 h 410227"/>
                    <a:gd name="connsiteX22" fmla="*/ 73775 w 623902"/>
                    <a:gd name="connsiteY22" fmla="*/ 403123 h 410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623902" h="410227">
                      <a:moveTo>
                        <a:pt x="73957" y="403305"/>
                      </a:moveTo>
                      <a:lnTo>
                        <a:pt x="0" y="403305"/>
                      </a:lnTo>
                      <a:lnTo>
                        <a:pt x="122777" y="73411"/>
                      </a:lnTo>
                      <a:cubicBezTo>
                        <a:pt x="137896" y="28235"/>
                        <a:pt x="163216" y="0"/>
                        <a:pt x="216043" y="0"/>
                      </a:cubicBezTo>
                      <a:cubicBezTo>
                        <a:pt x="274699" y="0"/>
                        <a:pt x="304027" y="34611"/>
                        <a:pt x="304027" y="86345"/>
                      </a:cubicBezTo>
                      <a:lnTo>
                        <a:pt x="304027" y="320604"/>
                      </a:lnTo>
                      <a:cubicBezTo>
                        <a:pt x="304027" y="334084"/>
                        <a:pt x="312225" y="342828"/>
                        <a:pt x="324065" y="342828"/>
                      </a:cubicBezTo>
                      <a:cubicBezTo>
                        <a:pt x="334630" y="342828"/>
                        <a:pt x="342828" y="336452"/>
                        <a:pt x="346289" y="326251"/>
                      </a:cubicBezTo>
                      <a:lnTo>
                        <a:pt x="442652" y="73411"/>
                      </a:lnTo>
                      <a:cubicBezTo>
                        <a:pt x="457954" y="28235"/>
                        <a:pt x="483092" y="0"/>
                        <a:pt x="535919" y="0"/>
                      </a:cubicBezTo>
                      <a:cubicBezTo>
                        <a:pt x="594575" y="0"/>
                        <a:pt x="623903" y="34611"/>
                        <a:pt x="623903" y="86345"/>
                      </a:cubicBezTo>
                      <a:lnTo>
                        <a:pt x="623903" y="403305"/>
                      </a:lnTo>
                      <a:lnTo>
                        <a:pt x="553953" y="403305"/>
                      </a:lnTo>
                      <a:lnTo>
                        <a:pt x="553953" y="89806"/>
                      </a:lnTo>
                      <a:cubicBezTo>
                        <a:pt x="553953" y="75597"/>
                        <a:pt x="545755" y="66853"/>
                        <a:pt x="534097" y="66853"/>
                      </a:cubicBezTo>
                      <a:cubicBezTo>
                        <a:pt x="524078" y="66853"/>
                        <a:pt x="515881" y="73958"/>
                        <a:pt x="512420" y="83794"/>
                      </a:cubicBezTo>
                      <a:lnTo>
                        <a:pt x="416057" y="336817"/>
                      </a:lnTo>
                      <a:cubicBezTo>
                        <a:pt x="400755" y="381992"/>
                        <a:pt x="374888" y="410228"/>
                        <a:pt x="322061" y="410228"/>
                      </a:cubicBezTo>
                      <a:cubicBezTo>
                        <a:pt x="263952" y="410228"/>
                        <a:pt x="234624" y="375617"/>
                        <a:pt x="234624" y="323337"/>
                      </a:cubicBezTo>
                      <a:lnTo>
                        <a:pt x="234624" y="89806"/>
                      </a:lnTo>
                      <a:cubicBezTo>
                        <a:pt x="234624" y="75597"/>
                        <a:pt x="225880" y="66853"/>
                        <a:pt x="214040" y="66853"/>
                      </a:cubicBezTo>
                      <a:cubicBezTo>
                        <a:pt x="203474" y="66853"/>
                        <a:pt x="196370" y="73958"/>
                        <a:pt x="192362" y="83794"/>
                      </a:cubicBezTo>
                      <a:lnTo>
                        <a:pt x="73775" y="403123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" name="Freeform: Shape 10">
                  <a:extLst>
                    <a:ext uri="{FF2B5EF4-FFF2-40B4-BE49-F238E27FC236}">
                      <a16:creationId xmlns:a16="http://schemas.microsoft.com/office/drawing/2014/main" id="{8F03E719-7475-B18B-2E90-A34C03CEB758}"/>
                    </a:ext>
                  </a:extLst>
                </p:cNvPr>
                <p:cNvSpPr/>
                <p:nvPr/>
              </p:nvSpPr>
              <p:spPr>
                <a:xfrm>
                  <a:off x="6448961" y="2752351"/>
                  <a:ext cx="438462" cy="403305"/>
                </a:xfrm>
                <a:custGeom>
                  <a:avLst/>
                  <a:gdLst>
                    <a:gd name="connsiteX0" fmla="*/ 76326 w 438462"/>
                    <a:gd name="connsiteY0" fmla="*/ 403305 h 403305"/>
                    <a:gd name="connsiteX1" fmla="*/ 0 w 438462"/>
                    <a:gd name="connsiteY1" fmla="*/ 403305 h 403305"/>
                    <a:gd name="connsiteX2" fmla="*/ 138989 w 438462"/>
                    <a:gd name="connsiteY2" fmla="*/ 51187 h 403305"/>
                    <a:gd name="connsiteX3" fmla="*/ 222419 w 438462"/>
                    <a:gd name="connsiteY3" fmla="*/ 0 h 403305"/>
                    <a:gd name="connsiteX4" fmla="*/ 304574 w 438462"/>
                    <a:gd name="connsiteY4" fmla="*/ 51187 h 403305"/>
                    <a:gd name="connsiteX5" fmla="*/ 438462 w 438462"/>
                    <a:gd name="connsiteY5" fmla="*/ 403305 h 403305"/>
                    <a:gd name="connsiteX6" fmla="*/ 361590 w 438462"/>
                    <a:gd name="connsiteY6" fmla="*/ 403305 h 403305"/>
                    <a:gd name="connsiteX7" fmla="*/ 241364 w 438462"/>
                    <a:gd name="connsiteY7" fmla="*/ 84523 h 403305"/>
                    <a:gd name="connsiteX8" fmla="*/ 222055 w 438462"/>
                    <a:gd name="connsiteY8" fmla="*/ 71043 h 403305"/>
                    <a:gd name="connsiteX9" fmla="*/ 202017 w 438462"/>
                    <a:gd name="connsiteY9" fmla="*/ 84523 h 403305"/>
                    <a:gd name="connsiteX10" fmla="*/ 76508 w 438462"/>
                    <a:gd name="connsiteY10" fmla="*/ 403305 h 40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8462" h="403305">
                      <a:moveTo>
                        <a:pt x="76326" y="403305"/>
                      </a:moveTo>
                      <a:lnTo>
                        <a:pt x="0" y="403305"/>
                      </a:lnTo>
                      <a:lnTo>
                        <a:pt x="138989" y="51187"/>
                      </a:lnTo>
                      <a:cubicBezTo>
                        <a:pt x="153744" y="14209"/>
                        <a:pt x="180704" y="0"/>
                        <a:pt x="222419" y="0"/>
                      </a:cubicBezTo>
                      <a:cubicBezTo>
                        <a:pt x="264134" y="0"/>
                        <a:pt x="290547" y="14209"/>
                        <a:pt x="304574" y="51187"/>
                      </a:cubicBezTo>
                      <a:lnTo>
                        <a:pt x="438462" y="403305"/>
                      </a:lnTo>
                      <a:lnTo>
                        <a:pt x="361590" y="403305"/>
                      </a:lnTo>
                      <a:lnTo>
                        <a:pt x="241364" y="84523"/>
                      </a:lnTo>
                      <a:cubicBezTo>
                        <a:pt x="237903" y="75051"/>
                        <a:pt x="231345" y="71043"/>
                        <a:pt x="222055" y="71043"/>
                      </a:cubicBezTo>
                      <a:cubicBezTo>
                        <a:pt x="212764" y="71043"/>
                        <a:pt x="206207" y="75051"/>
                        <a:pt x="202017" y="84523"/>
                      </a:cubicBezTo>
                      <a:lnTo>
                        <a:pt x="76508" y="403305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" name="Freeform: Shape 11">
                  <a:extLst>
                    <a:ext uri="{FF2B5EF4-FFF2-40B4-BE49-F238E27FC236}">
                      <a16:creationId xmlns:a16="http://schemas.microsoft.com/office/drawing/2014/main" id="{5460ED05-911C-ABCE-A22D-69E7CFA3A949}"/>
                    </a:ext>
                  </a:extLst>
                </p:cNvPr>
                <p:cNvSpPr/>
                <p:nvPr/>
              </p:nvSpPr>
              <p:spPr>
                <a:xfrm>
                  <a:off x="6939339" y="2759273"/>
                  <a:ext cx="350296" cy="396383"/>
                </a:xfrm>
                <a:custGeom>
                  <a:avLst/>
                  <a:gdLst>
                    <a:gd name="connsiteX0" fmla="*/ 214768 w 350296"/>
                    <a:gd name="connsiteY0" fmla="*/ 182 h 396383"/>
                    <a:gd name="connsiteX1" fmla="*/ 342099 w 350296"/>
                    <a:gd name="connsiteY1" fmla="*/ 118769 h 396383"/>
                    <a:gd name="connsiteX2" fmla="*/ 258123 w 350296"/>
                    <a:gd name="connsiteY2" fmla="*/ 237903 h 396383"/>
                    <a:gd name="connsiteX3" fmla="*/ 350296 w 350296"/>
                    <a:gd name="connsiteY3" fmla="*/ 396383 h 396383"/>
                    <a:gd name="connsiteX4" fmla="*/ 273424 w 350296"/>
                    <a:gd name="connsiteY4" fmla="*/ 396383 h 396383"/>
                    <a:gd name="connsiteX5" fmla="*/ 183072 w 350296"/>
                    <a:gd name="connsiteY5" fmla="*/ 243185 h 396383"/>
                    <a:gd name="connsiteX6" fmla="*/ 79787 w 350296"/>
                    <a:gd name="connsiteY6" fmla="*/ 243185 h 396383"/>
                    <a:gd name="connsiteX7" fmla="*/ 69768 w 350296"/>
                    <a:gd name="connsiteY7" fmla="*/ 253204 h 396383"/>
                    <a:gd name="connsiteX8" fmla="*/ 69768 w 350296"/>
                    <a:gd name="connsiteY8" fmla="*/ 396383 h 396383"/>
                    <a:gd name="connsiteX9" fmla="*/ 546 w 350296"/>
                    <a:gd name="connsiteY9" fmla="*/ 396383 h 396383"/>
                    <a:gd name="connsiteX10" fmla="*/ 546 w 350296"/>
                    <a:gd name="connsiteY10" fmla="*/ 239724 h 396383"/>
                    <a:gd name="connsiteX11" fmla="*/ 62846 w 350296"/>
                    <a:gd name="connsiteY11" fmla="*/ 176879 h 396383"/>
                    <a:gd name="connsiteX12" fmla="*/ 217136 w 350296"/>
                    <a:gd name="connsiteY12" fmla="*/ 176879 h 396383"/>
                    <a:gd name="connsiteX13" fmla="*/ 272331 w 350296"/>
                    <a:gd name="connsiteY13" fmla="*/ 121684 h 396383"/>
                    <a:gd name="connsiteX14" fmla="*/ 217136 w 350296"/>
                    <a:gd name="connsiteY14" fmla="*/ 69403 h 396383"/>
                    <a:gd name="connsiteX15" fmla="*/ 0 w 350296"/>
                    <a:gd name="connsiteY15" fmla="*/ 69403 h 396383"/>
                    <a:gd name="connsiteX16" fmla="*/ 0 w 350296"/>
                    <a:gd name="connsiteY16" fmla="*/ 0 h 396383"/>
                    <a:gd name="connsiteX17" fmla="*/ 214768 w 350296"/>
                    <a:gd name="connsiteY17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50296" h="396383">
                      <a:moveTo>
                        <a:pt x="214768" y="182"/>
                      </a:moveTo>
                      <a:cubicBezTo>
                        <a:pt x="304027" y="182"/>
                        <a:pt x="342099" y="55377"/>
                        <a:pt x="342099" y="118769"/>
                      </a:cubicBezTo>
                      <a:cubicBezTo>
                        <a:pt x="342099" y="168135"/>
                        <a:pt x="318600" y="220962"/>
                        <a:pt x="258123" y="237903"/>
                      </a:cubicBezTo>
                      <a:lnTo>
                        <a:pt x="350296" y="396383"/>
                      </a:lnTo>
                      <a:lnTo>
                        <a:pt x="273424" y="396383"/>
                      </a:lnTo>
                      <a:lnTo>
                        <a:pt x="183072" y="243185"/>
                      </a:lnTo>
                      <a:lnTo>
                        <a:pt x="79787" y="243185"/>
                      </a:lnTo>
                      <a:cubicBezTo>
                        <a:pt x="73411" y="243185"/>
                        <a:pt x="69768" y="246100"/>
                        <a:pt x="69768" y="253204"/>
                      </a:cubicBezTo>
                      <a:lnTo>
                        <a:pt x="69768" y="396383"/>
                      </a:lnTo>
                      <a:lnTo>
                        <a:pt x="546" y="396383"/>
                      </a:lnTo>
                      <a:lnTo>
                        <a:pt x="546" y="239724"/>
                      </a:lnTo>
                      <a:cubicBezTo>
                        <a:pt x="546" y="195095"/>
                        <a:pt x="19309" y="176879"/>
                        <a:pt x="62846" y="176879"/>
                      </a:cubicBezTo>
                      <a:lnTo>
                        <a:pt x="217136" y="176879"/>
                      </a:lnTo>
                      <a:cubicBezTo>
                        <a:pt x="256483" y="176879"/>
                        <a:pt x="272331" y="149919"/>
                        <a:pt x="272331" y="121684"/>
                      </a:cubicBezTo>
                      <a:cubicBezTo>
                        <a:pt x="272331" y="93449"/>
                        <a:pt x="255208" y="69403"/>
                        <a:pt x="217136" y="69403"/>
                      </a:cubicBezTo>
                      <a:lnTo>
                        <a:pt x="0" y="69403"/>
                      </a:lnTo>
                      <a:lnTo>
                        <a:pt x="0" y="0"/>
                      </a:lnTo>
                      <a:lnTo>
                        <a:pt x="214768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" name="Freeform: Shape 14">
                  <a:extLst>
                    <a:ext uri="{FF2B5EF4-FFF2-40B4-BE49-F238E27FC236}">
                      <a16:creationId xmlns:a16="http://schemas.microsoft.com/office/drawing/2014/main" id="{522A9147-9B8E-C1E4-F86A-D6366DDEAE18}"/>
                    </a:ext>
                  </a:extLst>
                </p:cNvPr>
                <p:cNvSpPr/>
                <p:nvPr/>
              </p:nvSpPr>
              <p:spPr>
                <a:xfrm>
                  <a:off x="7335358" y="2759455"/>
                  <a:ext cx="354121" cy="396383"/>
                </a:xfrm>
                <a:custGeom>
                  <a:avLst/>
                  <a:gdLst>
                    <a:gd name="connsiteX0" fmla="*/ 324429 w 354121"/>
                    <a:gd name="connsiteY0" fmla="*/ 0 h 396383"/>
                    <a:gd name="connsiteX1" fmla="*/ 324429 w 354121"/>
                    <a:gd name="connsiteY1" fmla="*/ 69403 h 396383"/>
                    <a:gd name="connsiteX2" fmla="*/ 121320 w 354121"/>
                    <a:gd name="connsiteY2" fmla="*/ 69403 h 396383"/>
                    <a:gd name="connsiteX3" fmla="*/ 69586 w 354121"/>
                    <a:gd name="connsiteY3" fmla="*/ 116401 h 396383"/>
                    <a:gd name="connsiteX4" fmla="*/ 128241 w 354121"/>
                    <a:gd name="connsiteY4" fmla="*/ 163399 h 396383"/>
                    <a:gd name="connsiteX5" fmla="*/ 220962 w 354121"/>
                    <a:gd name="connsiteY5" fmla="*/ 163399 h 396383"/>
                    <a:gd name="connsiteX6" fmla="*/ 354122 w 354121"/>
                    <a:gd name="connsiteY6" fmla="*/ 280164 h 396383"/>
                    <a:gd name="connsiteX7" fmla="*/ 227884 w 354121"/>
                    <a:gd name="connsiteY7" fmla="*/ 396383 h 396383"/>
                    <a:gd name="connsiteX8" fmla="*/ 7286 w 354121"/>
                    <a:gd name="connsiteY8" fmla="*/ 396383 h 396383"/>
                    <a:gd name="connsiteX9" fmla="*/ 7286 w 354121"/>
                    <a:gd name="connsiteY9" fmla="*/ 327162 h 396383"/>
                    <a:gd name="connsiteX10" fmla="*/ 230252 w 354121"/>
                    <a:gd name="connsiteY10" fmla="*/ 327162 h 396383"/>
                    <a:gd name="connsiteX11" fmla="*/ 284718 w 354121"/>
                    <a:gd name="connsiteY11" fmla="*/ 277796 h 396383"/>
                    <a:gd name="connsiteX12" fmla="*/ 222419 w 354121"/>
                    <a:gd name="connsiteY12" fmla="*/ 228430 h 396383"/>
                    <a:gd name="connsiteX13" fmla="*/ 130245 w 354121"/>
                    <a:gd name="connsiteY13" fmla="*/ 228430 h 396383"/>
                    <a:gd name="connsiteX14" fmla="*/ 0 w 354121"/>
                    <a:gd name="connsiteY14" fmla="*/ 114033 h 396383"/>
                    <a:gd name="connsiteX15" fmla="*/ 123323 w 354121"/>
                    <a:gd name="connsiteY15" fmla="*/ 182 h 396383"/>
                    <a:gd name="connsiteX16" fmla="*/ 324065 w 354121"/>
                    <a:gd name="connsiteY16" fmla="*/ 182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54121" h="396383">
                      <a:moveTo>
                        <a:pt x="324429" y="0"/>
                      </a:moveTo>
                      <a:lnTo>
                        <a:pt x="324429" y="69403"/>
                      </a:lnTo>
                      <a:lnTo>
                        <a:pt x="121320" y="69403"/>
                      </a:lnTo>
                      <a:cubicBezTo>
                        <a:pt x="85616" y="69403"/>
                        <a:pt x="69586" y="88713"/>
                        <a:pt x="69586" y="116401"/>
                      </a:cubicBezTo>
                      <a:cubicBezTo>
                        <a:pt x="69586" y="140446"/>
                        <a:pt x="81973" y="163399"/>
                        <a:pt x="128241" y="163399"/>
                      </a:cubicBezTo>
                      <a:lnTo>
                        <a:pt x="220962" y="163399"/>
                      </a:lnTo>
                      <a:cubicBezTo>
                        <a:pt x="328983" y="163399"/>
                        <a:pt x="354122" y="223330"/>
                        <a:pt x="354122" y="280164"/>
                      </a:cubicBezTo>
                      <a:cubicBezTo>
                        <a:pt x="354122" y="347017"/>
                        <a:pt x="318418" y="396383"/>
                        <a:pt x="227884" y="396383"/>
                      </a:cubicBezTo>
                      <a:lnTo>
                        <a:pt x="7286" y="396383"/>
                      </a:lnTo>
                      <a:lnTo>
                        <a:pt x="7286" y="327162"/>
                      </a:lnTo>
                      <a:lnTo>
                        <a:pt x="230252" y="327162"/>
                      </a:lnTo>
                      <a:cubicBezTo>
                        <a:pt x="267777" y="327162"/>
                        <a:pt x="284718" y="306578"/>
                        <a:pt x="284718" y="277796"/>
                      </a:cubicBezTo>
                      <a:cubicBezTo>
                        <a:pt x="284718" y="251929"/>
                        <a:pt x="271238" y="228430"/>
                        <a:pt x="222419" y="228430"/>
                      </a:cubicBezTo>
                      <a:lnTo>
                        <a:pt x="130245" y="228430"/>
                      </a:lnTo>
                      <a:cubicBezTo>
                        <a:pt x="24592" y="228430"/>
                        <a:pt x="0" y="169228"/>
                        <a:pt x="0" y="114033"/>
                      </a:cubicBezTo>
                      <a:cubicBezTo>
                        <a:pt x="0" y="48273"/>
                        <a:pt x="35339" y="182"/>
                        <a:pt x="123323" y="182"/>
                      </a:cubicBezTo>
                      <a:lnTo>
                        <a:pt x="324065" y="182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" name="Freeform: Shape 15">
                  <a:extLst>
                    <a:ext uri="{FF2B5EF4-FFF2-40B4-BE49-F238E27FC236}">
                      <a16:creationId xmlns:a16="http://schemas.microsoft.com/office/drawing/2014/main" id="{3F9BFA28-3C31-2086-50E4-93A5F7ABD721}"/>
                    </a:ext>
                  </a:extLst>
                </p:cNvPr>
                <p:cNvSpPr/>
                <p:nvPr/>
              </p:nvSpPr>
              <p:spPr>
                <a:xfrm>
                  <a:off x="7902973" y="2759091"/>
                  <a:ext cx="359222" cy="396383"/>
                </a:xfrm>
                <a:custGeom>
                  <a:avLst/>
                  <a:gdLst>
                    <a:gd name="connsiteX0" fmla="*/ 240089 w 359222"/>
                    <a:gd name="connsiteY0" fmla="*/ 364 h 396383"/>
                    <a:gd name="connsiteX1" fmla="*/ 359222 w 359222"/>
                    <a:gd name="connsiteY1" fmla="*/ 112576 h 396383"/>
                    <a:gd name="connsiteX2" fmla="*/ 267049 w 359222"/>
                    <a:gd name="connsiteY2" fmla="*/ 218776 h 396383"/>
                    <a:gd name="connsiteX3" fmla="*/ 102010 w 359222"/>
                    <a:gd name="connsiteY3" fmla="*/ 255755 h 396383"/>
                    <a:gd name="connsiteX4" fmla="*/ 69221 w 359222"/>
                    <a:gd name="connsiteY4" fmla="*/ 299109 h 396383"/>
                    <a:gd name="connsiteX5" fmla="*/ 69221 w 359222"/>
                    <a:gd name="connsiteY5" fmla="*/ 318965 h 396383"/>
                    <a:gd name="connsiteX6" fmla="*/ 76872 w 359222"/>
                    <a:gd name="connsiteY6" fmla="*/ 327162 h 396383"/>
                    <a:gd name="connsiteX7" fmla="*/ 348657 w 359222"/>
                    <a:gd name="connsiteY7" fmla="*/ 327162 h 396383"/>
                    <a:gd name="connsiteX8" fmla="*/ 348657 w 359222"/>
                    <a:gd name="connsiteY8" fmla="*/ 396383 h 396383"/>
                    <a:gd name="connsiteX9" fmla="*/ 32789 w 359222"/>
                    <a:gd name="connsiteY9" fmla="*/ 396383 h 396383"/>
                    <a:gd name="connsiteX10" fmla="*/ 0 w 359222"/>
                    <a:gd name="connsiteY10" fmla="*/ 364141 h 396383"/>
                    <a:gd name="connsiteX11" fmla="*/ 0 w 359222"/>
                    <a:gd name="connsiteY11" fmla="*/ 304209 h 396383"/>
                    <a:gd name="connsiteX12" fmla="*/ 86891 w 359222"/>
                    <a:gd name="connsiteY12" fmla="*/ 190359 h 396383"/>
                    <a:gd name="connsiteX13" fmla="*/ 253568 w 359222"/>
                    <a:gd name="connsiteY13" fmla="*/ 152287 h 396383"/>
                    <a:gd name="connsiteX14" fmla="*/ 290547 w 359222"/>
                    <a:gd name="connsiteY14" fmla="*/ 113487 h 396383"/>
                    <a:gd name="connsiteX15" fmla="*/ 241728 w 359222"/>
                    <a:gd name="connsiteY15" fmla="*/ 69403 h 396383"/>
                    <a:gd name="connsiteX16" fmla="*/ 12751 w 359222"/>
                    <a:gd name="connsiteY16" fmla="*/ 69403 h 396383"/>
                    <a:gd name="connsiteX17" fmla="*/ 12751 w 359222"/>
                    <a:gd name="connsiteY17" fmla="*/ 0 h 396383"/>
                    <a:gd name="connsiteX18" fmla="*/ 239906 w 359222"/>
                    <a:gd name="connsiteY18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9222" h="396383">
                      <a:moveTo>
                        <a:pt x="240089" y="364"/>
                      </a:moveTo>
                      <a:cubicBezTo>
                        <a:pt x="316414" y="364"/>
                        <a:pt x="359222" y="39711"/>
                        <a:pt x="359222" y="112576"/>
                      </a:cubicBezTo>
                      <a:cubicBezTo>
                        <a:pt x="359222" y="171232"/>
                        <a:pt x="330987" y="204203"/>
                        <a:pt x="267049" y="218776"/>
                      </a:cubicBezTo>
                      <a:lnTo>
                        <a:pt x="102010" y="255755"/>
                      </a:lnTo>
                      <a:cubicBezTo>
                        <a:pt x="74504" y="262130"/>
                        <a:pt x="69221" y="276885"/>
                        <a:pt x="69221" y="299109"/>
                      </a:cubicBezTo>
                      <a:lnTo>
                        <a:pt x="69221" y="318965"/>
                      </a:lnTo>
                      <a:cubicBezTo>
                        <a:pt x="69221" y="325340"/>
                        <a:pt x="71589" y="327162"/>
                        <a:pt x="76872" y="327162"/>
                      </a:cubicBezTo>
                      <a:lnTo>
                        <a:pt x="348657" y="327162"/>
                      </a:lnTo>
                      <a:lnTo>
                        <a:pt x="348657" y="396383"/>
                      </a:lnTo>
                      <a:lnTo>
                        <a:pt x="32789" y="396383"/>
                      </a:lnTo>
                      <a:cubicBezTo>
                        <a:pt x="10565" y="396383"/>
                        <a:pt x="0" y="385818"/>
                        <a:pt x="0" y="364141"/>
                      </a:cubicBezTo>
                      <a:lnTo>
                        <a:pt x="0" y="304209"/>
                      </a:lnTo>
                      <a:cubicBezTo>
                        <a:pt x="0" y="239542"/>
                        <a:pt x="19309" y="205478"/>
                        <a:pt x="86891" y="190359"/>
                      </a:cubicBezTo>
                      <a:lnTo>
                        <a:pt x="253568" y="152287"/>
                      </a:lnTo>
                      <a:cubicBezTo>
                        <a:pt x="281804" y="145911"/>
                        <a:pt x="290547" y="132431"/>
                        <a:pt x="290547" y="113487"/>
                      </a:cubicBezTo>
                      <a:cubicBezTo>
                        <a:pt x="290547" y="87073"/>
                        <a:pt x="273424" y="69403"/>
                        <a:pt x="241728" y="69403"/>
                      </a:cubicBezTo>
                      <a:lnTo>
                        <a:pt x="12751" y="69403"/>
                      </a:lnTo>
                      <a:lnTo>
                        <a:pt x="12751" y="0"/>
                      </a:lnTo>
                      <a:lnTo>
                        <a:pt x="239906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" name="Freeform: Shape 16">
                  <a:extLst>
                    <a:ext uri="{FF2B5EF4-FFF2-40B4-BE49-F238E27FC236}">
                      <a16:creationId xmlns:a16="http://schemas.microsoft.com/office/drawing/2014/main" id="{C21D3805-87B3-1F0D-FD6F-8BDD1D160109}"/>
                    </a:ext>
                  </a:extLst>
                </p:cNvPr>
                <p:cNvSpPr/>
                <p:nvPr/>
              </p:nvSpPr>
              <p:spPr>
                <a:xfrm>
                  <a:off x="8309922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4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4 w 358129"/>
                    <a:gd name="connsiteY3" fmla="*/ 0 h 407859"/>
                    <a:gd name="connsiteX4" fmla="*/ 358129 w 358129"/>
                    <a:gd name="connsiteY4" fmla="*/ 204203 h 407859"/>
                    <a:gd name="connsiteX5" fmla="*/ 68128 w 358129"/>
                    <a:gd name="connsiteY5" fmla="*/ 203656 h 407859"/>
                    <a:gd name="connsiteX6" fmla="*/ 179064 w 358129"/>
                    <a:gd name="connsiteY6" fmla="*/ 338638 h 407859"/>
                    <a:gd name="connsiteX7" fmla="*/ 289454 w 358129"/>
                    <a:gd name="connsiteY7" fmla="*/ 203656 h 407859"/>
                    <a:gd name="connsiteX8" fmla="*/ 179064 w 358129"/>
                    <a:gd name="connsiteY8" fmla="*/ 69221 h 407859"/>
                    <a:gd name="connsiteX9" fmla="*/ 68128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7" y="407860"/>
                        <a:pt x="179064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8" y="0"/>
                        <a:pt x="179064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128" y="203656"/>
                      </a:moveTo>
                      <a:cubicBezTo>
                        <a:pt x="68128" y="294555"/>
                        <a:pt x="101646" y="338638"/>
                        <a:pt x="179064" y="338638"/>
                      </a:cubicBezTo>
                      <a:cubicBezTo>
                        <a:pt x="256483" y="338638"/>
                        <a:pt x="289454" y="294555"/>
                        <a:pt x="289454" y="203656"/>
                      </a:cubicBezTo>
                      <a:cubicBezTo>
                        <a:pt x="289454" y="112758"/>
                        <a:pt x="255937" y="69221"/>
                        <a:pt x="179064" y="69221"/>
                      </a:cubicBezTo>
                      <a:cubicBezTo>
                        <a:pt x="102192" y="69221"/>
                        <a:pt x="68128" y="113304"/>
                        <a:pt x="68128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78D92050-BB07-0F80-C9F3-9B662591D791}"/>
                    </a:ext>
                  </a:extLst>
                </p:cNvPr>
                <p:cNvSpPr/>
                <p:nvPr/>
              </p:nvSpPr>
              <p:spPr>
                <a:xfrm>
                  <a:off x="8744558" y="2759273"/>
                  <a:ext cx="332262" cy="396201"/>
                </a:xfrm>
                <a:custGeom>
                  <a:avLst/>
                  <a:gdLst>
                    <a:gd name="connsiteX0" fmla="*/ 198374 w 332262"/>
                    <a:gd name="connsiteY0" fmla="*/ 182 h 396201"/>
                    <a:gd name="connsiteX1" fmla="*/ 330988 w 332262"/>
                    <a:gd name="connsiteY1" fmla="*/ 106382 h 396201"/>
                    <a:gd name="connsiteX2" fmla="*/ 274700 w 332262"/>
                    <a:gd name="connsiteY2" fmla="*/ 197281 h 396201"/>
                    <a:gd name="connsiteX3" fmla="*/ 332263 w 332262"/>
                    <a:gd name="connsiteY3" fmla="*/ 290001 h 396201"/>
                    <a:gd name="connsiteX4" fmla="*/ 200196 w 332262"/>
                    <a:gd name="connsiteY4" fmla="*/ 396201 h 396201"/>
                    <a:gd name="connsiteX5" fmla="*/ 0 w 332262"/>
                    <a:gd name="connsiteY5" fmla="*/ 396201 h 396201"/>
                    <a:gd name="connsiteX6" fmla="*/ 0 w 332262"/>
                    <a:gd name="connsiteY6" fmla="*/ 326980 h 396201"/>
                    <a:gd name="connsiteX7" fmla="*/ 200196 w 332262"/>
                    <a:gd name="connsiteY7" fmla="*/ 326980 h 396201"/>
                    <a:gd name="connsiteX8" fmla="*/ 260126 w 332262"/>
                    <a:gd name="connsiteY8" fmla="*/ 276521 h 396201"/>
                    <a:gd name="connsiteX9" fmla="*/ 199649 w 332262"/>
                    <a:gd name="connsiteY9" fmla="*/ 228977 h 396201"/>
                    <a:gd name="connsiteX10" fmla="*/ 77601 w 332262"/>
                    <a:gd name="connsiteY10" fmla="*/ 228977 h 396201"/>
                    <a:gd name="connsiteX11" fmla="*/ 77601 w 332262"/>
                    <a:gd name="connsiteY11" fmla="*/ 166131 h 396201"/>
                    <a:gd name="connsiteX12" fmla="*/ 197828 w 332262"/>
                    <a:gd name="connsiteY12" fmla="*/ 166131 h 396201"/>
                    <a:gd name="connsiteX13" fmla="*/ 258305 w 332262"/>
                    <a:gd name="connsiteY13" fmla="*/ 118587 h 396201"/>
                    <a:gd name="connsiteX14" fmla="*/ 198374 w 332262"/>
                    <a:gd name="connsiteY14" fmla="*/ 69403 h 396201"/>
                    <a:gd name="connsiteX15" fmla="*/ 546 w 332262"/>
                    <a:gd name="connsiteY15" fmla="*/ 69403 h 396201"/>
                    <a:gd name="connsiteX16" fmla="*/ 546 w 332262"/>
                    <a:gd name="connsiteY16" fmla="*/ 0 h 396201"/>
                    <a:gd name="connsiteX17" fmla="*/ 198374 w 332262"/>
                    <a:gd name="connsiteY17" fmla="*/ 0 h 39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262" h="396201">
                      <a:moveTo>
                        <a:pt x="198374" y="182"/>
                      </a:moveTo>
                      <a:cubicBezTo>
                        <a:pt x="291641" y="182"/>
                        <a:pt x="330988" y="45358"/>
                        <a:pt x="330988" y="106382"/>
                      </a:cubicBezTo>
                      <a:cubicBezTo>
                        <a:pt x="330988" y="153380"/>
                        <a:pt x="310950" y="182161"/>
                        <a:pt x="274700" y="197281"/>
                      </a:cubicBezTo>
                      <a:cubicBezTo>
                        <a:pt x="312225" y="213129"/>
                        <a:pt x="332263" y="242457"/>
                        <a:pt x="332263" y="290001"/>
                      </a:cubicBezTo>
                      <a:cubicBezTo>
                        <a:pt x="332263" y="349203"/>
                        <a:pt x="293462" y="396201"/>
                        <a:pt x="200196" y="396201"/>
                      </a:cubicBezTo>
                      <a:lnTo>
                        <a:pt x="0" y="396201"/>
                      </a:lnTo>
                      <a:lnTo>
                        <a:pt x="0" y="326980"/>
                      </a:lnTo>
                      <a:lnTo>
                        <a:pt x="200196" y="326980"/>
                      </a:lnTo>
                      <a:cubicBezTo>
                        <a:pt x="240636" y="326980"/>
                        <a:pt x="260126" y="308217"/>
                        <a:pt x="260126" y="276521"/>
                      </a:cubicBezTo>
                      <a:cubicBezTo>
                        <a:pt x="260126" y="244825"/>
                        <a:pt x="239542" y="228977"/>
                        <a:pt x="199649" y="228977"/>
                      </a:cubicBezTo>
                      <a:lnTo>
                        <a:pt x="77601" y="228977"/>
                      </a:lnTo>
                      <a:lnTo>
                        <a:pt x="77601" y="166131"/>
                      </a:lnTo>
                      <a:lnTo>
                        <a:pt x="197828" y="166131"/>
                      </a:lnTo>
                      <a:cubicBezTo>
                        <a:pt x="238267" y="166131"/>
                        <a:pt x="258305" y="151558"/>
                        <a:pt x="258305" y="118587"/>
                      </a:cubicBezTo>
                      <a:cubicBezTo>
                        <a:pt x="258305" y="88713"/>
                        <a:pt x="240089" y="69403"/>
                        <a:pt x="198374" y="69403"/>
                      </a:cubicBezTo>
                      <a:lnTo>
                        <a:pt x="546" y="69403"/>
                      </a:lnTo>
                      <a:lnTo>
                        <a:pt x="546" y="0"/>
                      </a:lnTo>
                      <a:lnTo>
                        <a:pt x="198374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" name="Freeform: Shape 18">
                  <a:extLst>
                    <a:ext uri="{FF2B5EF4-FFF2-40B4-BE49-F238E27FC236}">
                      <a16:creationId xmlns:a16="http://schemas.microsoft.com/office/drawing/2014/main" id="{E605BAB0-9048-E1ED-B692-3B3BC8EFD056}"/>
                    </a:ext>
                  </a:extLst>
                </p:cNvPr>
                <p:cNvSpPr/>
                <p:nvPr/>
              </p:nvSpPr>
              <p:spPr>
                <a:xfrm>
                  <a:off x="9137298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5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5 w 358129"/>
                    <a:gd name="connsiteY3" fmla="*/ 0 h 407859"/>
                    <a:gd name="connsiteX4" fmla="*/ 358129 w 358129"/>
                    <a:gd name="connsiteY4" fmla="*/ 204203 h 407859"/>
                    <a:gd name="connsiteX5" fmla="*/ 68311 w 358129"/>
                    <a:gd name="connsiteY5" fmla="*/ 203656 h 407859"/>
                    <a:gd name="connsiteX6" fmla="*/ 179247 w 358129"/>
                    <a:gd name="connsiteY6" fmla="*/ 338638 h 407859"/>
                    <a:gd name="connsiteX7" fmla="*/ 289637 w 358129"/>
                    <a:gd name="connsiteY7" fmla="*/ 203656 h 407859"/>
                    <a:gd name="connsiteX8" fmla="*/ 179247 w 358129"/>
                    <a:gd name="connsiteY8" fmla="*/ 69221 h 407859"/>
                    <a:gd name="connsiteX9" fmla="*/ 68311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8" y="407860"/>
                        <a:pt x="179065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9" y="0"/>
                        <a:pt x="179065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311" y="203656"/>
                      </a:moveTo>
                      <a:cubicBezTo>
                        <a:pt x="68311" y="294555"/>
                        <a:pt x="101646" y="338638"/>
                        <a:pt x="179247" y="338638"/>
                      </a:cubicBezTo>
                      <a:cubicBezTo>
                        <a:pt x="256848" y="338638"/>
                        <a:pt x="289637" y="294555"/>
                        <a:pt x="289637" y="203656"/>
                      </a:cubicBezTo>
                      <a:cubicBezTo>
                        <a:pt x="289637" y="112758"/>
                        <a:pt x="256301" y="69221"/>
                        <a:pt x="179247" y="69221"/>
                      </a:cubicBezTo>
                      <a:cubicBezTo>
                        <a:pt x="102193" y="69221"/>
                        <a:pt x="68311" y="113304"/>
                        <a:pt x="68311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EC02460A-28D2-077E-A189-DECD5CB3F72C}"/>
                  </a:ext>
                </a:extLst>
              </p:cNvPr>
              <p:cNvSpPr/>
              <p:nvPr/>
            </p:nvSpPr>
            <p:spPr>
              <a:xfrm>
                <a:off x="2752724" y="1340236"/>
                <a:ext cx="2907478" cy="415692"/>
              </a:xfrm>
              <a:custGeom>
                <a:avLst/>
                <a:gdLst>
                  <a:gd name="connsiteX0" fmla="*/ 591296 w 2907478"/>
                  <a:gd name="connsiteY0" fmla="*/ 82701 h 415692"/>
                  <a:gd name="connsiteX1" fmla="*/ 676547 w 2907478"/>
                  <a:gd name="connsiteY1" fmla="*/ 82701 h 415692"/>
                  <a:gd name="connsiteX2" fmla="*/ 766535 w 2907478"/>
                  <a:gd name="connsiteY2" fmla="*/ 277978 h 415692"/>
                  <a:gd name="connsiteX3" fmla="*/ 772729 w 2907478"/>
                  <a:gd name="connsiteY3" fmla="*/ 277978 h 415692"/>
                  <a:gd name="connsiteX4" fmla="*/ 772729 w 2907478"/>
                  <a:gd name="connsiteY4" fmla="*/ 82701 h 415692"/>
                  <a:gd name="connsiteX5" fmla="*/ 821548 w 2907478"/>
                  <a:gd name="connsiteY5" fmla="*/ 82701 h 415692"/>
                  <a:gd name="connsiteX6" fmla="*/ 821548 w 2907478"/>
                  <a:gd name="connsiteY6" fmla="*/ 332991 h 415692"/>
                  <a:gd name="connsiteX7" fmla="*/ 736296 w 2907478"/>
                  <a:gd name="connsiteY7" fmla="*/ 332991 h 415692"/>
                  <a:gd name="connsiteX8" fmla="*/ 645944 w 2907478"/>
                  <a:gd name="connsiteY8" fmla="*/ 137714 h 415692"/>
                  <a:gd name="connsiteX9" fmla="*/ 640115 w 2907478"/>
                  <a:gd name="connsiteY9" fmla="*/ 137714 h 415692"/>
                  <a:gd name="connsiteX10" fmla="*/ 640115 w 2907478"/>
                  <a:gd name="connsiteY10" fmla="*/ 332991 h 415692"/>
                  <a:gd name="connsiteX11" fmla="*/ 591296 w 2907478"/>
                  <a:gd name="connsiteY11" fmla="*/ 332991 h 415692"/>
                  <a:gd name="connsiteX12" fmla="*/ 591296 w 2907478"/>
                  <a:gd name="connsiteY12" fmla="*/ 82701 h 415692"/>
                  <a:gd name="connsiteX13" fmla="*/ 869274 w 2907478"/>
                  <a:gd name="connsiteY13" fmla="*/ 207846 h 415692"/>
                  <a:gd name="connsiteX14" fmla="*/ 997152 w 2907478"/>
                  <a:gd name="connsiteY14" fmla="*/ 76872 h 415692"/>
                  <a:gd name="connsiteX15" fmla="*/ 1113371 w 2907478"/>
                  <a:gd name="connsiteY15" fmla="*/ 174328 h 415692"/>
                  <a:gd name="connsiteX16" fmla="*/ 1063276 w 2907478"/>
                  <a:gd name="connsiteY16" fmla="*/ 174328 h 415692"/>
                  <a:gd name="connsiteX17" fmla="*/ 1010085 w 2907478"/>
                  <a:gd name="connsiteY17" fmla="*/ 122777 h 415692"/>
                  <a:gd name="connsiteX18" fmla="*/ 981850 w 2907478"/>
                  <a:gd name="connsiteY18" fmla="*/ 122777 h 415692"/>
                  <a:gd name="connsiteX19" fmla="*/ 919733 w 2907478"/>
                  <a:gd name="connsiteY19" fmla="*/ 208028 h 415692"/>
                  <a:gd name="connsiteX20" fmla="*/ 981850 w 2907478"/>
                  <a:gd name="connsiteY20" fmla="*/ 293280 h 415692"/>
                  <a:gd name="connsiteX21" fmla="*/ 1010085 w 2907478"/>
                  <a:gd name="connsiteY21" fmla="*/ 293280 h 415692"/>
                  <a:gd name="connsiteX22" fmla="*/ 1064005 w 2907478"/>
                  <a:gd name="connsiteY22" fmla="*/ 241728 h 415692"/>
                  <a:gd name="connsiteX23" fmla="*/ 1114099 w 2907478"/>
                  <a:gd name="connsiteY23" fmla="*/ 241728 h 415692"/>
                  <a:gd name="connsiteX24" fmla="*/ 995512 w 2907478"/>
                  <a:gd name="connsiteY24" fmla="*/ 339185 h 415692"/>
                  <a:gd name="connsiteX25" fmla="*/ 869092 w 2907478"/>
                  <a:gd name="connsiteY25" fmla="*/ 208210 h 415692"/>
                  <a:gd name="connsiteX26" fmla="*/ 1162736 w 2907478"/>
                  <a:gd name="connsiteY26" fmla="*/ 82701 h 415692"/>
                  <a:gd name="connsiteX27" fmla="*/ 1280413 w 2907478"/>
                  <a:gd name="connsiteY27" fmla="*/ 82701 h 415692"/>
                  <a:gd name="connsiteX28" fmla="*/ 1363296 w 2907478"/>
                  <a:gd name="connsiteY28" fmla="*/ 158663 h 415692"/>
                  <a:gd name="connsiteX29" fmla="*/ 1314841 w 2907478"/>
                  <a:gd name="connsiteY29" fmla="*/ 227520 h 415692"/>
                  <a:gd name="connsiteX30" fmla="*/ 1373133 w 2907478"/>
                  <a:gd name="connsiteY30" fmla="*/ 333173 h 415692"/>
                  <a:gd name="connsiteX31" fmla="*/ 1317574 w 2907478"/>
                  <a:gd name="connsiteY31" fmla="*/ 333173 h 415692"/>
                  <a:gd name="connsiteX32" fmla="*/ 1264018 w 2907478"/>
                  <a:gd name="connsiteY32" fmla="*/ 234988 h 415692"/>
                  <a:gd name="connsiteX33" fmla="*/ 1212466 w 2907478"/>
                  <a:gd name="connsiteY33" fmla="*/ 234988 h 415692"/>
                  <a:gd name="connsiteX34" fmla="*/ 1212466 w 2907478"/>
                  <a:gd name="connsiteY34" fmla="*/ 333173 h 415692"/>
                  <a:gd name="connsiteX35" fmla="*/ 1162736 w 2907478"/>
                  <a:gd name="connsiteY35" fmla="*/ 333173 h 415692"/>
                  <a:gd name="connsiteX36" fmla="*/ 1162736 w 2907478"/>
                  <a:gd name="connsiteY36" fmla="*/ 82701 h 415692"/>
                  <a:gd name="connsiteX37" fmla="*/ 1276951 w 2907478"/>
                  <a:gd name="connsiteY37" fmla="*/ 194548 h 415692"/>
                  <a:gd name="connsiteX38" fmla="*/ 1313748 w 2907478"/>
                  <a:gd name="connsiteY38" fmla="*/ 159756 h 415692"/>
                  <a:gd name="connsiteX39" fmla="*/ 1276951 w 2907478"/>
                  <a:gd name="connsiteY39" fmla="*/ 124963 h 415692"/>
                  <a:gd name="connsiteX40" fmla="*/ 1212466 w 2907478"/>
                  <a:gd name="connsiteY40" fmla="*/ 124963 h 415692"/>
                  <a:gd name="connsiteX41" fmla="*/ 1212466 w 2907478"/>
                  <a:gd name="connsiteY41" fmla="*/ 194548 h 415692"/>
                  <a:gd name="connsiteX42" fmla="*/ 1276951 w 2907478"/>
                  <a:gd name="connsiteY42" fmla="*/ 194548 h 415692"/>
                  <a:gd name="connsiteX43" fmla="*/ 1555841 w 2907478"/>
                  <a:gd name="connsiteY43" fmla="*/ 82701 h 415692"/>
                  <a:gd name="connsiteX44" fmla="*/ 1645100 w 2907478"/>
                  <a:gd name="connsiteY44" fmla="*/ 82701 h 415692"/>
                  <a:gd name="connsiteX45" fmla="*/ 1728347 w 2907478"/>
                  <a:gd name="connsiteY45" fmla="*/ 332991 h 415692"/>
                  <a:gd name="connsiteX46" fmla="*/ 1677160 w 2907478"/>
                  <a:gd name="connsiteY46" fmla="*/ 332991 h 415692"/>
                  <a:gd name="connsiteX47" fmla="*/ 1656394 w 2907478"/>
                  <a:gd name="connsiteY47" fmla="*/ 270874 h 415692"/>
                  <a:gd name="connsiteX48" fmla="*/ 1543271 w 2907478"/>
                  <a:gd name="connsiteY48" fmla="*/ 270874 h 415692"/>
                  <a:gd name="connsiteX49" fmla="*/ 1522505 w 2907478"/>
                  <a:gd name="connsiteY49" fmla="*/ 332991 h 415692"/>
                  <a:gd name="connsiteX50" fmla="*/ 1472411 w 2907478"/>
                  <a:gd name="connsiteY50" fmla="*/ 332991 h 415692"/>
                  <a:gd name="connsiteX51" fmla="*/ 1555658 w 2907478"/>
                  <a:gd name="connsiteY51" fmla="*/ 82701 h 415692"/>
                  <a:gd name="connsiteX52" fmla="*/ 1641821 w 2907478"/>
                  <a:gd name="connsiteY52" fmla="*/ 227702 h 415692"/>
                  <a:gd name="connsiteX53" fmla="*/ 1609760 w 2907478"/>
                  <a:gd name="connsiteY53" fmla="*/ 131521 h 415692"/>
                  <a:gd name="connsiteX54" fmla="*/ 1589358 w 2907478"/>
                  <a:gd name="connsiteY54" fmla="*/ 131521 h 415692"/>
                  <a:gd name="connsiteX55" fmla="*/ 1557298 w 2907478"/>
                  <a:gd name="connsiteY55" fmla="*/ 227702 h 415692"/>
                  <a:gd name="connsiteX56" fmla="*/ 1641821 w 2907478"/>
                  <a:gd name="connsiteY56" fmla="*/ 227702 h 415692"/>
                  <a:gd name="connsiteX57" fmla="*/ 1797751 w 2907478"/>
                  <a:gd name="connsiteY57" fmla="*/ 127149 h 415692"/>
                  <a:gd name="connsiteX58" fmla="*/ 1719604 w 2907478"/>
                  <a:gd name="connsiteY58" fmla="*/ 127149 h 415692"/>
                  <a:gd name="connsiteX59" fmla="*/ 1719604 w 2907478"/>
                  <a:gd name="connsiteY59" fmla="*/ 82519 h 415692"/>
                  <a:gd name="connsiteX60" fmla="*/ 1925446 w 2907478"/>
                  <a:gd name="connsiteY60" fmla="*/ 82519 h 415692"/>
                  <a:gd name="connsiteX61" fmla="*/ 1925446 w 2907478"/>
                  <a:gd name="connsiteY61" fmla="*/ 127149 h 415692"/>
                  <a:gd name="connsiteX62" fmla="*/ 1847663 w 2907478"/>
                  <a:gd name="connsiteY62" fmla="*/ 127149 h 415692"/>
                  <a:gd name="connsiteX63" fmla="*/ 1847663 w 2907478"/>
                  <a:gd name="connsiteY63" fmla="*/ 332991 h 415692"/>
                  <a:gd name="connsiteX64" fmla="*/ 1797933 w 2907478"/>
                  <a:gd name="connsiteY64" fmla="*/ 332991 h 415692"/>
                  <a:gd name="connsiteX65" fmla="*/ 1797933 w 2907478"/>
                  <a:gd name="connsiteY65" fmla="*/ 127149 h 415692"/>
                  <a:gd name="connsiteX66" fmla="*/ 1969165 w 2907478"/>
                  <a:gd name="connsiteY66" fmla="*/ 82701 h 415692"/>
                  <a:gd name="connsiteX67" fmla="*/ 2018895 w 2907478"/>
                  <a:gd name="connsiteY67" fmla="*/ 82701 h 415692"/>
                  <a:gd name="connsiteX68" fmla="*/ 2018895 w 2907478"/>
                  <a:gd name="connsiteY68" fmla="*/ 288544 h 415692"/>
                  <a:gd name="connsiteX69" fmla="*/ 2144768 w 2907478"/>
                  <a:gd name="connsiteY69" fmla="*/ 288544 h 415692"/>
                  <a:gd name="connsiteX70" fmla="*/ 2144768 w 2907478"/>
                  <a:gd name="connsiteY70" fmla="*/ 333173 h 415692"/>
                  <a:gd name="connsiteX71" fmla="*/ 1969165 w 2907478"/>
                  <a:gd name="connsiteY71" fmla="*/ 333173 h 415692"/>
                  <a:gd name="connsiteX72" fmla="*/ 1969165 w 2907478"/>
                  <a:gd name="connsiteY72" fmla="*/ 82701 h 415692"/>
                  <a:gd name="connsiteX73" fmla="*/ 2188305 w 2907478"/>
                  <a:gd name="connsiteY73" fmla="*/ 82701 h 415692"/>
                  <a:gd name="connsiteX74" fmla="*/ 2371742 w 2907478"/>
                  <a:gd name="connsiteY74" fmla="*/ 82701 h 415692"/>
                  <a:gd name="connsiteX75" fmla="*/ 2371742 w 2907478"/>
                  <a:gd name="connsiteY75" fmla="*/ 124963 h 415692"/>
                  <a:gd name="connsiteX76" fmla="*/ 2237489 w 2907478"/>
                  <a:gd name="connsiteY76" fmla="*/ 124963 h 415692"/>
                  <a:gd name="connsiteX77" fmla="*/ 2237489 w 2907478"/>
                  <a:gd name="connsiteY77" fmla="*/ 183983 h 415692"/>
                  <a:gd name="connsiteX78" fmla="*/ 2361905 w 2907478"/>
                  <a:gd name="connsiteY78" fmla="*/ 183983 h 415692"/>
                  <a:gd name="connsiteX79" fmla="*/ 2361905 w 2907478"/>
                  <a:gd name="connsiteY79" fmla="*/ 225516 h 415692"/>
                  <a:gd name="connsiteX80" fmla="*/ 2237489 w 2907478"/>
                  <a:gd name="connsiteY80" fmla="*/ 225516 h 415692"/>
                  <a:gd name="connsiteX81" fmla="*/ 2237489 w 2907478"/>
                  <a:gd name="connsiteY81" fmla="*/ 290912 h 415692"/>
                  <a:gd name="connsiteX82" fmla="*/ 2373563 w 2907478"/>
                  <a:gd name="connsiteY82" fmla="*/ 290912 h 415692"/>
                  <a:gd name="connsiteX83" fmla="*/ 2373563 w 2907478"/>
                  <a:gd name="connsiteY83" fmla="*/ 333173 h 415692"/>
                  <a:gd name="connsiteX84" fmla="*/ 2188123 w 2907478"/>
                  <a:gd name="connsiteY84" fmla="*/ 333173 h 415692"/>
                  <a:gd name="connsiteX85" fmla="*/ 2188123 w 2907478"/>
                  <a:gd name="connsiteY85" fmla="*/ 82701 h 415692"/>
                  <a:gd name="connsiteX86" fmla="*/ 2409085 w 2907478"/>
                  <a:gd name="connsiteY86" fmla="*/ 207846 h 415692"/>
                  <a:gd name="connsiteX87" fmla="*/ 2538601 w 2907478"/>
                  <a:gd name="connsiteY87" fmla="*/ 76872 h 415692"/>
                  <a:gd name="connsiteX88" fmla="*/ 2667754 w 2907478"/>
                  <a:gd name="connsiteY88" fmla="*/ 207846 h 415692"/>
                  <a:gd name="connsiteX89" fmla="*/ 2538601 w 2907478"/>
                  <a:gd name="connsiteY89" fmla="*/ 338820 h 415692"/>
                  <a:gd name="connsiteX90" fmla="*/ 2409085 w 2907478"/>
                  <a:gd name="connsiteY90" fmla="*/ 207846 h 415692"/>
                  <a:gd name="connsiteX91" fmla="*/ 2525121 w 2907478"/>
                  <a:gd name="connsiteY91" fmla="*/ 293098 h 415692"/>
                  <a:gd name="connsiteX92" fmla="*/ 2552081 w 2907478"/>
                  <a:gd name="connsiteY92" fmla="*/ 293098 h 415692"/>
                  <a:gd name="connsiteX93" fmla="*/ 2616566 w 2907478"/>
                  <a:gd name="connsiteY93" fmla="*/ 207846 h 415692"/>
                  <a:gd name="connsiteX94" fmla="*/ 2552081 w 2907478"/>
                  <a:gd name="connsiteY94" fmla="*/ 122595 h 415692"/>
                  <a:gd name="connsiteX95" fmla="*/ 2525121 w 2907478"/>
                  <a:gd name="connsiteY95" fmla="*/ 122595 h 415692"/>
                  <a:gd name="connsiteX96" fmla="*/ 2459726 w 2907478"/>
                  <a:gd name="connsiteY96" fmla="*/ 207846 h 415692"/>
                  <a:gd name="connsiteX97" fmla="*/ 2525121 w 2907478"/>
                  <a:gd name="connsiteY97" fmla="*/ 293098 h 415692"/>
                  <a:gd name="connsiteX98" fmla="*/ 2701089 w 2907478"/>
                  <a:gd name="connsiteY98" fmla="*/ 255937 h 415692"/>
                  <a:gd name="connsiteX99" fmla="*/ 2751913 w 2907478"/>
                  <a:gd name="connsiteY99" fmla="*/ 255937 h 415692"/>
                  <a:gd name="connsiteX100" fmla="*/ 2791806 w 2907478"/>
                  <a:gd name="connsiteY100" fmla="*/ 294191 h 415692"/>
                  <a:gd name="connsiteX101" fmla="*/ 2823866 w 2907478"/>
                  <a:gd name="connsiteY101" fmla="*/ 294191 h 415692"/>
                  <a:gd name="connsiteX102" fmla="*/ 2858295 w 2907478"/>
                  <a:gd name="connsiteY102" fmla="*/ 262859 h 415692"/>
                  <a:gd name="connsiteX103" fmla="*/ 2828967 w 2907478"/>
                  <a:gd name="connsiteY103" fmla="*/ 232802 h 415692"/>
                  <a:gd name="connsiteX104" fmla="*/ 2775776 w 2907478"/>
                  <a:gd name="connsiteY104" fmla="*/ 226973 h 415692"/>
                  <a:gd name="connsiteX105" fmla="*/ 2707647 w 2907478"/>
                  <a:gd name="connsiteY105" fmla="*/ 154655 h 415692"/>
                  <a:gd name="connsiteX106" fmla="*/ 2803828 w 2907478"/>
                  <a:gd name="connsiteY106" fmla="*/ 76872 h 415692"/>
                  <a:gd name="connsiteX107" fmla="*/ 2902013 w 2907478"/>
                  <a:gd name="connsiteY107" fmla="*/ 159391 h 415692"/>
                  <a:gd name="connsiteX108" fmla="*/ 2851555 w 2907478"/>
                  <a:gd name="connsiteY108" fmla="*/ 159391 h 415692"/>
                  <a:gd name="connsiteX109" fmla="*/ 2815122 w 2907478"/>
                  <a:gd name="connsiteY109" fmla="*/ 121502 h 415692"/>
                  <a:gd name="connsiteX110" fmla="*/ 2788527 w 2907478"/>
                  <a:gd name="connsiteY110" fmla="*/ 121502 h 415692"/>
                  <a:gd name="connsiteX111" fmla="*/ 2756467 w 2907478"/>
                  <a:gd name="connsiteY111" fmla="*/ 151194 h 415692"/>
                  <a:gd name="connsiteX112" fmla="*/ 2787434 w 2907478"/>
                  <a:gd name="connsiteY112" fmla="*/ 182526 h 415692"/>
                  <a:gd name="connsiteX113" fmla="*/ 2840625 w 2907478"/>
                  <a:gd name="connsiteY113" fmla="*/ 188355 h 415692"/>
                  <a:gd name="connsiteX114" fmla="*/ 2907478 w 2907478"/>
                  <a:gd name="connsiteY114" fmla="*/ 260309 h 415692"/>
                  <a:gd name="connsiteX115" fmla="*/ 2804557 w 2907478"/>
                  <a:gd name="connsiteY115" fmla="*/ 339002 h 415692"/>
                  <a:gd name="connsiteX116" fmla="*/ 2700907 w 2907478"/>
                  <a:gd name="connsiteY116" fmla="*/ 256119 h 415692"/>
                  <a:gd name="connsiteX117" fmla="*/ 207846 w 2907478"/>
                  <a:gd name="connsiteY117" fmla="*/ 0 h 415692"/>
                  <a:gd name="connsiteX118" fmla="*/ 207846 w 2907478"/>
                  <a:gd name="connsiteY118" fmla="*/ 0 h 415692"/>
                  <a:gd name="connsiteX119" fmla="*/ 0 w 2907478"/>
                  <a:gd name="connsiteY119" fmla="*/ 207846 h 415692"/>
                  <a:gd name="connsiteX120" fmla="*/ 207846 w 2907478"/>
                  <a:gd name="connsiteY120" fmla="*/ 415692 h 415692"/>
                  <a:gd name="connsiteX121" fmla="*/ 207846 w 2907478"/>
                  <a:gd name="connsiteY121" fmla="*/ 415692 h 415692"/>
                  <a:gd name="connsiteX122" fmla="*/ 415692 w 2907478"/>
                  <a:gd name="connsiteY122" fmla="*/ 207846 h 415692"/>
                  <a:gd name="connsiteX123" fmla="*/ 207846 w 2907478"/>
                  <a:gd name="connsiteY123" fmla="*/ 0 h 415692"/>
                  <a:gd name="connsiteX124" fmla="*/ 207846 w 2907478"/>
                  <a:gd name="connsiteY124" fmla="*/ 398569 h 415692"/>
                  <a:gd name="connsiteX125" fmla="*/ 142815 w 2907478"/>
                  <a:gd name="connsiteY125" fmla="*/ 353940 h 415692"/>
                  <a:gd name="connsiteX126" fmla="*/ 149919 w 2907478"/>
                  <a:gd name="connsiteY126" fmla="*/ 351389 h 415692"/>
                  <a:gd name="connsiteX127" fmla="*/ 268870 w 2907478"/>
                  <a:gd name="connsiteY127" fmla="*/ 280529 h 415692"/>
                  <a:gd name="connsiteX128" fmla="*/ 307306 w 2907478"/>
                  <a:gd name="connsiteY128" fmla="*/ 244278 h 415692"/>
                  <a:gd name="connsiteX129" fmla="*/ 207846 w 2907478"/>
                  <a:gd name="connsiteY129" fmla="*/ 398569 h 415692"/>
                  <a:gd name="connsiteX130" fmla="*/ 62117 w 2907478"/>
                  <a:gd name="connsiteY130" fmla="*/ 330805 h 415692"/>
                  <a:gd name="connsiteX131" fmla="*/ 61388 w 2907478"/>
                  <a:gd name="connsiteY131" fmla="*/ 330076 h 415692"/>
                  <a:gd name="connsiteX132" fmla="*/ 91263 w 2907478"/>
                  <a:gd name="connsiteY132" fmla="*/ 247193 h 415692"/>
                  <a:gd name="connsiteX133" fmla="*/ 111301 w 2907478"/>
                  <a:gd name="connsiteY133" fmla="*/ 330076 h 415692"/>
                  <a:gd name="connsiteX134" fmla="*/ 62117 w 2907478"/>
                  <a:gd name="connsiteY134" fmla="*/ 330805 h 415692"/>
                  <a:gd name="connsiteX135" fmla="*/ 207846 w 2907478"/>
                  <a:gd name="connsiteY135" fmla="*/ 17123 h 415692"/>
                  <a:gd name="connsiteX136" fmla="*/ 207846 w 2907478"/>
                  <a:gd name="connsiteY136" fmla="*/ 17123 h 415692"/>
                  <a:gd name="connsiteX137" fmla="*/ 272878 w 2907478"/>
                  <a:gd name="connsiteY137" fmla="*/ 61753 h 415692"/>
                  <a:gd name="connsiteX138" fmla="*/ 265774 w 2907478"/>
                  <a:gd name="connsiteY138" fmla="*/ 64303 h 415692"/>
                  <a:gd name="connsiteX139" fmla="*/ 146822 w 2907478"/>
                  <a:gd name="connsiteY139" fmla="*/ 135164 h 415692"/>
                  <a:gd name="connsiteX140" fmla="*/ 108386 w 2907478"/>
                  <a:gd name="connsiteY140" fmla="*/ 171414 h 415692"/>
                  <a:gd name="connsiteX141" fmla="*/ 207846 w 2907478"/>
                  <a:gd name="connsiteY141" fmla="*/ 17123 h 415692"/>
                  <a:gd name="connsiteX142" fmla="*/ 353393 w 2907478"/>
                  <a:gd name="connsiteY142" fmla="*/ 84887 h 415692"/>
                  <a:gd name="connsiteX143" fmla="*/ 354122 w 2907478"/>
                  <a:gd name="connsiteY143" fmla="*/ 85616 h 415692"/>
                  <a:gd name="connsiteX144" fmla="*/ 324247 w 2907478"/>
                  <a:gd name="connsiteY144" fmla="*/ 168499 h 415692"/>
                  <a:gd name="connsiteX145" fmla="*/ 304210 w 2907478"/>
                  <a:gd name="connsiteY145" fmla="*/ 85616 h 415692"/>
                  <a:gd name="connsiteX146" fmla="*/ 353393 w 2907478"/>
                  <a:gd name="connsiteY146" fmla="*/ 84887 h 415692"/>
                  <a:gd name="connsiteX147" fmla="*/ 139171 w 2907478"/>
                  <a:gd name="connsiteY147" fmla="*/ 190177 h 415692"/>
                  <a:gd name="connsiteX148" fmla="*/ 207846 w 2907478"/>
                  <a:gd name="connsiteY148" fmla="*/ 188901 h 415692"/>
                  <a:gd name="connsiteX149" fmla="*/ 306942 w 2907478"/>
                  <a:gd name="connsiteY149" fmla="*/ 191634 h 415692"/>
                  <a:gd name="connsiteX150" fmla="*/ 276521 w 2907478"/>
                  <a:gd name="connsiteY150" fmla="*/ 225334 h 415692"/>
                  <a:gd name="connsiteX151" fmla="*/ 207846 w 2907478"/>
                  <a:gd name="connsiteY151" fmla="*/ 226609 h 415692"/>
                  <a:gd name="connsiteX152" fmla="*/ 108750 w 2907478"/>
                  <a:gd name="connsiteY152" fmla="*/ 223876 h 415692"/>
                  <a:gd name="connsiteX153" fmla="*/ 139171 w 2907478"/>
                  <a:gd name="connsiteY153" fmla="*/ 190177 h 415692"/>
                  <a:gd name="connsiteX154" fmla="*/ 307488 w 2907478"/>
                  <a:gd name="connsiteY154" fmla="*/ 174693 h 415692"/>
                  <a:gd name="connsiteX155" fmla="*/ 207664 w 2907478"/>
                  <a:gd name="connsiteY155" fmla="*/ 171960 h 415692"/>
                  <a:gd name="connsiteX156" fmla="*/ 157570 w 2907478"/>
                  <a:gd name="connsiteY156" fmla="*/ 172689 h 415692"/>
                  <a:gd name="connsiteX157" fmla="*/ 169410 w 2907478"/>
                  <a:gd name="connsiteY157" fmla="*/ 162306 h 415692"/>
                  <a:gd name="connsiteX158" fmla="*/ 247193 w 2907478"/>
                  <a:gd name="connsiteY158" fmla="*/ 109661 h 415692"/>
                  <a:gd name="connsiteX159" fmla="*/ 287815 w 2907478"/>
                  <a:gd name="connsiteY159" fmla="*/ 91445 h 415692"/>
                  <a:gd name="connsiteX160" fmla="*/ 307488 w 2907478"/>
                  <a:gd name="connsiteY160" fmla="*/ 174875 h 415692"/>
                  <a:gd name="connsiteX161" fmla="*/ 68675 w 2907478"/>
                  <a:gd name="connsiteY161" fmla="*/ 220597 h 415692"/>
                  <a:gd name="connsiteX162" fmla="*/ 17123 w 2907478"/>
                  <a:gd name="connsiteY162" fmla="*/ 207664 h 415692"/>
                  <a:gd name="connsiteX163" fmla="*/ 89259 w 2907478"/>
                  <a:gd name="connsiteY163" fmla="*/ 192909 h 415692"/>
                  <a:gd name="connsiteX164" fmla="*/ 68675 w 2907478"/>
                  <a:gd name="connsiteY164" fmla="*/ 220597 h 415692"/>
                  <a:gd name="connsiteX165" fmla="*/ 28235 w 2907478"/>
                  <a:gd name="connsiteY165" fmla="*/ 231709 h 415692"/>
                  <a:gd name="connsiteX166" fmla="*/ 58292 w 2907478"/>
                  <a:gd name="connsiteY166" fmla="*/ 236628 h 415692"/>
                  <a:gd name="connsiteX167" fmla="*/ 56288 w 2907478"/>
                  <a:gd name="connsiteY167" fmla="*/ 239907 h 415692"/>
                  <a:gd name="connsiteX168" fmla="*/ 35886 w 2907478"/>
                  <a:gd name="connsiteY168" fmla="*/ 290547 h 415692"/>
                  <a:gd name="connsiteX169" fmla="*/ 18216 w 2907478"/>
                  <a:gd name="connsiteY169" fmla="*/ 228977 h 415692"/>
                  <a:gd name="connsiteX170" fmla="*/ 28235 w 2907478"/>
                  <a:gd name="connsiteY170" fmla="*/ 231709 h 415692"/>
                  <a:gd name="connsiteX171" fmla="*/ 108022 w 2907478"/>
                  <a:gd name="connsiteY171" fmla="*/ 241000 h 415692"/>
                  <a:gd name="connsiteX172" fmla="*/ 207846 w 2907478"/>
                  <a:gd name="connsiteY172" fmla="*/ 243732 h 415692"/>
                  <a:gd name="connsiteX173" fmla="*/ 257941 w 2907478"/>
                  <a:gd name="connsiteY173" fmla="*/ 243003 h 415692"/>
                  <a:gd name="connsiteX174" fmla="*/ 246100 w 2907478"/>
                  <a:gd name="connsiteY174" fmla="*/ 253387 h 415692"/>
                  <a:gd name="connsiteX175" fmla="*/ 168317 w 2907478"/>
                  <a:gd name="connsiteY175" fmla="*/ 306031 h 415692"/>
                  <a:gd name="connsiteX176" fmla="*/ 127695 w 2907478"/>
                  <a:gd name="connsiteY176" fmla="*/ 324247 h 415692"/>
                  <a:gd name="connsiteX177" fmla="*/ 108022 w 2907478"/>
                  <a:gd name="connsiteY177" fmla="*/ 240817 h 415692"/>
                  <a:gd name="connsiteX178" fmla="*/ 347017 w 2907478"/>
                  <a:gd name="connsiteY178" fmla="*/ 194913 h 415692"/>
                  <a:gd name="connsiteX179" fmla="*/ 398569 w 2907478"/>
                  <a:gd name="connsiteY179" fmla="*/ 207846 h 415692"/>
                  <a:gd name="connsiteX180" fmla="*/ 326433 w 2907478"/>
                  <a:gd name="connsiteY180" fmla="*/ 222601 h 415692"/>
                  <a:gd name="connsiteX181" fmla="*/ 347017 w 2907478"/>
                  <a:gd name="connsiteY181" fmla="*/ 194913 h 415692"/>
                  <a:gd name="connsiteX182" fmla="*/ 387275 w 2907478"/>
                  <a:gd name="connsiteY182" fmla="*/ 183801 h 415692"/>
                  <a:gd name="connsiteX183" fmla="*/ 357219 w 2907478"/>
                  <a:gd name="connsiteY183" fmla="*/ 178882 h 415692"/>
                  <a:gd name="connsiteX184" fmla="*/ 359222 w 2907478"/>
                  <a:gd name="connsiteY184" fmla="*/ 175604 h 415692"/>
                  <a:gd name="connsiteX185" fmla="*/ 379624 w 2907478"/>
                  <a:gd name="connsiteY185" fmla="*/ 124963 h 415692"/>
                  <a:gd name="connsiteX186" fmla="*/ 397294 w 2907478"/>
                  <a:gd name="connsiteY186" fmla="*/ 186533 h 415692"/>
                  <a:gd name="connsiteX187" fmla="*/ 387275 w 2907478"/>
                  <a:gd name="connsiteY187" fmla="*/ 183801 h 415692"/>
                  <a:gd name="connsiteX188" fmla="*/ 318965 w 2907478"/>
                  <a:gd name="connsiteY188" fmla="*/ 53009 h 415692"/>
                  <a:gd name="connsiteX189" fmla="*/ 289819 w 2907478"/>
                  <a:gd name="connsiteY189" fmla="*/ 56652 h 415692"/>
                  <a:gd name="connsiteX190" fmla="*/ 266320 w 2907478"/>
                  <a:gd name="connsiteY190" fmla="*/ 26231 h 415692"/>
                  <a:gd name="connsiteX191" fmla="*/ 318965 w 2907478"/>
                  <a:gd name="connsiteY191" fmla="*/ 53009 h 415692"/>
                  <a:gd name="connsiteX192" fmla="*/ 149372 w 2907478"/>
                  <a:gd name="connsiteY192" fmla="*/ 26413 h 415692"/>
                  <a:gd name="connsiteX193" fmla="*/ 90716 w 2907478"/>
                  <a:gd name="connsiteY193" fmla="*/ 175786 h 415692"/>
                  <a:gd name="connsiteX194" fmla="*/ 71407 w 2907478"/>
                  <a:gd name="connsiteY194" fmla="*/ 177425 h 415692"/>
                  <a:gd name="connsiteX195" fmla="*/ 28417 w 2907478"/>
                  <a:gd name="connsiteY195" fmla="*/ 183801 h 415692"/>
                  <a:gd name="connsiteX196" fmla="*/ 18398 w 2907478"/>
                  <a:gd name="connsiteY196" fmla="*/ 186533 h 415692"/>
                  <a:gd name="connsiteX197" fmla="*/ 149372 w 2907478"/>
                  <a:gd name="connsiteY197" fmla="*/ 26231 h 415692"/>
                  <a:gd name="connsiteX198" fmla="*/ 96546 w 2907478"/>
                  <a:gd name="connsiteY198" fmla="*/ 362501 h 415692"/>
                  <a:gd name="connsiteX199" fmla="*/ 125691 w 2907478"/>
                  <a:gd name="connsiteY199" fmla="*/ 358858 h 415692"/>
                  <a:gd name="connsiteX200" fmla="*/ 149190 w 2907478"/>
                  <a:gd name="connsiteY200" fmla="*/ 389279 h 415692"/>
                  <a:gd name="connsiteX201" fmla="*/ 96546 w 2907478"/>
                  <a:gd name="connsiteY201" fmla="*/ 362501 h 415692"/>
                  <a:gd name="connsiteX202" fmla="*/ 266320 w 2907478"/>
                  <a:gd name="connsiteY202" fmla="*/ 389279 h 415692"/>
                  <a:gd name="connsiteX203" fmla="*/ 324976 w 2907478"/>
                  <a:gd name="connsiteY203" fmla="*/ 239907 h 415692"/>
                  <a:gd name="connsiteX204" fmla="*/ 344285 w 2907478"/>
                  <a:gd name="connsiteY204" fmla="*/ 238267 h 415692"/>
                  <a:gd name="connsiteX205" fmla="*/ 387275 w 2907478"/>
                  <a:gd name="connsiteY205" fmla="*/ 231891 h 415692"/>
                  <a:gd name="connsiteX206" fmla="*/ 397294 w 2907478"/>
                  <a:gd name="connsiteY206" fmla="*/ 229159 h 415692"/>
                  <a:gd name="connsiteX207" fmla="*/ 266320 w 2907478"/>
                  <a:gd name="connsiteY207" fmla="*/ 389461 h 415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</a:cxnLst>
                <a:rect l="l" t="t" r="r" b="b"/>
                <a:pathLst>
                  <a:path w="2907478" h="415692">
                    <a:moveTo>
                      <a:pt x="591296" y="82701"/>
                    </a:moveTo>
                    <a:lnTo>
                      <a:pt x="676547" y="82701"/>
                    </a:lnTo>
                    <a:cubicBezTo>
                      <a:pt x="676547" y="82701"/>
                      <a:pt x="766535" y="277978"/>
                      <a:pt x="766535" y="277978"/>
                    </a:cubicBezTo>
                    <a:lnTo>
                      <a:pt x="772729" y="277978"/>
                    </a:lnTo>
                    <a:lnTo>
                      <a:pt x="772729" y="82701"/>
                    </a:lnTo>
                    <a:lnTo>
                      <a:pt x="821548" y="82701"/>
                    </a:lnTo>
                    <a:lnTo>
                      <a:pt x="821548" y="332991"/>
                    </a:lnTo>
                    <a:lnTo>
                      <a:pt x="736296" y="332991"/>
                    </a:lnTo>
                    <a:lnTo>
                      <a:pt x="645944" y="137714"/>
                    </a:lnTo>
                    <a:lnTo>
                      <a:pt x="640115" y="137714"/>
                    </a:lnTo>
                    <a:lnTo>
                      <a:pt x="640115" y="332991"/>
                    </a:lnTo>
                    <a:lnTo>
                      <a:pt x="591296" y="332991"/>
                    </a:lnTo>
                    <a:lnTo>
                      <a:pt x="591296" y="82701"/>
                    </a:lnTo>
                    <a:close/>
                    <a:moveTo>
                      <a:pt x="869274" y="207846"/>
                    </a:moveTo>
                    <a:cubicBezTo>
                      <a:pt x="869274" y="130063"/>
                      <a:pt x="921372" y="76872"/>
                      <a:pt x="997152" y="76872"/>
                    </a:cubicBezTo>
                    <a:cubicBezTo>
                      <a:pt x="1064369" y="76872"/>
                      <a:pt x="1109727" y="115126"/>
                      <a:pt x="1113371" y="174328"/>
                    </a:cubicBezTo>
                    <a:lnTo>
                      <a:pt x="1063276" y="174328"/>
                    </a:lnTo>
                    <a:cubicBezTo>
                      <a:pt x="1055443" y="138261"/>
                      <a:pt x="1034312" y="122777"/>
                      <a:pt x="1010085" y="122777"/>
                    </a:cubicBezTo>
                    <a:lnTo>
                      <a:pt x="981850" y="122777"/>
                    </a:lnTo>
                    <a:cubicBezTo>
                      <a:pt x="947786" y="122777"/>
                      <a:pt x="919733" y="160302"/>
                      <a:pt x="919733" y="208028"/>
                    </a:cubicBezTo>
                    <a:cubicBezTo>
                      <a:pt x="919733" y="255755"/>
                      <a:pt x="947968" y="293280"/>
                      <a:pt x="981850" y="293280"/>
                    </a:cubicBezTo>
                    <a:lnTo>
                      <a:pt x="1010085" y="293280"/>
                    </a:lnTo>
                    <a:cubicBezTo>
                      <a:pt x="1034312" y="293280"/>
                      <a:pt x="1056172" y="277614"/>
                      <a:pt x="1064005" y="241728"/>
                    </a:cubicBezTo>
                    <a:lnTo>
                      <a:pt x="1114099" y="241728"/>
                    </a:lnTo>
                    <a:cubicBezTo>
                      <a:pt x="1110638" y="299291"/>
                      <a:pt x="1064369" y="339185"/>
                      <a:pt x="995512" y="339185"/>
                    </a:cubicBezTo>
                    <a:cubicBezTo>
                      <a:pt x="923194" y="339185"/>
                      <a:pt x="869092" y="294555"/>
                      <a:pt x="869092" y="208210"/>
                    </a:cubicBezTo>
                    <a:close/>
                    <a:moveTo>
                      <a:pt x="1162736" y="82701"/>
                    </a:moveTo>
                    <a:lnTo>
                      <a:pt x="1280413" y="82701"/>
                    </a:lnTo>
                    <a:cubicBezTo>
                      <a:pt x="1335607" y="82701"/>
                      <a:pt x="1363296" y="118769"/>
                      <a:pt x="1363296" y="158663"/>
                    </a:cubicBezTo>
                    <a:cubicBezTo>
                      <a:pt x="1363296" y="189994"/>
                      <a:pt x="1346173" y="216590"/>
                      <a:pt x="1314841" y="227520"/>
                    </a:cubicBezTo>
                    <a:lnTo>
                      <a:pt x="1373133" y="333173"/>
                    </a:lnTo>
                    <a:lnTo>
                      <a:pt x="1317574" y="333173"/>
                    </a:lnTo>
                    <a:lnTo>
                      <a:pt x="1264018" y="234988"/>
                    </a:lnTo>
                    <a:lnTo>
                      <a:pt x="1212466" y="234988"/>
                    </a:lnTo>
                    <a:lnTo>
                      <a:pt x="1212466" y="333173"/>
                    </a:lnTo>
                    <a:lnTo>
                      <a:pt x="1162736" y="333173"/>
                    </a:lnTo>
                    <a:lnTo>
                      <a:pt x="1162736" y="82701"/>
                    </a:lnTo>
                    <a:close/>
                    <a:moveTo>
                      <a:pt x="1276951" y="194548"/>
                    </a:moveTo>
                    <a:cubicBezTo>
                      <a:pt x="1300086" y="194548"/>
                      <a:pt x="1313748" y="179247"/>
                      <a:pt x="1313748" y="159756"/>
                    </a:cubicBezTo>
                    <a:cubicBezTo>
                      <a:pt x="1313748" y="140264"/>
                      <a:pt x="1300086" y="124963"/>
                      <a:pt x="1276951" y="124963"/>
                    </a:cubicBezTo>
                    <a:lnTo>
                      <a:pt x="1212466" y="124963"/>
                    </a:lnTo>
                    <a:lnTo>
                      <a:pt x="1212466" y="194548"/>
                    </a:lnTo>
                    <a:lnTo>
                      <a:pt x="1276951" y="194548"/>
                    </a:lnTo>
                    <a:close/>
                    <a:moveTo>
                      <a:pt x="1555841" y="82701"/>
                    </a:moveTo>
                    <a:lnTo>
                      <a:pt x="1645100" y="82701"/>
                    </a:lnTo>
                    <a:lnTo>
                      <a:pt x="1728347" y="332991"/>
                    </a:lnTo>
                    <a:lnTo>
                      <a:pt x="1677160" y="332991"/>
                    </a:lnTo>
                    <a:lnTo>
                      <a:pt x="1656394" y="270874"/>
                    </a:lnTo>
                    <a:lnTo>
                      <a:pt x="1543271" y="270874"/>
                    </a:lnTo>
                    <a:lnTo>
                      <a:pt x="1522505" y="332991"/>
                    </a:lnTo>
                    <a:lnTo>
                      <a:pt x="1472411" y="332991"/>
                    </a:lnTo>
                    <a:lnTo>
                      <a:pt x="1555658" y="82701"/>
                    </a:lnTo>
                    <a:close/>
                    <a:moveTo>
                      <a:pt x="1641821" y="227702"/>
                    </a:moveTo>
                    <a:lnTo>
                      <a:pt x="1609760" y="131521"/>
                    </a:lnTo>
                    <a:lnTo>
                      <a:pt x="1589358" y="131521"/>
                    </a:lnTo>
                    <a:lnTo>
                      <a:pt x="1557298" y="227702"/>
                    </a:lnTo>
                    <a:lnTo>
                      <a:pt x="1641821" y="227702"/>
                    </a:lnTo>
                    <a:close/>
                    <a:moveTo>
                      <a:pt x="1797751" y="127149"/>
                    </a:moveTo>
                    <a:lnTo>
                      <a:pt x="1719604" y="127149"/>
                    </a:lnTo>
                    <a:lnTo>
                      <a:pt x="1719604" y="82519"/>
                    </a:lnTo>
                    <a:lnTo>
                      <a:pt x="1925446" y="82519"/>
                    </a:lnTo>
                    <a:lnTo>
                      <a:pt x="1925446" y="127149"/>
                    </a:lnTo>
                    <a:lnTo>
                      <a:pt x="1847663" y="127149"/>
                    </a:lnTo>
                    <a:lnTo>
                      <a:pt x="1847663" y="332991"/>
                    </a:lnTo>
                    <a:lnTo>
                      <a:pt x="1797933" y="332991"/>
                    </a:lnTo>
                    <a:lnTo>
                      <a:pt x="1797933" y="127149"/>
                    </a:lnTo>
                    <a:close/>
                    <a:moveTo>
                      <a:pt x="1969165" y="82701"/>
                    </a:moveTo>
                    <a:lnTo>
                      <a:pt x="2018895" y="82701"/>
                    </a:lnTo>
                    <a:lnTo>
                      <a:pt x="2018895" y="288544"/>
                    </a:lnTo>
                    <a:lnTo>
                      <a:pt x="2144768" y="288544"/>
                    </a:lnTo>
                    <a:lnTo>
                      <a:pt x="2144768" y="333173"/>
                    </a:lnTo>
                    <a:lnTo>
                      <a:pt x="1969165" y="333173"/>
                    </a:lnTo>
                    <a:lnTo>
                      <a:pt x="1969165" y="82701"/>
                    </a:lnTo>
                    <a:close/>
                    <a:moveTo>
                      <a:pt x="2188305" y="82701"/>
                    </a:moveTo>
                    <a:lnTo>
                      <a:pt x="2371742" y="82701"/>
                    </a:lnTo>
                    <a:lnTo>
                      <a:pt x="2371742" y="124963"/>
                    </a:lnTo>
                    <a:lnTo>
                      <a:pt x="2237489" y="124963"/>
                    </a:lnTo>
                    <a:lnTo>
                      <a:pt x="2237489" y="183983"/>
                    </a:lnTo>
                    <a:lnTo>
                      <a:pt x="2361905" y="183983"/>
                    </a:lnTo>
                    <a:lnTo>
                      <a:pt x="2361905" y="225516"/>
                    </a:lnTo>
                    <a:lnTo>
                      <a:pt x="2237489" y="225516"/>
                    </a:lnTo>
                    <a:lnTo>
                      <a:pt x="2237489" y="290912"/>
                    </a:lnTo>
                    <a:lnTo>
                      <a:pt x="2373563" y="290912"/>
                    </a:lnTo>
                    <a:lnTo>
                      <a:pt x="2373563" y="333173"/>
                    </a:lnTo>
                    <a:lnTo>
                      <a:pt x="2188123" y="333173"/>
                    </a:lnTo>
                    <a:lnTo>
                      <a:pt x="2188123" y="82701"/>
                    </a:lnTo>
                    <a:close/>
                    <a:moveTo>
                      <a:pt x="2409085" y="207846"/>
                    </a:moveTo>
                    <a:cubicBezTo>
                      <a:pt x="2409085" y="129699"/>
                      <a:pt x="2461547" y="76872"/>
                      <a:pt x="2538601" y="76872"/>
                    </a:cubicBezTo>
                    <a:cubicBezTo>
                      <a:pt x="2615656" y="76872"/>
                      <a:pt x="2667754" y="129699"/>
                      <a:pt x="2667754" y="207846"/>
                    </a:cubicBezTo>
                    <a:cubicBezTo>
                      <a:pt x="2667754" y="285993"/>
                      <a:pt x="2614927" y="338820"/>
                      <a:pt x="2538601" y="338820"/>
                    </a:cubicBezTo>
                    <a:cubicBezTo>
                      <a:pt x="2462276" y="338820"/>
                      <a:pt x="2409085" y="285993"/>
                      <a:pt x="2409085" y="207846"/>
                    </a:cubicBezTo>
                    <a:close/>
                    <a:moveTo>
                      <a:pt x="2525121" y="293098"/>
                    </a:moveTo>
                    <a:lnTo>
                      <a:pt x="2552081" y="293098"/>
                    </a:lnTo>
                    <a:cubicBezTo>
                      <a:pt x="2588878" y="293098"/>
                      <a:pt x="2616566" y="255572"/>
                      <a:pt x="2616566" y="207846"/>
                    </a:cubicBezTo>
                    <a:cubicBezTo>
                      <a:pt x="2616566" y="160120"/>
                      <a:pt x="2588878" y="122595"/>
                      <a:pt x="2552081" y="122595"/>
                    </a:cubicBezTo>
                    <a:lnTo>
                      <a:pt x="2525121" y="122595"/>
                    </a:lnTo>
                    <a:cubicBezTo>
                      <a:pt x="2487961" y="122595"/>
                      <a:pt x="2459726" y="160849"/>
                      <a:pt x="2459726" y="207846"/>
                    </a:cubicBezTo>
                    <a:cubicBezTo>
                      <a:pt x="2459726" y="254844"/>
                      <a:pt x="2487961" y="293098"/>
                      <a:pt x="2525121" y="293098"/>
                    </a:cubicBezTo>
                    <a:close/>
                    <a:moveTo>
                      <a:pt x="2701089" y="255937"/>
                    </a:moveTo>
                    <a:lnTo>
                      <a:pt x="2751913" y="255937"/>
                    </a:lnTo>
                    <a:cubicBezTo>
                      <a:pt x="2754645" y="277796"/>
                      <a:pt x="2767943" y="294191"/>
                      <a:pt x="2791806" y="294191"/>
                    </a:cubicBezTo>
                    <a:lnTo>
                      <a:pt x="2823866" y="294191"/>
                    </a:lnTo>
                    <a:cubicBezTo>
                      <a:pt x="2845726" y="294191"/>
                      <a:pt x="2858295" y="280893"/>
                      <a:pt x="2858295" y="262859"/>
                    </a:cubicBezTo>
                    <a:cubicBezTo>
                      <a:pt x="2858295" y="246464"/>
                      <a:pt x="2847365" y="234624"/>
                      <a:pt x="2828967" y="232802"/>
                    </a:cubicBezTo>
                    <a:lnTo>
                      <a:pt x="2775776" y="226973"/>
                    </a:lnTo>
                    <a:cubicBezTo>
                      <a:pt x="2730417" y="221873"/>
                      <a:pt x="2707647" y="194913"/>
                      <a:pt x="2707647" y="154655"/>
                    </a:cubicBezTo>
                    <a:cubicBezTo>
                      <a:pt x="2707647" y="105836"/>
                      <a:pt x="2744079" y="76872"/>
                      <a:pt x="2803828" y="76872"/>
                    </a:cubicBezTo>
                    <a:cubicBezTo>
                      <a:pt x="2863577" y="76872"/>
                      <a:pt x="2899645" y="104561"/>
                      <a:pt x="2902013" y="159391"/>
                    </a:cubicBezTo>
                    <a:lnTo>
                      <a:pt x="2851555" y="159391"/>
                    </a:lnTo>
                    <a:cubicBezTo>
                      <a:pt x="2849915" y="140264"/>
                      <a:pt x="2837892" y="121502"/>
                      <a:pt x="2815122" y="121502"/>
                    </a:cubicBezTo>
                    <a:lnTo>
                      <a:pt x="2788527" y="121502"/>
                    </a:lnTo>
                    <a:cubicBezTo>
                      <a:pt x="2769400" y="121502"/>
                      <a:pt x="2756467" y="132796"/>
                      <a:pt x="2756467" y="151194"/>
                    </a:cubicBezTo>
                    <a:cubicBezTo>
                      <a:pt x="2756467" y="169592"/>
                      <a:pt x="2770129" y="180522"/>
                      <a:pt x="2787434" y="182526"/>
                    </a:cubicBezTo>
                    <a:lnTo>
                      <a:pt x="2840625" y="188355"/>
                    </a:lnTo>
                    <a:cubicBezTo>
                      <a:pt x="2883251" y="193091"/>
                      <a:pt x="2907478" y="216954"/>
                      <a:pt x="2907478" y="260309"/>
                    </a:cubicBezTo>
                    <a:cubicBezTo>
                      <a:pt x="2907478" y="309674"/>
                      <a:pt x="2873050" y="339002"/>
                      <a:pt x="2804557" y="339002"/>
                    </a:cubicBezTo>
                    <a:cubicBezTo>
                      <a:pt x="2736064" y="339002"/>
                      <a:pt x="2702000" y="310767"/>
                      <a:pt x="2700907" y="256119"/>
                    </a:cubicBezTo>
                    <a:close/>
                    <a:moveTo>
                      <a:pt x="207846" y="0"/>
                    </a:moveTo>
                    <a:lnTo>
                      <a:pt x="207846" y="0"/>
                    </a:lnTo>
                    <a:cubicBezTo>
                      <a:pt x="93267" y="0"/>
                      <a:pt x="0" y="93267"/>
                      <a:pt x="0" y="207846"/>
                    </a:cubicBezTo>
                    <a:cubicBezTo>
                      <a:pt x="0" y="322426"/>
                      <a:pt x="93267" y="415692"/>
                      <a:pt x="207846" y="415692"/>
                    </a:cubicBezTo>
                    <a:lnTo>
                      <a:pt x="207846" y="415692"/>
                    </a:lnTo>
                    <a:cubicBezTo>
                      <a:pt x="322426" y="415692"/>
                      <a:pt x="415692" y="322426"/>
                      <a:pt x="415692" y="207846"/>
                    </a:cubicBezTo>
                    <a:cubicBezTo>
                      <a:pt x="415692" y="93267"/>
                      <a:pt x="322426" y="0"/>
                      <a:pt x="207846" y="0"/>
                    </a:cubicBezTo>
                    <a:close/>
                    <a:moveTo>
                      <a:pt x="207846" y="398569"/>
                    </a:moveTo>
                    <a:cubicBezTo>
                      <a:pt x="183072" y="398569"/>
                      <a:pt x="160484" y="381810"/>
                      <a:pt x="142815" y="353940"/>
                    </a:cubicBezTo>
                    <a:cubicBezTo>
                      <a:pt x="145183" y="353029"/>
                      <a:pt x="147551" y="352300"/>
                      <a:pt x="149919" y="351389"/>
                    </a:cubicBezTo>
                    <a:cubicBezTo>
                      <a:pt x="192362" y="335541"/>
                      <a:pt x="232984" y="310767"/>
                      <a:pt x="268870" y="280529"/>
                    </a:cubicBezTo>
                    <a:cubicBezTo>
                      <a:pt x="282350" y="269235"/>
                      <a:pt x="295284" y="257030"/>
                      <a:pt x="307306" y="244278"/>
                    </a:cubicBezTo>
                    <a:cubicBezTo>
                      <a:pt x="298198" y="332080"/>
                      <a:pt x="257030" y="398569"/>
                      <a:pt x="207846" y="398569"/>
                    </a:cubicBezTo>
                    <a:close/>
                    <a:moveTo>
                      <a:pt x="62117" y="330805"/>
                    </a:moveTo>
                    <a:cubicBezTo>
                      <a:pt x="62117" y="330805"/>
                      <a:pt x="61571" y="330259"/>
                      <a:pt x="61388" y="330076"/>
                    </a:cubicBezTo>
                    <a:cubicBezTo>
                      <a:pt x="49730" y="314411"/>
                      <a:pt x="74322" y="272149"/>
                      <a:pt x="91263" y="247193"/>
                    </a:cubicBezTo>
                    <a:cubicBezTo>
                      <a:pt x="94542" y="277796"/>
                      <a:pt x="101464" y="306031"/>
                      <a:pt x="111301" y="330076"/>
                    </a:cubicBezTo>
                    <a:cubicBezTo>
                      <a:pt x="90534" y="336452"/>
                      <a:pt x="70314" y="339367"/>
                      <a:pt x="62117" y="330805"/>
                    </a:cubicBezTo>
                    <a:close/>
                    <a:moveTo>
                      <a:pt x="207846" y="17123"/>
                    </a:moveTo>
                    <a:lnTo>
                      <a:pt x="207846" y="17123"/>
                    </a:lnTo>
                    <a:cubicBezTo>
                      <a:pt x="232620" y="17123"/>
                      <a:pt x="255208" y="33882"/>
                      <a:pt x="272878" y="61753"/>
                    </a:cubicBezTo>
                    <a:cubicBezTo>
                      <a:pt x="270510" y="62664"/>
                      <a:pt x="268142" y="63392"/>
                      <a:pt x="265774" y="64303"/>
                    </a:cubicBezTo>
                    <a:cubicBezTo>
                      <a:pt x="223330" y="80151"/>
                      <a:pt x="182708" y="104925"/>
                      <a:pt x="146822" y="135164"/>
                    </a:cubicBezTo>
                    <a:cubicBezTo>
                      <a:pt x="133342" y="146458"/>
                      <a:pt x="120409" y="158663"/>
                      <a:pt x="108386" y="171414"/>
                    </a:cubicBezTo>
                    <a:cubicBezTo>
                      <a:pt x="117494" y="83612"/>
                      <a:pt x="158480" y="17123"/>
                      <a:pt x="207846" y="17123"/>
                    </a:cubicBezTo>
                    <a:close/>
                    <a:moveTo>
                      <a:pt x="353393" y="84887"/>
                    </a:moveTo>
                    <a:cubicBezTo>
                      <a:pt x="353393" y="84887"/>
                      <a:pt x="353940" y="85434"/>
                      <a:pt x="354122" y="85616"/>
                    </a:cubicBezTo>
                    <a:cubicBezTo>
                      <a:pt x="365780" y="101282"/>
                      <a:pt x="341188" y="143543"/>
                      <a:pt x="324247" y="168499"/>
                    </a:cubicBezTo>
                    <a:cubicBezTo>
                      <a:pt x="320968" y="137896"/>
                      <a:pt x="314046" y="109661"/>
                      <a:pt x="304210" y="85616"/>
                    </a:cubicBezTo>
                    <a:cubicBezTo>
                      <a:pt x="324976" y="79240"/>
                      <a:pt x="345196" y="76326"/>
                      <a:pt x="353393" y="84887"/>
                    </a:cubicBezTo>
                    <a:close/>
                    <a:moveTo>
                      <a:pt x="139171" y="190177"/>
                    </a:moveTo>
                    <a:cubicBezTo>
                      <a:pt x="160484" y="189448"/>
                      <a:pt x="183619" y="188901"/>
                      <a:pt x="207846" y="188901"/>
                    </a:cubicBezTo>
                    <a:cubicBezTo>
                      <a:pt x="244096" y="188901"/>
                      <a:pt x="277978" y="189812"/>
                      <a:pt x="306942" y="191634"/>
                    </a:cubicBezTo>
                    <a:cubicBezTo>
                      <a:pt x="297470" y="203292"/>
                      <a:pt x="287269" y="214404"/>
                      <a:pt x="276521" y="225334"/>
                    </a:cubicBezTo>
                    <a:cubicBezTo>
                      <a:pt x="255208" y="226062"/>
                      <a:pt x="232074" y="226609"/>
                      <a:pt x="207846" y="226609"/>
                    </a:cubicBezTo>
                    <a:cubicBezTo>
                      <a:pt x="171596" y="226609"/>
                      <a:pt x="137714" y="225698"/>
                      <a:pt x="108750" y="223876"/>
                    </a:cubicBezTo>
                    <a:cubicBezTo>
                      <a:pt x="118223" y="212218"/>
                      <a:pt x="128424" y="201106"/>
                      <a:pt x="139171" y="190177"/>
                    </a:cubicBezTo>
                    <a:close/>
                    <a:moveTo>
                      <a:pt x="307488" y="174693"/>
                    </a:moveTo>
                    <a:cubicBezTo>
                      <a:pt x="277614" y="172871"/>
                      <a:pt x="243368" y="171960"/>
                      <a:pt x="207664" y="171960"/>
                    </a:cubicBezTo>
                    <a:cubicBezTo>
                      <a:pt x="190541" y="171960"/>
                      <a:pt x="173782" y="172143"/>
                      <a:pt x="157570" y="172689"/>
                    </a:cubicBezTo>
                    <a:cubicBezTo>
                      <a:pt x="161395" y="169228"/>
                      <a:pt x="165403" y="165767"/>
                      <a:pt x="169410" y="162306"/>
                    </a:cubicBezTo>
                    <a:cubicBezTo>
                      <a:pt x="193820" y="142086"/>
                      <a:pt x="220051" y="124416"/>
                      <a:pt x="247193" y="109661"/>
                    </a:cubicBezTo>
                    <a:cubicBezTo>
                      <a:pt x="252658" y="106747"/>
                      <a:pt x="269235" y="98549"/>
                      <a:pt x="287815" y="91445"/>
                    </a:cubicBezTo>
                    <a:cubicBezTo>
                      <a:pt x="297652" y="115308"/>
                      <a:pt x="304574" y="143725"/>
                      <a:pt x="307488" y="174875"/>
                    </a:cubicBezTo>
                    <a:close/>
                    <a:moveTo>
                      <a:pt x="68675" y="220597"/>
                    </a:moveTo>
                    <a:cubicBezTo>
                      <a:pt x="36797" y="217319"/>
                      <a:pt x="17123" y="212765"/>
                      <a:pt x="17123" y="207664"/>
                    </a:cubicBezTo>
                    <a:cubicBezTo>
                      <a:pt x="17123" y="201653"/>
                      <a:pt x="45358" y="196370"/>
                      <a:pt x="89259" y="192909"/>
                    </a:cubicBezTo>
                    <a:cubicBezTo>
                      <a:pt x="81973" y="201835"/>
                      <a:pt x="75050" y="211125"/>
                      <a:pt x="68675" y="220597"/>
                    </a:cubicBezTo>
                    <a:close/>
                    <a:moveTo>
                      <a:pt x="28235" y="231709"/>
                    </a:moveTo>
                    <a:cubicBezTo>
                      <a:pt x="36068" y="233531"/>
                      <a:pt x="46087" y="235170"/>
                      <a:pt x="58292" y="236628"/>
                    </a:cubicBezTo>
                    <a:cubicBezTo>
                      <a:pt x="57563" y="237721"/>
                      <a:pt x="57017" y="238814"/>
                      <a:pt x="56288" y="239907"/>
                    </a:cubicBezTo>
                    <a:cubicBezTo>
                      <a:pt x="47544" y="254844"/>
                      <a:pt x="38800" y="272513"/>
                      <a:pt x="35886" y="290547"/>
                    </a:cubicBezTo>
                    <a:cubicBezTo>
                      <a:pt x="26596" y="271603"/>
                      <a:pt x="20584" y="250836"/>
                      <a:pt x="18216" y="228977"/>
                    </a:cubicBezTo>
                    <a:cubicBezTo>
                      <a:pt x="22042" y="230434"/>
                      <a:pt x="25685" y="231163"/>
                      <a:pt x="28235" y="231709"/>
                    </a:cubicBezTo>
                    <a:close/>
                    <a:moveTo>
                      <a:pt x="108022" y="241000"/>
                    </a:moveTo>
                    <a:cubicBezTo>
                      <a:pt x="137896" y="242821"/>
                      <a:pt x="172143" y="243732"/>
                      <a:pt x="207846" y="243732"/>
                    </a:cubicBezTo>
                    <a:cubicBezTo>
                      <a:pt x="224969" y="243732"/>
                      <a:pt x="241728" y="243550"/>
                      <a:pt x="257941" y="243003"/>
                    </a:cubicBezTo>
                    <a:cubicBezTo>
                      <a:pt x="254115" y="246464"/>
                      <a:pt x="250108" y="249925"/>
                      <a:pt x="246100" y="253387"/>
                    </a:cubicBezTo>
                    <a:cubicBezTo>
                      <a:pt x="221690" y="273606"/>
                      <a:pt x="195459" y="291276"/>
                      <a:pt x="168317" y="306031"/>
                    </a:cubicBezTo>
                    <a:cubicBezTo>
                      <a:pt x="162852" y="308946"/>
                      <a:pt x="146276" y="317143"/>
                      <a:pt x="127695" y="324247"/>
                    </a:cubicBezTo>
                    <a:cubicBezTo>
                      <a:pt x="117858" y="300384"/>
                      <a:pt x="110936" y="271967"/>
                      <a:pt x="108022" y="240817"/>
                    </a:cubicBezTo>
                    <a:close/>
                    <a:moveTo>
                      <a:pt x="347017" y="194913"/>
                    </a:moveTo>
                    <a:cubicBezTo>
                      <a:pt x="378896" y="198192"/>
                      <a:pt x="398569" y="202746"/>
                      <a:pt x="398569" y="207846"/>
                    </a:cubicBezTo>
                    <a:cubicBezTo>
                      <a:pt x="398569" y="213857"/>
                      <a:pt x="370334" y="219140"/>
                      <a:pt x="326433" y="222601"/>
                    </a:cubicBezTo>
                    <a:cubicBezTo>
                      <a:pt x="333720" y="213675"/>
                      <a:pt x="340642" y="204385"/>
                      <a:pt x="347017" y="194913"/>
                    </a:cubicBezTo>
                    <a:close/>
                    <a:moveTo>
                      <a:pt x="387275" y="183801"/>
                    </a:moveTo>
                    <a:cubicBezTo>
                      <a:pt x="379442" y="181979"/>
                      <a:pt x="369423" y="180340"/>
                      <a:pt x="357219" y="178882"/>
                    </a:cubicBezTo>
                    <a:cubicBezTo>
                      <a:pt x="357947" y="177790"/>
                      <a:pt x="358494" y="176697"/>
                      <a:pt x="359222" y="175604"/>
                    </a:cubicBezTo>
                    <a:cubicBezTo>
                      <a:pt x="367966" y="160666"/>
                      <a:pt x="376710" y="142997"/>
                      <a:pt x="379624" y="124963"/>
                    </a:cubicBezTo>
                    <a:cubicBezTo>
                      <a:pt x="388915" y="143908"/>
                      <a:pt x="394926" y="164674"/>
                      <a:pt x="397294" y="186533"/>
                    </a:cubicBezTo>
                    <a:cubicBezTo>
                      <a:pt x="393469" y="185076"/>
                      <a:pt x="389825" y="184347"/>
                      <a:pt x="387275" y="183801"/>
                    </a:cubicBezTo>
                    <a:close/>
                    <a:moveTo>
                      <a:pt x="318965" y="53009"/>
                    </a:moveTo>
                    <a:cubicBezTo>
                      <a:pt x="309310" y="53009"/>
                      <a:pt x="299291" y="54284"/>
                      <a:pt x="289819" y="56652"/>
                    </a:cubicBezTo>
                    <a:cubicBezTo>
                      <a:pt x="282715" y="44812"/>
                      <a:pt x="274882" y="34611"/>
                      <a:pt x="266320" y="26231"/>
                    </a:cubicBezTo>
                    <a:cubicBezTo>
                      <a:pt x="285447" y="32425"/>
                      <a:pt x="303117" y="41533"/>
                      <a:pt x="318965" y="53009"/>
                    </a:cubicBezTo>
                    <a:close/>
                    <a:moveTo>
                      <a:pt x="149372" y="26413"/>
                    </a:moveTo>
                    <a:cubicBezTo>
                      <a:pt x="118405" y="56834"/>
                      <a:pt x="96363" y="110936"/>
                      <a:pt x="90716" y="175786"/>
                    </a:cubicBezTo>
                    <a:cubicBezTo>
                      <a:pt x="83976" y="176332"/>
                      <a:pt x="77419" y="176879"/>
                      <a:pt x="71407" y="177425"/>
                    </a:cubicBezTo>
                    <a:cubicBezTo>
                      <a:pt x="53191" y="179247"/>
                      <a:pt x="38618" y="181433"/>
                      <a:pt x="28417" y="183801"/>
                    </a:cubicBezTo>
                    <a:cubicBezTo>
                      <a:pt x="25867" y="184347"/>
                      <a:pt x="22224" y="185258"/>
                      <a:pt x="18398" y="186533"/>
                    </a:cubicBezTo>
                    <a:cubicBezTo>
                      <a:pt x="26778" y="111118"/>
                      <a:pt x="79240" y="48819"/>
                      <a:pt x="149372" y="26231"/>
                    </a:cubicBezTo>
                    <a:close/>
                    <a:moveTo>
                      <a:pt x="96546" y="362501"/>
                    </a:moveTo>
                    <a:cubicBezTo>
                      <a:pt x="106200" y="362501"/>
                      <a:pt x="116219" y="361226"/>
                      <a:pt x="125691" y="358858"/>
                    </a:cubicBezTo>
                    <a:cubicBezTo>
                      <a:pt x="132796" y="370698"/>
                      <a:pt x="140629" y="380900"/>
                      <a:pt x="149190" y="389279"/>
                    </a:cubicBezTo>
                    <a:cubicBezTo>
                      <a:pt x="130063" y="383085"/>
                      <a:pt x="112394" y="373977"/>
                      <a:pt x="96546" y="362501"/>
                    </a:cubicBezTo>
                    <a:close/>
                    <a:moveTo>
                      <a:pt x="266320" y="389279"/>
                    </a:moveTo>
                    <a:cubicBezTo>
                      <a:pt x="297287" y="358858"/>
                      <a:pt x="319329" y="304756"/>
                      <a:pt x="324976" y="239907"/>
                    </a:cubicBezTo>
                    <a:cubicBezTo>
                      <a:pt x="331716" y="239360"/>
                      <a:pt x="338274" y="238814"/>
                      <a:pt x="344285" y="238267"/>
                    </a:cubicBezTo>
                    <a:cubicBezTo>
                      <a:pt x="362501" y="236445"/>
                      <a:pt x="377074" y="234260"/>
                      <a:pt x="387275" y="231891"/>
                    </a:cubicBezTo>
                    <a:cubicBezTo>
                      <a:pt x="389825" y="231345"/>
                      <a:pt x="393469" y="230434"/>
                      <a:pt x="397294" y="229159"/>
                    </a:cubicBezTo>
                    <a:cubicBezTo>
                      <a:pt x="388915" y="304574"/>
                      <a:pt x="336452" y="366873"/>
                      <a:pt x="266320" y="38946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9A86A388-123D-F050-8267-B00B80329B70}"/>
                  </a:ext>
                </a:extLst>
              </p:cNvPr>
              <p:cNvSpPr/>
              <p:nvPr/>
            </p:nvSpPr>
            <p:spPr>
              <a:xfrm>
                <a:off x="7838670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5E5522F-424F-B56D-20F3-C8A583EFFB81}"/>
                  </a:ext>
                </a:extLst>
              </p:cNvPr>
              <p:cNvSpPr/>
              <p:nvPr/>
            </p:nvSpPr>
            <p:spPr>
              <a:xfrm>
                <a:off x="8667869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6498B2E-3CB8-133E-6640-CBA9F5DA038A}"/>
                  </a:ext>
                </a:extLst>
              </p:cNvPr>
              <p:cNvSpPr/>
              <p:nvPr/>
            </p:nvSpPr>
            <p:spPr>
              <a:xfrm>
                <a:off x="8090963" y="2067424"/>
                <a:ext cx="364869" cy="344649"/>
              </a:xfrm>
              <a:custGeom>
                <a:avLst/>
                <a:gdLst>
                  <a:gd name="connsiteX0" fmla="*/ 146822 w 364869"/>
                  <a:gd name="connsiteY0" fmla="*/ 182 h 344649"/>
                  <a:gd name="connsiteX1" fmla="*/ 0 w 364869"/>
                  <a:gd name="connsiteY1" fmla="*/ 173600 h 344649"/>
                  <a:gd name="connsiteX2" fmla="*/ 146822 w 364869"/>
                  <a:gd name="connsiteY2" fmla="*/ 344649 h 344649"/>
                  <a:gd name="connsiteX3" fmla="*/ 218958 w 364869"/>
                  <a:gd name="connsiteY3" fmla="*/ 344649 h 344649"/>
                  <a:gd name="connsiteX4" fmla="*/ 364869 w 364869"/>
                  <a:gd name="connsiteY4" fmla="*/ 172689 h 344649"/>
                  <a:gd name="connsiteX5" fmla="*/ 218958 w 364869"/>
                  <a:gd name="connsiteY5" fmla="*/ 0 h 344649"/>
                  <a:gd name="connsiteX6" fmla="*/ 146822 w 364869"/>
                  <a:gd name="connsiteY6" fmla="*/ 0 h 344649"/>
                  <a:gd name="connsiteX7" fmla="*/ 258123 w 364869"/>
                  <a:gd name="connsiteY7" fmla="*/ 287997 h 344649"/>
                  <a:gd name="connsiteX8" fmla="*/ 277068 w 364869"/>
                  <a:gd name="connsiteY8" fmla="*/ 273789 h 344649"/>
                  <a:gd name="connsiteX9" fmla="*/ 301113 w 364869"/>
                  <a:gd name="connsiteY9" fmla="*/ 218958 h 344649"/>
                  <a:gd name="connsiteX10" fmla="*/ 316961 w 364869"/>
                  <a:gd name="connsiteY10" fmla="*/ 204203 h 344649"/>
                  <a:gd name="connsiteX11" fmla="*/ 331716 w 364869"/>
                  <a:gd name="connsiteY11" fmla="*/ 220233 h 344649"/>
                  <a:gd name="connsiteX12" fmla="*/ 298745 w 364869"/>
                  <a:gd name="connsiteY12" fmla="*/ 295648 h 344649"/>
                  <a:gd name="connsiteX13" fmla="*/ 272514 w 364869"/>
                  <a:gd name="connsiteY13" fmla="*/ 315321 h 344649"/>
                  <a:gd name="connsiteX14" fmla="*/ 265409 w 364869"/>
                  <a:gd name="connsiteY14" fmla="*/ 317143 h 344649"/>
                  <a:gd name="connsiteX15" fmla="*/ 251747 w 364869"/>
                  <a:gd name="connsiteY15" fmla="*/ 308946 h 344649"/>
                  <a:gd name="connsiteX16" fmla="*/ 258123 w 364869"/>
                  <a:gd name="connsiteY16" fmla="*/ 288179 h 344649"/>
                  <a:gd name="connsiteX17" fmla="*/ 258123 w 364869"/>
                  <a:gd name="connsiteY17" fmla="*/ 288179 h 344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4869" h="344649">
                    <a:moveTo>
                      <a:pt x="146822" y="182"/>
                    </a:moveTo>
                    <a:cubicBezTo>
                      <a:pt x="44812" y="182"/>
                      <a:pt x="0" y="51916"/>
                      <a:pt x="0" y="173600"/>
                    </a:cubicBezTo>
                    <a:cubicBezTo>
                      <a:pt x="0" y="295284"/>
                      <a:pt x="43901" y="344649"/>
                      <a:pt x="146822" y="344649"/>
                    </a:cubicBezTo>
                    <a:lnTo>
                      <a:pt x="218958" y="344649"/>
                    </a:lnTo>
                    <a:cubicBezTo>
                      <a:pt x="320969" y="344649"/>
                      <a:pt x="364869" y="294373"/>
                      <a:pt x="364869" y="172689"/>
                    </a:cubicBezTo>
                    <a:cubicBezTo>
                      <a:pt x="364869" y="51005"/>
                      <a:pt x="320969" y="0"/>
                      <a:pt x="218958" y="0"/>
                    </a:cubicBezTo>
                    <a:lnTo>
                      <a:pt x="146822" y="0"/>
                    </a:lnTo>
                    <a:close/>
                    <a:moveTo>
                      <a:pt x="258123" y="287997"/>
                    </a:moveTo>
                    <a:cubicBezTo>
                      <a:pt x="265045" y="284354"/>
                      <a:pt x="271421" y="279618"/>
                      <a:pt x="277068" y="273789"/>
                    </a:cubicBezTo>
                    <a:cubicBezTo>
                      <a:pt x="291823" y="259216"/>
                      <a:pt x="300202" y="239724"/>
                      <a:pt x="301113" y="218958"/>
                    </a:cubicBezTo>
                    <a:cubicBezTo>
                      <a:pt x="301477" y="210396"/>
                      <a:pt x="308764" y="203839"/>
                      <a:pt x="316961" y="204203"/>
                    </a:cubicBezTo>
                    <a:cubicBezTo>
                      <a:pt x="325523" y="204567"/>
                      <a:pt x="332080" y="211672"/>
                      <a:pt x="331716" y="220233"/>
                    </a:cubicBezTo>
                    <a:cubicBezTo>
                      <a:pt x="330623" y="248650"/>
                      <a:pt x="318965" y="275428"/>
                      <a:pt x="298745" y="295648"/>
                    </a:cubicBezTo>
                    <a:cubicBezTo>
                      <a:pt x="290912" y="303481"/>
                      <a:pt x="281986" y="310039"/>
                      <a:pt x="272514" y="315321"/>
                    </a:cubicBezTo>
                    <a:cubicBezTo>
                      <a:pt x="270328" y="316597"/>
                      <a:pt x="267777" y="317143"/>
                      <a:pt x="265409" y="317143"/>
                    </a:cubicBezTo>
                    <a:cubicBezTo>
                      <a:pt x="259945" y="317143"/>
                      <a:pt x="254480" y="314228"/>
                      <a:pt x="251747" y="308946"/>
                    </a:cubicBezTo>
                    <a:cubicBezTo>
                      <a:pt x="247740" y="301477"/>
                      <a:pt x="250472" y="292187"/>
                      <a:pt x="258123" y="288179"/>
                    </a:cubicBezTo>
                    <a:lnTo>
                      <a:pt x="258123" y="288179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24786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256A5207-6608-CBBE-DDB6-29780D08E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F91CCFC-CF8D-9FBB-1AC7-0B35CC5D1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56794" y="5497688"/>
            <a:ext cx="5750051" cy="54751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9ACF3A-D249-C346-2D06-F4FEB3571D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3228" y="4336539"/>
            <a:ext cx="7004288" cy="937104"/>
          </a:xfrm>
        </p:spPr>
        <p:txBody>
          <a:bodyPr wrap="square" lIns="0" tIns="0" rIns="0" bIns="0" anchor="t" anchorCtr="0">
            <a:normAutofit/>
          </a:bodyPr>
          <a:lstStyle>
            <a:lvl1pPr algn="ctr">
              <a:defRPr sz="32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5EF9CF8-CBC5-5A5D-7C75-E4CD5FA36C0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52725" y="1340236"/>
            <a:ext cx="6758188" cy="182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21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dark glass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green object&#10;&#10;Description automatically generated">
            <a:extLst>
              <a:ext uri="{FF2B5EF4-FFF2-40B4-BE49-F238E27FC236}">
                <a16:creationId xmlns:a16="http://schemas.microsoft.com/office/drawing/2014/main" id="{0EDD2B4F-6AD7-07D8-3AC5-4A36E504A8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7500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FA4DC53-C6CD-B0E6-4F67-B69F1423A5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59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BE99850-1EBF-1C13-E7E7-B7F44EE7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-5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723AC8-8C1C-9DEA-3DAE-E3824B6E8725}"/>
              </a:ext>
            </a:extLst>
          </p:cNvPr>
          <p:cNvSpPr/>
          <p:nvPr userDrawn="1"/>
        </p:nvSpPr>
        <p:spPr>
          <a:xfrm rot="5400000">
            <a:off x="2563987" y="-2563990"/>
            <a:ext cx="7064023" cy="12192006"/>
          </a:xfrm>
          <a:prstGeom prst="rect">
            <a:avLst/>
          </a:prstGeom>
          <a:gradFill>
            <a:gsLst>
              <a:gs pos="0">
                <a:schemeClr val="tx1"/>
              </a:gs>
              <a:gs pos="30000">
                <a:schemeClr val="tx1">
                  <a:alpha val="59000"/>
                </a:schemeClr>
              </a:gs>
              <a:gs pos="100000">
                <a:schemeClr val="tx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281681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FA4DC53-C6CD-B0E6-4F67-B69F1423A57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898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BE99850-1EBF-1C13-E7E7-B7F44EE7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-5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723AC8-8C1C-9DEA-3DAE-E3824B6E8725}"/>
              </a:ext>
            </a:extLst>
          </p:cNvPr>
          <p:cNvSpPr/>
          <p:nvPr userDrawn="1"/>
        </p:nvSpPr>
        <p:spPr>
          <a:xfrm rot="5400000">
            <a:off x="2666999" y="-2667000"/>
            <a:ext cx="6858000" cy="12192006"/>
          </a:xfrm>
          <a:prstGeom prst="rect">
            <a:avLst/>
          </a:prstGeom>
          <a:gradFill>
            <a:gsLst>
              <a:gs pos="0">
                <a:schemeClr val="tx1"/>
              </a:gs>
              <a:gs pos="30000">
                <a:schemeClr val="tx1">
                  <a:alpha val="59000"/>
                </a:schemeClr>
              </a:gs>
              <a:gs pos="100000">
                <a:schemeClr val="tx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281681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9B4EB70-91D9-9392-38FA-3A1DE2AF1027}"/>
              </a:ext>
            </a:extLst>
          </p:cNvPr>
          <p:cNvGrpSpPr/>
          <p:nvPr userDrawn="1"/>
        </p:nvGrpSpPr>
        <p:grpSpPr>
          <a:xfrm>
            <a:off x="609091" y="453130"/>
            <a:ext cx="3643324" cy="981336"/>
            <a:chOff x="2752724" y="1340236"/>
            <a:chExt cx="6765655" cy="1822342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057BAD5-0F4C-C541-21AB-27746FCE17EF}"/>
                </a:ext>
              </a:extLst>
            </p:cNvPr>
            <p:cNvSpPr/>
            <p:nvPr/>
          </p:nvSpPr>
          <p:spPr>
            <a:xfrm>
              <a:off x="2752724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EE0005-8650-EB3A-5560-5B1DE1F8916E}"/>
                </a:ext>
              </a:extLst>
            </p:cNvPr>
            <p:cNvSpPr/>
            <p:nvPr/>
          </p:nvSpPr>
          <p:spPr>
            <a:xfrm>
              <a:off x="3466614" y="1873968"/>
              <a:ext cx="782018" cy="719173"/>
            </a:xfrm>
            <a:custGeom>
              <a:avLst/>
              <a:gdLst>
                <a:gd name="connsiteX0" fmla="*/ 136075 w 782018"/>
                <a:gd name="connsiteY0" fmla="*/ 719173 h 719173"/>
                <a:gd name="connsiteX1" fmla="*/ 0 w 782018"/>
                <a:gd name="connsiteY1" fmla="*/ 719173 h 719173"/>
                <a:gd name="connsiteX2" fmla="*/ 248104 w 782018"/>
                <a:gd name="connsiteY2" fmla="*/ 91081 h 719173"/>
                <a:gd name="connsiteX3" fmla="*/ 396748 w 782018"/>
                <a:gd name="connsiteY3" fmla="*/ 0 h 719173"/>
                <a:gd name="connsiteX4" fmla="*/ 543387 w 782018"/>
                <a:gd name="connsiteY4" fmla="*/ 91081 h 719173"/>
                <a:gd name="connsiteX5" fmla="*/ 782019 w 782018"/>
                <a:gd name="connsiteY5" fmla="*/ 719173 h 719173"/>
                <a:gd name="connsiteX6" fmla="*/ 644851 w 782018"/>
                <a:gd name="connsiteY6" fmla="*/ 719173 h 719173"/>
                <a:gd name="connsiteX7" fmla="*/ 430265 w 782018"/>
                <a:gd name="connsiteY7" fmla="*/ 150830 h 719173"/>
                <a:gd name="connsiteX8" fmla="*/ 395655 w 782018"/>
                <a:gd name="connsiteY8" fmla="*/ 126784 h 719173"/>
                <a:gd name="connsiteX9" fmla="*/ 360133 w 782018"/>
                <a:gd name="connsiteY9" fmla="*/ 150830 h 719173"/>
                <a:gd name="connsiteX10" fmla="*/ 136075 w 782018"/>
                <a:gd name="connsiteY10" fmla="*/ 719173 h 719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2018" h="719173">
                  <a:moveTo>
                    <a:pt x="136075" y="719173"/>
                  </a:moveTo>
                  <a:lnTo>
                    <a:pt x="0" y="719173"/>
                  </a:lnTo>
                  <a:lnTo>
                    <a:pt x="248104" y="91081"/>
                  </a:lnTo>
                  <a:cubicBezTo>
                    <a:pt x="274335" y="25138"/>
                    <a:pt x="322426" y="0"/>
                    <a:pt x="396748" y="0"/>
                  </a:cubicBezTo>
                  <a:cubicBezTo>
                    <a:pt x="471069" y="0"/>
                    <a:pt x="518249" y="25138"/>
                    <a:pt x="543387" y="91081"/>
                  </a:cubicBezTo>
                  <a:lnTo>
                    <a:pt x="782019" y="719173"/>
                  </a:lnTo>
                  <a:lnTo>
                    <a:pt x="644851" y="719173"/>
                  </a:lnTo>
                  <a:lnTo>
                    <a:pt x="430265" y="150830"/>
                  </a:lnTo>
                  <a:cubicBezTo>
                    <a:pt x="424072" y="134071"/>
                    <a:pt x="412413" y="126784"/>
                    <a:pt x="395655" y="126784"/>
                  </a:cubicBezTo>
                  <a:cubicBezTo>
                    <a:pt x="378896" y="126784"/>
                    <a:pt x="367420" y="134071"/>
                    <a:pt x="360133" y="150830"/>
                  </a:cubicBezTo>
                  <a:lnTo>
                    <a:pt x="136075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98F75CB-34BF-4A3C-00E4-C9BF8929B7F0}"/>
                </a:ext>
              </a:extLst>
            </p:cNvPr>
            <p:cNvSpPr/>
            <p:nvPr/>
          </p:nvSpPr>
          <p:spPr>
            <a:xfrm>
              <a:off x="5026280" y="1886355"/>
              <a:ext cx="634103" cy="706604"/>
            </a:xfrm>
            <a:custGeom>
              <a:avLst/>
              <a:gdLst>
                <a:gd name="connsiteX0" fmla="*/ 123323 w 634103"/>
                <a:gd name="connsiteY0" fmla="*/ 182 h 706604"/>
                <a:gd name="connsiteX1" fmla="*/ 123323 w 634103"/>
                <a:gd name="connsiteY1" fmla="*/ 299473 h 706604"/>
                <a:gd name="connsiteX2" fmla="*/ 191269 w 634103"/>
                <a:gd name="connsiteY2" fmla="*/ 299473 h 706604"/>
                <a:gd name="connsiteX3" fmla="*/ 372338 w 634103"/>
                <a:gd name="connsiteY3" fmla="*/ 211489 h 706604"/>
                <a:gd name="connsiteX4" fmla="*/ 480177 w 634103"/>
                <a:gd name="connsiteY4" fmla="*/ 0 h 706604"/>
                <a:gd name="connsiteX5" fmla="*/ 613155 w 634103"/>
                <a:gd name="connsiteY5" fmla="*/ 0 h 706604"/>
                <a:gd name="connsiteX6" fmla="*/ 502219 w 634103"/>
                <a:gd name="connsiteY6" fmla="*/ 219869 h 706604"/>
                <a:gd name="connsiteX7" fmla="*/ 379807 w 634103"/>
                <a:gd name="connsiteY7" fmla="*/ 348657 h 706604"/>
                <a:gd name="connsiteX8" fmla="*/ 520071 w 634103"/>
                <a:gd name="connsiteY8" fmla="*/ 484732 h 706604"/>
                <a:gd name="connsiteX9" fmla="*/ 634104 w 634103"/>
                <a:gd name="connsiteY9" fmla="*/ 706604 h 706604"/>
                <a:gd name="connsiteX10" fmla="*/ 496025 w 634103"/>
                <a:gd name="connsiteY10" fmla="*/ 706604 h 706604"/>
                <a:gd name="connsiteX11" fmla="*/ 388186 w 634103"/>
                <a:gd name="connsiteY11" fmla="*/ 497301 h 706604"/>
                <a:gd name="connsiteX12" fmla="*/ 191452 w 634103"/>
                <a:gd name="connsiteY12" fmla="*/ 411503 h 706604"/>
                <a:gd name="connsiteX13" fmla="*/ 123505 w 634103"/>
                <a:gd name="connsiteY13" fmla="*/ 411503 h 706604"/>
                <a:gd name="connsiteX14" fmla="*/ 123505 w 634103"/>
                <a:gd name="connsiteY14" fmla="*/ 706604 h 706604"/>
                <a:gd name="connsiteX15" fmla="*/ 0 w 634103"/>
                <a:gd name="connsiteY15" fmla="*/ 706604 h 706604"/>
                <a:gd name="connsiteX16" fmla="*/ 0 w 634103"/>
                <a:gd name="connsiteY16" fmla="*/ 182 h 706604"/>
                <a:gd name="connsiteX17" fmla="*/ 123505 w 634103"/>
                <a:gd name="connsiteY17" fmla="*/ 182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4103" h="706604">
                  <a:moveTo>
                    <a:pt x="123323" y="182"/>
                  </a:moveTo>
                  <a:lnTo>
                    <a:pt x="123323" y="299473"/>
                  </a:lnTo>
                  <a:lnTo>
                    <a:pt x="191269" y="299473"/>
                  </a:lnTo>
                  <a:cubicBezTo>
                    <a:pt x="312771" y="299473"/>
                    <a:pt x="332627" y="289090"/>
                    <a:pt x="372338" y="211489"/>
                  </a:cubicBezTo>
                  <a:lnTo>
                    <a:pt x="480177" y="0"/>
                  </a:lnTo>
                  <a:lnTo>
                    <a:pt x="613155" y="0"/>
                  </a:lnTo>
                  <a:lnTo>
                    <a:pt x="502219" y="219869"/>
                  </a:lnTo>
                  <a:cubicBezTo>
                    <a:pt x="470887" y="282715"/>
                    <a:pt x="437370" y="323519"/>
                    <a:pt x="379807" y="348657"/>
                  </a:cubicBezTo>
                  <a:cubicBezTo>
                    <a:pt x="445749" y="366509"/>
                    <a:pt x="478174" y="403123"/>
                    <a:pt x="520071" y="484732"/>
                  </a:cubicBezTo>
                  <a:lnTo>
                    <a:pt x="634104" y="706604"/>
                  </a:lnTo>
                  <a:lnTo>
                    <a:pt x="496025" y="706604"/>
                  </a:lnTo>
                  <a:lnTo>
                    <a:pt x="388186" y="497301"/>
                  </a:lnTo>
                  <a:cubicBezTo>
                    <a:pt x="349386" y="421886"/>
                    <a:pt x="324247" y="411503"/>
                    <a:pt x="191452" y="411503"/>
                  </a:cubicBez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182"/>
                  </a:lnTo>
                  <a:lnTo>
                    <a:pt x="123505" y="182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BFFA965-C37F-A3C3-5772-E32999D744B0}"/>
                </a:ext>
              </a:extLst>
            </p:cNvPr>
            <p:cNvSpPr/>
            <p:nvPr/>
          </p:nvSpPr>
          <p:spPr>
            <a:xfrm>
              <a:off x="5468932" y="1893460"/>
              <a:ext cx="1035223" cy="1269118"/>
            </a:xfrm>
            <a:custGeom>
              <a:avLst/>
              <a:gdLst>
                <a:gd name="connsiteX0" fmla="*/ 136075 w 1035223"/>
                <a:gd name="connsiteY0" fmla="*/ 1269119 h 1269118"/>
                <a:gd name="connsiteX1" fmla="*/ 0 w 1035223"/>
                <a:gd name="connsiteY1" fmla="*/ 1269119 h 1269118"/>
                <a:gd name="connsiteX2" fmla="*/ 501308 w 1035223"/>
                <a:gd name="connsiteY2" fmla="*/ 91081 h 1269118"/>
                <a:gd name="connsiteX3" fmla="*/ 649952 w 1035223"/>
                <a:gd name="connsiteY3" fmla="*/ 0 h 1269118"/>
                <a:gd name="connsiteX4" fmla="*/ 796592 w 1035223"/>
                <a:gd name="connsiteY4" fmla="*/ 91081 h 1269118"/>
                <a:gd name="connsiteX5" fmla="*/ 1035223 w 1035223"/>
                <a:gd name="connsiteY5" fmla="*/ 719173 h 1269118"/>
                <a:gd name="connsiteX6" fmla="*/ 898056 w 1035223"/>
                <a:gd name="connsiteY6" fmla="*/ 719173 h 1269118"/>
                <a:gd name="connsiteX7" fmla="*/ 683470 w 1035223"/>
                <a:gd name="connsiteY7" fmla="*/ 150830 h 1269118"/>
                <a:gd name="connsiteX8" fmla="*/ 648859 w 1035223"/>
                <a:gd name="connsiteY8" fmla="*/ 126784 h 1269118"/>
                <a:gd name="connsiteX9" fmla="*/ 613337 w 1035223"/>
                <a:gd name="connsiteY9" fmla="*/ 150830 h 1269118"/>
                <a:gd name="connsiteX10" fmla="*/ 136075 w 1035223"/>
                <a:gd name="connsiteY10" fmla="*/ 1269119 h 126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5223" h="1269118">
                  <a:moveTo>
                    <a:pt x="136075" y="1269119"/>
                  </a:moveTo>
                  <a:lnTo>
                    <a:pt x="0" y="1269119"/>
                  </a:lnTo>
                  <a:lnTo>
                    <a:pt x="501308" y="91081"/>
                  </a:lnTo>
                  <a:cubicBezTo>
                    <a:pt x="527540" y="25138"/>
                    <a:pt x="575630" y="0"/>
                    <a:pt x="649952" y="0"/>
                  </a:cubicBezTo>
                  <a:cubicBezTo>
                    <a:pt x="724274" y="0"/>
                    <a:pt x="771454" y="25138"/>
                    <a:pt x="796592" y="91081"/>
                  </a:cubicBezTo>
                  <a:lnTo>
                    <a:pt x="1035223" y="719173"/>
                  </a:lnTo>
                  <a:lnTo>
                    <a:pt x="898056" y="719173"/>
                  </a:lnTo>
                  <a:lnTo>
                    <a:pt x="683470" y="150830"/>
                  </a:lnTo>
                  <a:cubicBezTo>
                    <a:pt x="677276" y="134071"/>
                    <a:pt x="665618" y="126784"/>
                    <a:pt x="648859" y="126784"/>
                  </a:cubicBezTo>
                  <a:cubicBezTo>
                    <a:pt x="632100" y="126784"/>
                    <a:pt x="620624" y="134071"/>
                    <a:pt x="613337" y="150830"/>
                  </a:cubicBezTo>
                  <a:lnTo>
                    <a:pt x="136075" y="1269119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B6ABE07-E1A6-037D-F368-6C24A77C97D8}"/>
                </a:ext>
              </a:extLst>
            </p:cNvPr>
            <p:cNvSpPr/>
            <p:nvPr/>
          </p:nvSpPr>
          <p:spPr>
            <a:xfrm>
              <a:off x="6481021" y="1886538"/>
              <a:ext cx="537011" cy="706421"/>
            </a:xfrm>
            <a:custGeom>
              <a:avLst/>
              <a:gdLst>
                <a:gd name="connsiteX0" fmla="*/ 537012 w 537011"/>
                <a:gd name="connsiteY0" fmla="*/ 0 h 706421"/>
                <a:gd name="connsiteX1" fmla="*/ 537012 w 537011"/>
                <a:gd name="connsiteY1" fmla="*/ 123505 h 706421"/>
                <a:gd name="connsiteX2" fmla="*/ 330805 w 537011"/>
                <a:gd name="connsiteY2" fmla="*/ 123505 h 706421"/>
                <a:gd name="connsiteX3" fmla="*/ 330805 w 537011"/>
                <a:gd name="connsiteY3" fmla="*/ 706422 h 706421"/>
                <a:gd name="connsiteX4" fmla="*/ 206207 w 537011"/>
                <a:gd name="connsiteY4" fmla="*/ 706422 h 706421"/>
                <a:gd name="connsiteX5" fmla="*/ 206207 w 537011"/>
                <a:gd name="connsiteY5" fmla="*/ 123505 h 706421"/>
                <a:gd name="connsiteX6" fmla="*/ 0 w 537011"/>
                <a:gd name="connsiteY6" fmla="*/ 123505 h 706421"/>
                <a:gd name="connsiteX7" fmla="*/ 0 w 537011"/>
                <a:gd name="connsiteY7" fmla="*/ 0 h 706421"/>
                <a:gd name="connsiteX8" fmla="*/ 537012 w 537011"/>
                <a:gd name="connsiteY8" fmla="*/ 0 h 70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011" h="706421">
                  <a:moveTo>
                    <a:pt x="537012" y="0"/>
                  </a:moveTo>
                  <a:lnTo>
                    <a:pt x="537012" y="123505"/>
                  </a:lnTo>
                  <a:lnTo>
                    <a:pt x="330805" y="123505"/>
                  </a:lnTo>
                  <a:lnTo>
                    <a:pt x="330805" y="706422"/>
                  </a:lnTo>
                  <a:lnTo>
                    <a:pt x="206207" y="706422"/>
                  </a:lnTo>
                  <a:lnTo>
                    <a:pt x="206207" y="123505"/>
                  </a:lnTo>
                  <a:lnTo>
                    <a:pt x="0" y="123505"/>
                  </a:lnTo>
                  <a:lnTo>
                    <a:pt x="0" y="0"/>
                  </a:lnTo>
                  <a:lnTo>
                    <a:pt x="537012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A143A26-286F-B26E-DE90-EB685E19D897}"/>
                </a:ext>
              </a:extLst>
            </p:cNvPr>
            <p:cNvSpPr/>
            <p:nvPr/>
          </p:nvSpPr>
          <p:spPr>
            <a:xfrm>
              <a:off x="7134252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773DCEF2-A725-607B-6942-EEE470D1BDC6}"/>
                </a:ext>
              </a:extLst>
            </p:cNvPr>
            <p:cNvSpPr/>
            <p:nvPr/>
          </p:nvSpPr>
          <p:spPr>
            <a:xfrm>
              <a:off x="8766964" y="1873968"/>
              <a:ext cx="751415" cy="731742"/>
            </a:xfrm>
            <a:custGeom>
              <a:avLst/>
              <a:gdLst>
                <a:gd name="connsiteX0" fmla="*/ 123505 w 751415"/>
                <a:gd name="connsiteY0" fmla="*/ 719173 h 731742"/>
                <a:gd name="connsiteX1" fmla="*/ 0 w 751415"/>
                <a:gd name="connsiteY1" fmla="*/ 719173 h 731742"/>
                <a:gd name="connsiteX2" fmla="*/ 0 w 751415"/>
                <a:gd name="connsiteY2" fmla="*/ 153926 h 731742"/>
                <a:gd name="connsiteX3" fmla="*/ 162124 w 751415"/>
                <a:gd name="connsiteY3" fmla="*/ 0 h 731742"/>
                <a:gd name="connsiteX4" fmla="*/ 333720 w 751415"/>
                <a:gd name="connsiteY4" fmla="*/ 130792 h 731742"/>
                <a:gd name="connsiteX5" fmla="*/ 539926 w 751415"/>
                <a:gd name="connsiteY5" fmla="*/ 582006 h 731742"/>
                <a:gd name="connsiteX6" fmla="*/ 584920 w 751415"/>
                <a:gd name="connsiteY6" fmla="*/ 611334 h 731742"/>
                <a:gd name="connsiteX7" fmla="*/ 626817 w 751415"/>
                <a:gd name="connsiteY7" fmla="*/ 571623 h 731742"/>
                <a:gd name="connsiteX8" fmla="*/ 626817 w 751415"/>
                <a:gd name="connsiteY8" fmla="*/ 12751 h 731742"/>
                <a:gd name="connsiteX9" fmla="*/ 751416 w 751415"/>
                <a:gd name="connsiteY9" fmla="*/ 12751 h 731742"/>
                <a:gd name="connsiteX10" fmla="*/ 751416 w 751415"/>
                <a:gd name="connsiteY10" fmla="*/ 576905 h 731742"/>
                <a:gd name="connsiteX11" fmla="*/ 589110 w 751415"/>
                <a:gd name="connsiteY11" fmla="*/ 731742 h 731742"/>
                <a:gd name="connsiteX12" fmla="*/ 416421 w 751415"/>
                <a:gd name="connsiteY12" fmla="*/ 600951 h 731742"/>
                <a:gd name="connsiteX13" fmla="*/ 210214 w 751415"/>
                <a:gd name="connsiteY13" fmla="*/ 149919 h 731742"/>
                <a:gd name="connsiteX14" fmla="*/ 166313 w 751415"/>
                <a:gd name="connsiteY14" fmla="*/ 119498 h 731742"/>
                <a:gd name="connsiteX15" fmla="*/ 123323 w 751415"/>
                <a:gd name="connsiteY15" fmla="*/ 160302 h 731742"/>
                <a:gd name="connsiteX16" fmla="*/ 123323 w 751415"/>
                <a:gd name="connsiteY16" fmla="*/ 719173 h 73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51415" h="731742">
                  <a:moveTo>
                    <a:pt x="123505" y="719173"/>
                  </a:moveTo>
                  <a:lnTo>
                    <a:pt x="0" y="719173"/>
                  </a:lnTo>
                  <a:lnTo>
                    <a:pt x="0" y="153926"/>
                  </a:lnTo>
                  <a:cubicBezTo>
                    <a:pt x="0" y="61753"/>
                    <a:pt x="52280" y="0"/>
                    <a:pt x="162124" y="0"/>
                  </a:cubicBezTo>
                  <a:cubicBezTo>
                    <a:pt x="260491" y="0"/>
                    <a:pt x="304574" y="50277"/>
                    <a:pt x="333720" y="130792"/>
                  </a:cubicBezTo>
                  <a:lnTo>
                    <a:pt x="539926" y="582006"/>
                  </a:lnTo>
                  <a:cubicBezTo>
                    <a:pt x="548306" y="598765"/>
                    <a:pt x="561968" y="611334"/>
                    <a:pt x="584920" y="611334"/>
                  </a:cubicBezTo>
                  <a:cubicBezTo>
                    <a:pt x="611151" y="611334"/>
                    <a:pt x="626817" y="595668"/>
                    <a:pt x="626817" y="571623"/>
                  </a:cubicBezTo>
                  <a:lnTo>
                    <a:pt x="626817" y="12751"/>
                  </a:lnTo>
                  <a:lnTo>
                    <a:pt x="751416" y="12751"/>
                  </a:lnTo>
                  <a:lnTo>
                    <a:pt x="751416" y="576905"/>
                  </a:lnTo>
                  <a:cubicBezTo>
                    <a:pt x="751416" y="669990"/>
                    <a:pt x="698043" y="731742"/>
                    <a:pt x="589110" y="731742"/>
                  </a:cubicBezTo>
                  <a:cubicBezTo>
                    <a:pt x="490743" y="731742"/>
                    <a:pt x="445749" y="681466"/>
                    <a:pt x="416421" y="600951"/>
                  </a:cubicBezTo>
                  <a:lnTo>
                    <a:pt x="210214" y="149919"/>
                  </a:lnTo>
                  <a:cubicBezTo>
                    <a:pt x="200742" y="128970"/>
                    <a:pt x="188172" y="119498"/>
                    <a:pt x="166313" y="119498"/>
                  </a:cubicBezTo>
                  <a:cubicBezTo>
                    <a:pt x="138078" y="119498"/>
                    <a:pt x="123323" y="135164"/>
                    <a:pt x="123323" y="160302"/>
                  </a:cubicBezTo>
                  <a:lnTo>
                    <a:pt x="123323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7158871-BDF6-E370-2F33-C939FDE4BC23}"/>
                </a:ext>
              </a:extLst>
            </p:cNvPr>
            <p:cNvSpPr/>
            <p:nvPr/>
          </p:nvSpPr>
          <p:spPr>
            <a:xfrm>
              <a:off x="7906069" y="1886538"/>
              <a:ext cx="734839" cy="706604"/>
            </a:xfrm>
            <a:custGeom>
              <a:avLst/>
              <a:gdLst>
                <a:gd name="connsiteX0" fmla="*/ 415510 w 734839"/>
                <a:gd name="connsiteY0" fmla="*/ 0 h 706604"/>
                <a:gd name="connsiteX1" fmla="*/ 319147 w 734839"/>
                <a:gd name="connsiteY1" fmla="*/ 0 h 706604"/>
                <a:gd name="connsiteX2" fmla="*/ 0 w 734839"/>
                <a:gd name="connsiteY2" fmla="*/ 354850 h 706604"/>
                <a:gd name="connsiteX3" fmla="*/ 319147 w 734839"/>
                <a:gd name="connsiteY3" fmla="*/ 706604 h 706604"/>
                <a:gd name="connsiteX4" fmla="*/ 415510 w 734839"/>
                <a:gd name="connsiteY4" fmla="*/ 706604 h 706604"/>
                <a:gd name="connsiteX5" fmla="*/ 734839 w 734839"/>
                <a:gd name="connsiteY5" fmla="*/ 354850 h 706604"/>
                <a:gd name="connsiteX6" fmla="*/ 415510 w 734839"/>
                <a:gd name="connsiteY6" fmla="*/ 0 h 706604"/>
                <a:gd name="connsiteX7" fmla="*/ 415510 w 734839"/>
                <a:gd name="connsiteY7" fmla="*/ 583099 h 706604"/>
                <a:gd name="connsiteX8" fmla="*/ 319147 w 734839"/>
                <a:gd name="connsiteY8" fmla="*/ 583099 h 706604"/>
                <a:gd name="connsiteX9" fmla="*/ 123324 w 734839"/>
                <a:gd name="connsiteY9" fmla="*/ 355033 h 706604"/>
                <a:gd name="connsiteX10" fmla="*/ 319147 w 734839"/>
                <a:gd name="connsiteY10" fmla="*/ 123688 h 706604"/>
                <a:gd name="connsiteX11" fmla="*/ 415510 w 734839"/>
                <a:gd name="connsiteY11" fmla="*/ 123688 h 706604"/>
                <a:gd name="connsiteX12" fmla="*/ 610241 w 734839"/>
                <a:gd name="connsiteY12" fmla="*/ 353940 h 706604"/>
                <a:gd name="connsiteX13" fmla="*/ 415510 w 734839"/>
                <a:gd name="connsiteY13" fmla="*/ 583099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839" h="706604">
                  <a:moveTo>
                    <a:pt x="415510" y="0"/>
                  </a:moveTo>
                  <a:lnTo>
                    <a:pt x="319147" y="0"/>
                  </a:lnTo>
                  <a:cubicBezTo>
                    <a:pt x="114033" y="0"/>
                    <a:pt x="0" y="117130"/>
                    <a:pt x="0" y="354850"/>
                  </a:cubicBezTo>
                  <a:cubicBezTo>
                    <a:pt x="0" y="592571"/>
                    <a:pt x="113122" y="706604"/>
                    <a:pt x="319147" y="706604"/>
                  </a:cubicBezTo>
                  <a:lnTo>
                    <a:pt x="415510" y="706604"/>
                  </a:lnTo>
                  <a:cubicBezTo>
                    <a:pt x="621717" y="706604"/>
                    <a:pt x="734839" y="591478"/>
                    <a:pt x="734839" y="354850"/>
                  </a:cubicBezTo>
                  <a:cubicBezTo>
                    <a:pt x="734839" y="118223"/>
                    <a:pt x="620806" y="0"/>
                    <a:pt x="415510" y="0"/>
                  </a:cubicBezTo>
                  <a:close/>
                  <a:moveTo>
                    <a:pt x="415510" y="583099"/>
                  </a:moveTo>
                  <a:lnTo>
                    <a:pt x="319147" y="583099"/>
                  </a:lnTo>
                  <a:cubicBezTo>
                    <a:pt x="181980" y="583099"/>
                    <a:pt x="123324" y="516063"/>
                    <a:pt x="123324" y="355033"/>
                  </a:cubicBezTo>
                  <a:cubicBezTo>
                    <a:pt x="123324" y="194002"/>
                    <a:pt x="183073" y="123688"/>
                    <a:pt x="319147" y="123688"/>
                  </a:cubicBezTo>
                  <a:lnTo>
                    <a:pt x="415510" y="123688"/>
                  </a:lnTo>
                  <a:cubicBezTo>
                    <a:pt x="551585" y="123688"/>
                    <a:pt x="610241" y="192727"/>
                    <a:pt x="610241" y="353940"/>
                  </a:cubicBezTo>
                  <a:cubicBezTo>
                    <a:pt x="610241" y="515152"/>
                    <a:pt x="551585" y="583099"/>
                    <a:pt x="415510" y="583099"/>
                  </a:cubicBez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5ED2A16-05BC-805E-3FB3-971901C03F79}"/>
                </a:ext>
              </a:extLst>
            </p:cNvPr>
            <p:cNvGrpSpPr/>
            <p:nvPr userDrawn="1"/>
          </p:nvGrpSpPr>
          <p:grpSpPr>
            <a:xfrm>
              <a:off x="2752724" y="1340236"/>
              <a:ext cx="6742703" cy="1822342"/>
              <a:chOff x="2752724" y="1340236"/>
              <a:chExt cx="6742703" cy="1822342"/>
            </a:xfrm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E8679230-0E5A-903C-E599-BB0E02FA4852}"/>
                  </a:ext>
                </a:extLst>
              </p:cNvPr>
              <p:cNvSpPr/>
              <p:nvPr/>
            </p:nvSpPr>
            <p:spPr>
              <a:xfrm>
                <a:off x="4281604" y="1938818"/>
                <a:ext cx="601496" cy="618437"/>
              </a:xfrm>
              <a:custGeom>
                <a:avLst/>
                <a:gdLst>
                  <a:gd name="connsiteX0" fmla="*/ 601497 w 601496"/>
                  <a:gd name="connsiteY0" fmla="*/ 0 h 618437"/>
                  <a:gd name="connsiteX1" fmla="*/ 58110 w 601496"/>
                  <a:gd name="connsiteY1" fmla="*/ 214586 h 618437"/>
                  <a:gd name="connsiteX2" fmla="*/ 0 w 601496"/>
                  <a:gd name="connsiteY2" fmla="*/ 309857 h 618437"/>
                  <a:gd name="connsiteX3" fmla="*/ 58292 w 601496"/>
                  <a:gd name="connsiteY3" fmla="*/ 405127 h 618437"/>
                  <a:gd name="connsiteX4" fmla="*/ 601497 w 601496"/>
                  <a:gd name="connsiteY4" fmla="*/ 618438 h 618437"/>
                  <a:gd name="connsiteX5" fmla="*/ 601497 w 601496"/>
                  <a:gd name="connsiteY5" fmla="*/ 495479 h 618437"/>
                  <a:gd name="connsiteX6" fmla="*/ 122048 w 601496"/>
                  <a:gd name="connsiteY6" fmla="*/ 309857 h 618437"/>
                  <a:gd name="connsiteX7" fmla="*/ 601497 w 601496"/>
                  <a:gd name="connsiteY7" fmla="*/ 124052 h 618437"/>
                  <a:gd name="connsiteX8" fmla="*/ 601497 w 601496"/>
                  <a:gd name="connsiteY8" fmla="*/ 0 h 61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1496" h="618437">
                    <a:moveTo>
                      <a:pt x="601497" y="0"/>
                    </a:moveTo>
                    <a:lnTo>
                      <a:pt x="58110" y="214586"/>
                    </a:lnTo>
                    <a:cubicBezTo>
                      <a:pt x="18580" y="230616"/>
                      <a:pt x="0" y="261037"/>
                      <a:pt x="0" y="309857"/>
                    </a:cubicBezTo>
                    <a:cubicBezTo>
                      <a:pt x="0" y="358676"/>
                      <a:pt x="19127" y="390554"/>
                      <a:pt x="58292" y="405127"/>
                    </a:cubicBezTo>
                    <a:lnTo>
                      <a:pt x="601497" y="618438"/>
                    </a:lnTo>
                    <a:lnTo>
                      <a:pt x="601497" y="495479"/>
                    </a:lnTo>
                    <a:lnTo>
                      <a:pt x="122048" y="309857"/>
                    </a:lnTo>
                    <a:lnTo>
                      <a:pt x="601497" y="124052"/>
                    </a:lnTo>
                    <a:lnTo>
                      <a:pt x="60149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9" name="Graphic 5">
                <a:extLst>
                  <a:ext uri="{FF2B5EF4-FFF2-40B4-BE49-F238E27FC236}">
                    <a16:creationId xmlns:a16="http://schemas.microsoft.com/office/drawing/2014/main" id="{2289D422-271E-0F66-D318-6CC5E4A760DF}"/>
                  </a:ext>
                </a:extLst>
              </p:cNvPr>
              <p:cNvGrpSpPr/>
              <p:nvPr/>
            </p:nvGrpSpPr>
            <p:grpSpPr>
              <a:xfrm>
                <a:off x="5771867" y="2752351"/>
                <a:ext cx="3723560" cy="410227"/>
                <a:chOff x="5771867" y="2752351"/>
                <a:chExt cx="3723560" cy="410227"/>
              </a:xfrm>
              <a:solidFill>
                <a:schemeClr val="accent2"/>
              </a:solidFill>
            </p:grpSpPr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BA53968D-E892-B2CD-FAE1-39E899CFD7E7}"/>
                    </a:ext>
                  </a:extLst>
                </p:cNvPr>
                <p:cNvSpPr/>
                <p:nvPr/>
              </p:nvSpPr>
              <p:spPr>
                <a:xfrm>
                  <a:off x="5771867" y="2752351"/>
                  <a:ext cx="623902" cy="410227"/>
                </a:xfrm>
                <a:custGeom>
                  <a:avLst/>
                  <a:gdLst>
                    <a:gd name="connsiteX0" fmla="*/ 73957 w 623902"/>
                    <a:gd name="connsiteY0" fmla="*/ 403305 h 410227"/>
                    <a:gd name="connsiteX1" fmla="*/ 0 w 623902"/>
                    <a:gd name="connsiteY1" fmla="*/ 403305 h 410227"/>
                    <a:gd name="connsiteX2" fmla="*/ 122777 w 623902"/>
                    <a:gd name="connsiteY2" fmla="*/ 73411 h 410227"/>
                    <a:gd name="connsiteX3" fmla="*/ 216043 w 623902"/>
                    <a:gd name="connsiteY3" fmla="*/ 0 h 410227"/>
                    <a:gd name="connsiteX4" fmla="*/ 304027 w 623902"/>
                    <a:gd name="connsiteY4" fmla="*/ 86345 h 410227"/>
                    <a:gd name="connsiteX5" fmla="*/ 304027 w 623902"/>
                    <a:gd name="connsiteY5" fmla="*/ 320604 h 410227"/>
                    <a:gd name="connsiteX6" fmla="*/ 324065 w 623902"/>
                    <a:gd name="connsiteY6" fmla="*/ 342828 h 410227"/>
                    <a:gd name="connsiteX7" fmla="*/ 346289 w 623902"/>
                    <a:gd name="connsiteY7" fmla="*/ 326251 h 410227"/>
                    <a:gd name="connsiteX8" fmla="*/ 442652 w 623902"/>
                    <a:gd name="connsiteY8" fmla="*/ 73411 h 410227"/>
                    <a:gd name="connsiteX9" fmla="*/ 535919 w 623902"/>
                    <a:gd name="connsiteY9" fmla="*/ 0 h 410227"/>
                    <a:gd name="connsiteX10" fmla="*/ 623903 w 623902"/>
                    <a:gd name="connsiteY10" fmla="*/ 86345 h 410227"/>
                    <a:gd name="connsiteX11" fmla="*/ 623903 w 623902"/>
                    <a:gd name="connsiteY11" fmla="*/ 403305 h 410227"/>
                    <a:gd name="connsiteX12" fmla="*/ 553953 w 623902"/>
                    <a:gd name="connsiteY12" fmla="*/ 403305 h 410227"/>
                    <a:gd name="connsiteX13" fmla="*/ 553953 w 623902"/>
                    <a:gd name="connsiteY13" fmla="*/ 89806 h 410227"/>
                    <a:gd name="connsiteX14" fmla="*/ 534097 w 623902"/>
                    <a:gd name="connsiteY14" fmla="*/ 66853 h 410227"/>
                    <a:gd name="connsiteX15" fmla="*/ 512420 w 623902"/>
                    <a:gd name="connsiteY15" fmla="*/ 83794 h 410227"/>
                    <a:gd name="connsiteX16" fmla="*/ 416057 w 623902"/>
                    <a:gd name="connsiteY16" fmla="*/ 336817 h 410227"/>
                    <a:gd name="connsiteX17" fmla="*/ 322061 w 623902"/>
                    <a:gd name="connsiteY17" fmla="*/ 410228 h 410227"/>
                    <a:gd name="connsiteX18" fmla="*/ 234624 w 623902"/>
                    <a:gd name="connsiteY18" fmla="*/ 323337 h 410227"/>
                    <a:gd name="connsiteX19" fmla="*/ 234624 w 623902"/>
                    <a:gd name="connsiteY19" fmla="*/ 89806 h 410227"/>
                    <a:gd name="connsiteX20" fmla="*/ 214040 w 623902"/>
                    <a:gd name="connsiteY20" fmla="*/ 66853 h 410227"/>
                    <a:gd name="connsiteX21" fmla="*/ 192362 w 623902"/>
                    <a:gd name="connsiteY21" fmla="*/ 83794 h 410227"/>
                    <a:gd name="connsiteX22" fmla="*/ 73775 w 623902"/>
                    <a:gd name="connsiteY22" fmla="*/ 403123 h 410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623902" h="410227">
                      <a:moveTo>
                        <a:pt x="73957" y="403305"/>
                      </a:moveTo>
                      <a:lnTo>
                        <a:pt x="0" y="403305"/>
                      </a:lnTo>
                      <a:lnTo>
                        <a:pt x="122777" y="73411"/>
                      </a:lnTo>
                      <a:cubicBezTo>
                        <a:pt x="137896" y="28235"/>
                        <a:pt x="163216" y="0"/>
                        <a:pt x="216043" y="0"/>
                      </a:cubicBezTo>
                      <a:cubicBezTo>
                        <a:pt x="274699" y="0"/>
                        <a:pt x="304027" y="34611"/>
                        <a:pt x="304027" y="86345"/>
                      </a:cubicBezTo>
                      <a:lnTo>
                        <a:pt x="304027" y="320604"/>
                      </a:lnTo>
                      <a:cubicBezTo>
                        <a:pt x="304027" y="334084"/>
                        <a:pt x="312225" y="342828"/>
                        <a:pt x="324065" y="342828"/>
                      </a:cubicBezTo>
                      <a:cubicBezTo>
                        <a:pt x="334630" y="342828"/>
                        <a:pt x="342828" y="336452"/>
                        <a:pt x="346289" y="326251"/>
                      </a:cubicBezTo>
                      <a:lnTo>
                        <a:pt x="442652" y="73411"/>
                      </a:lnTo>
                      <a:cubicBezTo>
                        <a:pt x="457954" y="28235"/>
                        <a:pt x="483092" y="0"/>
                        <a:pt x="535919" y="0"/>
                      </a:cubicBezTo>
                      <a:cubicBezTo>
                        <a:pt x="594575" y="0"/>
                        <a:pt x="623903" y="34611"/>
                        <a:pt x="623903" y="86345"/>
                      </a:cubicBezTo>
                      <a:lnTo>
                        <a:pt x="623903" y="403305"/>
                      </a:lnTo>
                      <a:lnTo>
                        <a:pt x="553953" y="403305"/>
                      </a:lnTo>
                      <a:lnTo>
                        <a:pt x="553953" y="89806"/>
                      </a:lnTo>
                      <a:cubicBezTo>
                        <a:pt x="553953" y="75597"/>
                        <a:pt x="545755" y="66853"/>
                        <a:pt x="534097" y="66853"/>
                      </a:cubicBezTo>
                      <a:cubicBezTo>
                        <a:pt x="524078" y="66853"/>
                        <a:pt x="515881" y="73958"/>
                        <a:pt x="512420" y="83794"/>
                      </a:cubicBezTo>
                      <a:lnTo>
                        <a:pt x="416057" y="336817"/>
                      </a:lnTo>
                      <a:cubicBezTo>
                        <a:pt x="400755" y="381992"/>
                        <a:pt x="374888" y="410228"/>
                        <a:pt x="322061" y="410228"/>
                      </a:cubicBezTo>
                      <a:cubicBezTo>
                        <a:pt x="263952" y="410228"/>
                        <a:pt x="234624" y="375617"/>
                        <a:pt x="234624" y="323337"/>
                      </a:cubicBezTo>
                      <a:lnTo>
                        <a:pt x="234624" y="89806"/>
                      </a:lnTo>
                      <a:cubicBezTo>
                        <a:pt x="234624" y="75597"/>
                        <a:pt x="225880" y="66853"/>
                        <a:pt x="214040" y="66853"/>
                      </a:cubicBezTo>
                      <a:cubicBezTo>
                        <a:pt x="203474" y="66853"/>
                        <a:pt x="196370" y="73958"/>
                        <a:pt x="192362" y="83794"/>
                      </a:cubicBezTo>
                      <a:lnTo>
                        <a:pt x="73775" y="403123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2A75AB71-B148-69D1-55FB-5E54023BEB58}"/>
                    </a:ext>
                  </a:extLst>
                </p:cNvPr>
                <p:cNvSpPr/>
                <p:nvPr/>
              </p:nvSpPr>
              <p:spPr>
                <a:xfrm>
                  <a:off x="6448961" y="2752351"/>
                  <a:ext cx="438462" cy="403305"/>
                </a:xfrm>
                <a:custGeom>
                  <a:avLst/>
                  <a:gdLst>
                    <a:gd name="connsiteX0" fmla="*/ 76326 w 438462"/>
                    <a:gd name="connsiteY0" fmla="*/ 403305 h 403305"/>
                    <a:gd name="connsiteX1" fmla="*/ 0 w 438462"/>
                    <a:gd name="connsiteY1" fmla="*/ 403305 h 403305"/>
                    <a:gd name="connsiteX2" fmla="*/ 138989 w 438462"/>
                    <a:gd name="connsiteY2" fmla="*/ 51187 h 403305"/>
                    <a:gd name="connsiteX3" fmla="*/ 222419 w 438462"/>
                    <a:gd name="connsiteY3" fmla="*/ 0 h 403305"/>
                    <a:gd name="connsiteX4" fmla="*/ 304574 w 438462"/>
                    <a:gd name="connsiteY4" fmla="*/ 51187 h 403305"/>
                    <a:gd name="connsiteX5" fmla="*/ 438462 w 438462"/>
                    <a:gd name="connsiteY5" fmla="*/ 403305 h 403305"/>
                    <a:gd name="connsiteX6" fmla="*/ 361590 w 438462"/>
                    <a:gd name="connsiteY6" fmla="*/ 403305 h 403305"/>
                    <a:gd name="connsiteX7" fmla="*/ 241364 w 438462"/>
                    <a:gd name="connsiteY7" fmla="*/ 84523 h 403305"/>
                    <a:gd name="connsiteX8" fmla="*/ 222055 w 438462"/>
                    <a:gd name="connsiteY8" fmla="*/ 71043 h 403305"/>
                    <a:gd name="connsiteX9" fmla="*/ 202017 w 438462"/>
                    <a:gd name="connsiteY9" fmla="*/ 84523 h 403305"/>
                    <a:gd name="connsiteX10" fmla="*/ 76508 w 438462"/>
                    <a:gd name="connsiteY10" fmla="*/ 403305 h 40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8462" h="403305">
                      <a:moveTo>
                        <a:pt x="76326" y="403305"/>
                      </a:moveTo>
                      <a:lnTo>
                        <a:pt x="0" y="403305"/>
                      </a:lnTo>
                      <a:lnTo>
                        <a:pt x="138989" y="51187"/>
                      </a:lnTo>
                      <a:cubicBezTo>
                        <a:pt x="153744" y="14209"/>
                        <a:pt x="180704" y="0"/>
                        <a:pt x="222419" y="0"/>
                      </a:cubicBezTo>
                      <a:cubicBezTo>
                        <a:pt x="264134" y="0"/>
                        <a:pt x="290547" y="14209"/>
                        <a:pt x="304574" y="51187"/>
                      </a:cubicBezTo>
                      <a:lnTo>
                        <a:pt x="438462" y="403305"/>
                      </a:lnTo>
                      <a:lnTo>
                        <a:pt x="361590" y="403305"/>
                      </a:lnTo>
                      <a:lnTo>
                        <a:pt x="241364" y="84523"/>
                      </a:lnTo>
                      <a:cubicBezTo>
                        <a:pt x="237903" y="75051"/>
                        <a:pt x="231345" y="71043"/>
                        <a:pt x="222055" y="71043"/>
                      </a:cubicBezTo>
                      <a:cubicBezTo>
                        <a:pt x="212764" y="71043"/>
                        <a:pt x="206207" y="75051"/>
                        <a:pt x="202017" y="84523"/>
                      </a:cubicBezTo>
                      <a:lnTo>
                        <a:pt x="76508" y="403305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530E0F03-EB58-09BF-67A7-F3BF1979FC6C}"/>
                    </a:ext>
                  </a:extLst>
                </p:cNvPr>
                <p:cNvSpPr/>
                <p:nvPr/>
              </p:nvSpPr>
              <p:spPr>
                <a:xfrm>
                  <a:off x="6939339" y="2759273"/>
                  <a:ext cx="350296" cy="396383"/>
                </a:xfrm>
                <a:custGeom>
                  <a:avLst/>
                  <a:gdLst>
                    <a:gd name="connsiteX0" fmla="*/ 214768 w 350296"/>
                    <a:gd name="connsiteY0" fmla="*/ 182 h 396383"/>
                    <a:gd name="connsiteX1" fmla="*/ 342099 w 350296"/>
                    <a:gd name="connsiteY1" fmla="*/ 118769 h 396383"/>
                    <a:gd name="connsiteX2" fmla="*/ 258123 w 350296"/>
                    <a:gd name="connsiteY2" fmla="*/ 237903 h 396383"/>
                    <a:gd name="connsiteX3" fmla="*/ 350296 w 350296"/>
                    <a:gd name="connsiteY3" fmla="*/ 396383 h 396383"/>
                    <a:gd name="connsiteX4" fmla="*/ 273424 w 350296"/>
                    <a:gd name="connsiteY4" fmla="*/ 396383 h 396383"/>
                    <a:gd name="connsiteX5" fmla="*/ 183072 w 350296"/>
                    <a:gd name="connsiteY5" fmla="*/ 243185 h 396383"/>
                    <a:gd name="connsiteX6" fmla="*/ 79787 w 350296"/>
                    <a:gd name="connsiteY6" fmla="*/ 243185 h 396383"/>
                    <a:gd name="connsiteX7" fmla="*/ 69768 w 350296"/>
                    <a:gd name="connsiteY7" fmla="*/ 253204 h 396383"/>
                    <a:gd name="connsiteX8" fmla="*/ 69768 w 350296"/>
                    <a:gd name="connsiteY8" fmla="*/ 396383 h 396383"/>
                    <a:gd name="connsiteX9" fmla="*/ 546 w 350296"/>
                    <a:gd name="connsiteY9" fmla="*/ 396383 h 396383"/>
                    <a:gd name="connsiteX10" fmla="*/ 546 w 350296"/>
                    <a:gd name="connsiteY10" fmla="*/ 239724 h 396383"/>
                    <a:gd name="connsiteX11" fmla="*/ 62846 w 350296"/>
                    <a:gd name="connsiteY11" fmla="*/ 176879 h 396383"/>
                    <a:gd name="connsiteX12" fmla="*/ 217136 w 350296"/>
                    <a:gd name="connsiteY12" fmla="*/ 176879 h 396383"/>
                    <a:gd name="connsiteX13" fmla="*/ 272331 w 350296"/>
                    <a:gd name="connsiteY13" fmla="*/ 121684 h 396383"/>
                    <a:gd name="connsiteX14" fmla="*/ 217136 w 350296"/>
                    <a:gd name="connsiteY14" fmla="*/ 69403 h 396383"/>
                    <a:gd name="connsiteX15" fmla="*/ 0 w 350296"/>
                    <a:gd name="connsiteY15" fmla="*/ 69403 h 396383"/>
                    <a:gd name="connsiteX16" fmla="*/ 0 w 350296"/>
                    <a:gd name="connsiteY16" fmla="*/ 0 h 396383"/>
                    <a:gd name="connsiteX17" fmla="*/ 214768 w 350296"/>
                    <a:gd name="connsiteY17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50296" h="396383">
                      <a:moveTo>
                        <a:pt x="214768" y="182"/>
                      </a:moveTo>
                      <a:cubicBezTo>
                        <a:pt x="304027" y="182"/>
                        <a:pt x="342099" y="55377"/>
                        <a:pt x="342099" y="118769"/>
                      </a:cubicBezTo>
                      <a:cubicBezTo>
                        <a:pt x="342099" y="168135"/>
                        <a:pt x="318600" y="220962"/>
                        <a:pt x="258123" y="237903"/>
                      </a:cubicBezTo>
                      <a:lnTo>
                        <a:pt x="350296" y="396383"/>
                      </a:lnTo>
                      <a:lnTo>
                        <a:pt x="273424" y="396383"/>
                      </a:lnTo>
                      <a:lnTo>
                        <a:pt x="183072" y="243185"/>
                      </a:lnTo>
                      <a:lnTo>
                        <a:pt x="79787" y="243185"/>
                      </a:lnTo>
                      <a:cubicBezTo>
                        <a:pt x="73411" y="243185"/>
                        <a:pt x="69768" y="246100"/>
                        <a:pt x="69768" y="253204"/>
                      </a:cubicBezTo>
                      <a:lnTo>
                        <a:pt x="69768" y="396383"/>
                      </a:lnTo>
                      <a:lnTo>
                        <a:pt x="546" y="396383"/>
                      </a:lnTo>
                      <a:lnTo>
                        <a:pt x="546" y="239724"/>
                      </a:lnTo>
                      <a:cubicBezTo>
                        <a:pt x="546" y="195095"/>
                        <a:pt x="19309" y="176879"/>
                        <a:pt x="62846" y="176879"/>
                      </a:cubicBezTo>
                      <a:lnTo>
                        <a:pt x="217136" y="176879"/>
                      </a:lnTo>
                      <a:cubicBezTo>
                        <a:pt x="256483" y="176879"/>
                        <a:pt x="272331" y="149919"/>
                        <a:pt x="272331" y="121684"/>
                      </a:cubicBezTo>
                      <a:cubicBezTo>
                        <a:pt x="272331" y="93449"/>
                        <a:pt x="255208" y="69403"/>
                        <a:pt x="217136" y="69403"/>
                      </a:cubicBezTo>
                      <a:lnTo>
                        <a:pt x="0" y="69403"/>
                      </a:lnTo>
                      <a:lnTo>
                        <a:pt x="0" y="0"/>
                      </a:lnTo>
                      <a:lnTo>
                        <a:pt x="214768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5F9C18E0-196B-EB55-457C-2AA0A12FC781}"/>
                    </a:ext>
                  </a:extLst>
                </p:cNvPr>
                <p:cNvSpPr/>
                <p:nvPr/>
              </p:nvSpPr>
              <p:spPr>
                <a:xfrm>
                  <a:off x="7335358" y="2759455"/>
                  <a:ext cx="354121" cy="396383"/>
                </a:xfrm>
                <a:custGeom>
                  <a:avLst/>
                  <a:gdLst>
                    <a:gd name="connsiteX0" fmla="*/ 324429 w 354121"/>
                    <a:gd name="connsiteY0" fmla="*/ 0 h 396383"/>
                    <a:gd name="connsiteX1" fmla="*/ 324429 w 354121"/>
                    <a:gd name="connsiteY1" fmla="*/ 69403 h 396383"/>
                    <a:gd name="connsiteX2" fmla="*/ 121320 w 354121"/>
                    <a:gd name="connsiteY2" fmla="*/ 69403 h 396383"/>
                    <a:gd name="connsiteX3" fmla="*/ 69586 w 354121"/>
                    <a:gd name="connsiteY3" fmla="*/ 116401 h 396383"/>
                    <a:gd name="connsiteX4" fmla="*/ 128241 w 354121"/>
                    <a:gd name="connsiteY4" fmla="*/ 163399 h 396383"/>
                    <a:gd name="connsiteX5" fmla="*/ 220962 w 354121"/>
                    <a:gd name="connsiteY5" fmla="*/ 163399 h 396383"/>
                    <a:gd name="connsiteX6" fmla="*/ 354122 w 354121"/>
                    <a:gd name="connsiteY6" fmla="*/ 280164 h 396383"/>
                    <a:gd name="connsiteX7" fmla="*/ 227884 w 354121"/>
                    <a:gd name="connsiteY7" fmla="*/ 396383 h 396383"/>
                    <a:gd name="connsiteX8" fmla="*/ 7286 w 354121"/>
                    <a:gd name="connsiteY8" fmla="*/ 396383 h 396383"/>
                    <a:gd name="connsiteX9" fmla="*/ 7286 w 354121"/>
                    <a:gd name="connsiteY9" fmla="*/ 327162 h 396383"/>
                    <a:gd name="connsiteX10" fmla="*/ 230252 w 354121"/>
                    <a:gd name="connsiteY10" fmla="*/ 327162 h 396383"/>
                    <a:gd name="connsiteX11" fmla="*/ 284718 w 354121"/>
                    <a:gd name="connsiteY11" fmla="*/ 277796 h 396383"/>
                    <a:gd name="connsiteX12" fmla="*/ 222419 w 354121"/>
                    <a:gd name="connsiteY12" fmla="*/ 228430 h 396383"/>
                    <a:gd name="connsiteX13" fmla="*/ 130245 w 354121"/>
                    <a:gd name="connsiteY13" fmla="*/ 228430 h 396383"/>
                    <a:gd name="connsiteX14" fmla="*/ 0 w 354121"/>
                    <a:gd name="connsiteY14" fmla="*/ 114033 h 396383"/>
                    <a:gd name="connsiteX15" fmla="*/ 123323 w 354121"/>
                    <a:gd name="connsiteY15" fmla="*/ 182 h 396383"/>
                    <a:gd name="connsiteX16" fmla="*/ 324065 w 354121"/>
                    <a:gd name="connsiteY16" fmla="*/ 182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54121" h="396383">
                      <a:moveTo>
                        <a:pt x="324429" y="0"/>
                      </a:moveTo>
                      <a:lnTo>
                        <a:pt x="324429" y="69403"/>
                      </a:lnTo>
                      <a:lnTo>
                        <a:pt x="121320" y="69403"/>
                      </a:lnTo>
                      <a:cubicBezTo>
                        <a:pt x="85616" y="69403"/>
                        <a:pt x="69586" y="88713"/>
                        <a:pt x="69586" y="116401"/>
                      </a:cubicBezTo>
                      <a:cubicBezTo>
                        <a:pt x="69586" y="140446"/>
                        <a:pt x="81973" y="163399"/>
                        <a:pt x="128241" y="163399"/>
                      </a:cubicBezTo>
                      <a:lnTo>
                        <a:pt x="220962" y="163399"/>
                      </a:lnTo>
                      <a:cubicBezTo>
                        <a:pt x="328983" y="163399"/>
                        <a:pt x="354122" y="223330"/>
                        <a:pt x="354122" y="280164"/>
                      </a:cubicBezTo>
                      <a:cubicBezTo>
                        <a:pt x="354122" y="347017"/>
                        <a:pt x="318418" y="396383"/>
                        <a:pt x="227884" y="396383"/>
                      </a:cubicBezTo>
                      <a:lnTo>
                        <a:pt x="7286" y="396383"/>
                      </a:lnTo>
                      <a:lnTo>
                        <a:pt x="7286" y="327162"/>
                      </a:lnTo>
                      <a:lnTo>
                        <a:pt x="230252" y="327162"/>
                      </a:lnTo>
                      <a:cubicBezTo>
                        <a:pt x="267777" y="327162"/>
                        <a:pt x="284718" y="306578"/>
                        <a:pt x="284718" y="277796"/>
                      </a:cubicBezTo>
                      <a:cubicBezTo>
                        <a:pt x="284718" y="251929"/>
                        <a:pt x="271238" y="228430"/>
                        <a:pt x="222419" y="228430"/>
                      </a:cubicBezTo>
                      <a:lnTo>
                        <a:pt x="130245" y="228430"/>
                      </a:lnTo>
                      <a:cubicBezTo>
                        <a:pt x="24592" y="228430"/>
                        <a:pt x="0" y="169228"/>
                        <a:pt x="0" y="114033"/>
                      </a:cubicBezTo>
                      <a:cubicBezTo>
                        <a:pt x="0" y="48273"/>
                        <a:pt x="35339" y="182"/>
                        <a:pt x="123323" y="182"/>
                      </a:cubicBezTo>
                      <a:lnTo>
                        <a:pt x="324065" y="182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0E0E9878-7324-A9AB-56EF-82F8817DDD36}"/>
                    </a:ext>
                  </a:extLst>
                </p:cNvPr>
                <p:cNvSpPr/>
                <p:nvPr/>
              </p:nvSpPr>
              <p:spPr>
                <a:xfrm>
                  <a:off x="7902973" y="2759091"/>
                  <a:ext cx="359222" cy="396383"/>
                </a:xfrm>
                <a:custGeom>
                  <a:avLst/>
                  <a:gdLst>
                    <a:gd name="connsiteX0" fmla="*/ 240089 w 359222"/>
                    <a:gd name="connsiteY0" fmla="*/ 364 h 396383"/>
                    <a:gd name="connsiteX1" fmla="*/ 359222 w 359222"/>
                    <a:gd name="connsiteY1" fmla="*/ 112576 h 396383"/>
                    <a:gd name="connsiteX2" fmla="*/ 267049 w 359222"/>
                    <a:gd name="connsiteY2" fmla="*/ 218776 h 396383"/>
                    <a:gd name="connsiteX3" fmla="*/ 102010 w 359222"/>
                    <a:gd name="connsiteY3" fmla="*/ 255755 h 396383"/>
                    <a:gd name="connsiteX4" fmla="*/ 69221 w 359222"/>
                    <a:gd name="connsiteY4" fmla="*/ 299109 h 396383"/>
                    <a:gd name="connsiteX5" fmla="*/ 69221 w 359222"/>
                    <a:gd name="connsiteY5" fmla="*/ 318965 h 396383"/>
                    <a:gd name="connsiteX6" fmla="*/ 76872 w 359222"/>
                    <a:gd name="connsiteY6" fmla="*/ 327162 h 396383"/>
                    <a:gd name="connsiteX7" fmla="*/ 348657 w 359222"/>
                    <a:gd name="connsiteY7" fmla="*/ 327162 h 396383"/>
                    <a:gd name="connsiteX8" fmla="*/ 348657 w 359222"/>
                    <a:gd name="connsiteY8" fmla="*/ 396383 h 396383"/>
                    <a:gd name="connsiteX9" fmla="*/ 32789 w 359222"/>
                    <a:gd name="connsiteY9" fmla="*/ 396383 h 396383"/>
                    <a:gd name="connsiteX10" fmla="*/ 0 w 359222"/>
                    <a:gd name="connsiteY10" fmla="*/ 364141 h 396383"/>
                    <a:gd name="connsiteX11" fmla="*/ 0 w 359222"/>
                    <a:gd name="connsiteY11" fmla="*/ 304209 h 396383"/>
                    <a:gd name="connsiteX12" fmla="*/ 86891 w 359222"/>
                    <a:gd name="connsiteY12" fmla="*/ 190359 h 396383"/>
                    <a:gd name="connsiteX13" fmla="*/ 253568 w 359222"/>
                    <a:gd name="connsiteY13" fmla="*/ 152287 h 396383"/>
                    <a:gd name="connsiteX14" fmla="*/ 290547 w 359222"/>
                    <a:gd name="connsiteY14" fmla="*/ 113487 h 396383"/>
                    <a:gd name="connsiteX15" fmla="*/ 241728 w 359222"/>
                    <a:gd name="connsiteY15" fmla="*/ 69403 h 396383"/>
                    <a:gd name="connsiteX16" fmla="*/ 12751 w 359222"/>
                    <a:gd name="connsiteY16" fmla="*/ 69403 h 396383"/>
                    <a:gd name="connsiteX17" fmla="*/ 12751 w 359222"/>
                    <a:gd name="connsiteY17" fmla="*/ 0 h 396383"/>
                    <a:gd name="connsiteX18" fmla="*/ 239906 w 359222"/>
                    <a:gd name="connsiteY18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9222" h="396383">
                      <a:moveTo>
                        <a:pt x="240089" y="364"/>
                      </a:moveTo>
                      <a:cubicBezTo>
                        <a:pt x="316414" y="364"/>
                        <a:pt x="359222" y="39711"/>
                        <a:pt x="359222" y="112576"/>
                      </a:cubicBezTo>
                      <a:cubicBezTo>
                        <a:pt x="359222" y="171232"/>
                        <a:pt x="330987" y="204203"/>
                        <a:pt x="267049" y="218776"/>
                      </a:cubicBezTo>
                      <a:lnTo>
                        <a:pt x="102010" y="255755"/>
                      </a:lnTo>
                      <a:cubicBezTo>
                        <a:pt x="74504" y="262130"/>
                        <a:pt x="69221" y="276885"/>
                        <a:pt x="69221" y="299109"/>
                      </a:cubicBezTo>
                      <a:lnTo>
                        <a:pt x="69221" y="318965"/>
                      </a:lnTo>
                      <a:cubicBezTo>
                        <a:pt x="69221" y="325340"/>
                        <a:pt x="71589" y="327162"/>
                        <a:pt x="76872" y="327162"/>
                      </a:cubicBezTo>
                      <a:lnTo>
                        <a:pt x="348657" y="327162"/>
                      </a:lnTo>
                      <a:lnTo>
                        <a:pt x="348657" y="396383"/>
                      </a:lnTo>
                      <a:lnTo>
                        <a:pt x="32789" y="396383"/>
                      </a:lnTo>
                      <a:cubicBezTo>
                        <a:pt x="10565" y="396383"/>
                        <a:pt x="0" y="385818"/>
                        <a:pt x="0" y="364141"/>
                      </a:cubicBezTo>
                      <a:lnTo>
                        <a:pt x="0" y="304209"/>
                      </a:lnTo>
                      <a:cubicBezTo>
                        <a:pt x="0" y="239542"/>
                        <a:pt x="19309" y="205478"/>
                        <a:pt x="86891" y="190359"/>
                      </a:cubicBezTo>
                      <a:lnTo>
                        <a:pt x="253568" y="152287"/>
                      </a:lnTo>
                      <a:cubicBezTo>
                        <a:pt x="281804" y="145911"/>
                        <a:pt x="290547" y="132431"/>
                        <a:pt x="290547" y="113487"/>
                      </a:cubicBezTo>
                      <a:cubicBezTo>
                        <a:pt x="290547" y="87073"/>
                        <a:pt x="273424" y="69403"/>
                        <a:pt x="241728" y="69403"/>
                      </a:cubicBezTo>
                      <a:lnTo>
                        <a:pt x="12751" y="69403"/>
                      </a:lnTo>
                      <a:lnTo>
                        <a:pt x="12751" y="0"/>
                      </a:lnTo>
                      <a:lnTo>
                        <a:pt x="239906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366DD32C-D262-21D3-EA83-B681B7576CE8}"/>
                    </a:ext>
                  </a:extLst>
                </p:cNvPr>
                <p:cNvSpPr/>
                <p:nvPr/>
              </p:nvSpPr>
              <p:spPr>
                <a:xfrm>
                  <a:off x="8309922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4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4 w 358129"/>
                    <a:gd name="connsiteY3" fmla="*/ 0 h 407859"/>
                    <a:gd name="connsiteX4" fmla="*/ 358129 w 358129"/>
                    <a:gd name="connsiteY4" fmla="*/ 204203 h 407859"/>
                    <a:gd name="connsiteX5" fmla="*/ 68128 w 358129"/>
                    <a:gd name="connsiteY5" fmla="*/ 203656 h 407859"/>
                    <a:gd name="connsiteX6" fmla="*/ 179064 w 358129"/>
                    <a:gd name="connsiteY6" fmla="*/ 338638 h 407859"/>
                    <a:gd name="connsiteX7" fmla="*/ 289454 w 358129"/>
                    <a:gd name="connsiteY7" fmla="*/ 203656 h 407859"/>
                    <a:gd name="connsiteX8" fmla="*/ 179064 w 358129"/>
                    <a:gd name="connsiteY8" fmla="*/ 69221 h 407859"/>
                    <a:gd name="connsiteX9" fmla="*/ 68128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7" y="407860"/>
                        <a:pt x="179064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8" y="0"/>
                        <a:pt x="179064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128" y="203656"/>
                      </a:moveTo>
                      <a:cubicBezTo>
                        <a:pt x="68128" y="294555"/>
                        <a:pt x="101646" y="338638"/>
                        <a:pt x="179064" y="338638"/>
                      </a:cubicBezTo>
                      <a:cubicBezTo>
                        <a:pt x="256483" y="338638"/>
                        <a:pt x="289454" y="294555"/>
                        <a:pt x="289454" y="203656"/>
                      </a:cubicBezTo>
                      <a:cubicBezTo>
                        <a:pt x="289454" y="112758"/>
                        <a:pt x="255937" y="69221"/>
                        <a:pt x="179064" y="69221"/>
                      </a:cubicBezTo>
                      <a:cubicBezTo>
                        <a:pt x="102192" y="69221"/>
                        <a:pt x="68128" y="113304"/>
                        <a:pt x="68128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717A6D4C-4279-05CE-56E2-891617E11120}"/>
                    </a:ext>
                  </a:extLst>
                </p:cNvPr>
                <p:cNvSpPr/>
                <p:nvPr/>
              </p:nvSpPr>
              <p:spPr>
                <a:xfrm>
                  <a:off x="8744558" y="2759273"/>
                  <a:ext cx="332262" cy="396201"/>
                </a:xfrm>
                <a:custGeom>
                  <a:avLst/>
                  <a:gdLst>
                    <a:gd name="connsiteX0" fmla="*/ 198374 w 332262"/>
                    <a:gd name="connsiteY0" fmla="*/ 182 h 396201"/>
                    <a:gd name="connsiteX1" fmla="*/ 330988 w 332262"/>
                    <a:gd name="connsiteY1" fmla="*/ 106382 h 396201"/>
                    <a:gd name="connsiteX2" fmla="*/ 274700 w 332262"/>
                    <a:gd name="connsiteY2" fmla="*/ 197281 h 396201"/>
                    <a:gd name="connsiteX3" fmla="*/ 332263 w 332262"/>
                    <a:gd name="connsiteY3" fmla="*/ 290001 h 396201"/>
                    <a:gd name="connsiteX4" fmla="*/ 200196 w 332262"/>
                    <a:gd name="connsiteY4" fmla="*/ 396201 h 396201"/>
                    <a:gd name="connsiteX5" fmla="*/ 0 w 332262"/>
                    <a:gd name="connsiteY5" fmla="*/ 396201 h 396201"/>
                    <a:gd name="connsiteX6" fmla="*/ 0 w 332262"/>
                    <a:gd name="connsiteY6" fmla="*/ 326980 h 396201"/>
                    <a:gd name="connsiteX7" fmla="*/ 200196 w 332262"/>
                    <a:gd name="connsiteY7" fmla="*/ 326980 h 396201"/>
                    <a:gd name="connsiteX8" fmla="*/ 260126 w 332262"/>
                    <a:gd name="connsiteY8" fmla="*/ 276521 h 396201"/>
                    <a:gd name="connsiteX9" fmla="*/ 199649 w 332262"/>
                    <a:gd name="connsiteY9" fmla="*/ 228977 h 396201"/>
                    <a:gd name="connsiteX10" fmla="*/ 77601 w 332262"/>
                    <a:gd name="connsiteY10" fmla="*/ 228977 h 396201"/>
                    <a:gd name="connsiteX11" fmla="*/ 77601 w 332262"/>
                    <a:gd name="connsiteY11" fmla="*/ 166131 h 396201"/>
                    <a:gd name="connsiteX12" fmla="*/ 197828 w 332262"/>
                    <a:gd name="connsiteY12" fmla="*/ 166131 h 396201"/>
                    <a:gd name="connsiteX13" fmla="*/ 258305 w 332262"/>
                    <a:gd name="connsiteY13" fmla="*/ 118587 h 396201"/>
                    <a:gd name="connsiteX14" fmla="*/ 198374 w 332262"/>
                    <a:gd name="connsiteY14" fmla="*/ 69403 h 396201"/>
                    <a:gd name="connsiteX15" fmla="*/ 546 w 332262"/>
                    <a:gd name="connsiteY15" fmla="*/ 69403 h 396201"/>
                    <a:gd name="connsiteX16" fmla="*/ 546 w 332262"/>
                    <a:gd name="connsiteY16" fmla="*/ 0 h 396201"/>
                    <a:gd name="connsiteX17" fmla="*/ 198374 w 332262"/>
                    <a:gd name="connsiteY17" fmla="*/ 0 h 39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262" h="396201">
                      <a:moveTo>
                        <a:pt x="198374" y="182"/>
                      </a:moveTo>
                      <a:cubicBezTo>
                        <a:pt x="291641" y="182"/>
                        <a:pt x="330988" y="45358"/>
                        <a:pt x="330988" y="106382"/>
                      </a:cubicBezTo>
                      <a:cubicBezTo>
                        <a:pt x="330988" y="153380"/>
                        <a:pt x="310950" y="182161"/>
                        <a:pt x="274700" y="197281"/>
                      </a:cubicBezTo>
                      <a:cubicBezTo>
                        <a:pt x="312225" y="213129"/>
                        <a:pt x="332263" y="242457"/>
                        <a:pt x="332263" y="290001"/>
                      </a:cubicBezTo>
                      <a:cubicBezTo>
                        <a:pt x="332263" y="349203"/>
                        <a:pt x="293462" y="396201"/>
                        <a:pt x="200196" y="396201"/>
                      </a:cubicBezTo>
                      <a:lnTo>
                        <a:pt x="0" y="396201"/>
                      </a:lnTo>
                      <a:lnTo>
                        <a:pt x="0" y="326980"/>
                      </a:lnTo>
                      <a:lnTo>
                        <a:pt x="200196" y="326980"/>
                      </a:lnTo>
                      <a:cubicBezTo>
                        <a:pt x="240636" y="326980"/>
                        <a:pt x="260126" y="308217"/>
                        <a:pt x="260126" y="276521"/>
                      </a:cubicBezTo>
                      <a:cubicBezTo>
                        <a:pt x="260126" y="244825"/>
                        <a:pt x="239542" y="228977"/>
                        <a:pt x="199649" y="228977"/>
                      </a:cubicBezTo>
                      <a:lnTo>
                        <a:pt x="77601" y="228977"/>
                      </a:lnTo>
                      <a:lnTo>
                        <a:pt x="77601" y="166131"/>
                      </a:lnTo>
                      <a:lnTo>
                        <a:pt x="197828" y="166131"/>
                      </a:lnTo>
                      <a:cubicBezTo>
                        <a:pt x="238267" y="166131"/>
                        <a:pt x="258305" y="151558"/>
                        <a:pt x="258305" y="118587"/>
                      </a:cubicBezTo>
                      <a:cubicBezTo>
                        <a:pt x="258305" y="88713"/>
                        <a:pt x="240089" y="69403"/>
                        <a:pt x="198374" y="69403"/>
                      </a:cubicBezTo>
                      <a:lnTo>
                        <a:pt x="546" y="69403"/>
                      </a:lnTo>
                      <a:lnTo>
                        <a:pt x="546" y="0"/>
                      </a:lnTo>
                      <a:lnTo>
                        <a:pt x="198374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73DBDB21-6F37-45F7-49D8-3C7F38CA84E9}"/>
                    </a:ext>
                  </a:extLst>
                </p:cNvPr>
                <p:cNvSpPr/>
                <p:nvPr/>
              </p:nvSpPr>
              <p:spPr>
                <a:xfrm>
                  <a:off x="9137298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5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5 w 358129"/>
                    <a:gd name="connsiteY3" fmla="*/ 0 h 407859"/>
                    <a:gd name="connsiteX4" fmla="*/ 358129 w 358129"/>
                    <a:gd name="connsiteY4" fmla="*/ 204203 h 407859"/>
                    <a:gd name="connsiteX5" fmla="*/ 68311 w 358129"/>
                    <a:gd name="connsiteY5" fmla="*/ 203656 h 407859"/>
                    <a:gd name="connsiteX6" fmla="*/ 179247 w 358129"/>
                    <a:gd name="connsiteY6" fmla="*/ 338638 h 407859"/>
                    <a:gd name="connsiteX7" fmla="*/ 289637 w 358129"/>
                    <a:gd name="connsiteY7" fmla="*/ 203656 h 407859"/>
                    <a:gd name="connsiteX8" fmla="*/ 179247 w 358129"/>
                    <a:gd name="connsiteY8" fmla="*/ 69221 h 407859"/>
                    <a:gd name="connsiteX9" fmla="*/ 68311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8" y="407860"/>
                        <a:pt x="179065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9" y="0"/>
                        <a:pt x="179065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311" y="203656"/>
                      </a:moveTo>
                      <a:cubicBezTo>
                        <a:pt x="68311" y="294555"/>
                        <a:pt x="101646" y="338638"/>
                        <a:pt x="179247" y="338638"/>
                      </a:cubicBezTo>
                      <a:cubicBezTo>
                        <a:pt x="256848" y="338638"/>
                        <a:pt x="289637" y="294555"/>
                        <a:pt x="289637" y="203656"/>
                      </a:cubicBezTo>
                      <a:cubicBezTo>
                        <a:pt x="289637" y="112758"/>
                        <a:pt x="256301" y="69221"/>
                        <a:pt x="179247" y="69221"/>
                      </a:cubicBezTo>
                      <a:cubicBezTo>
                        <a:pt x="102193" y="69221"/>
                        <a:pt x="68311" y="113304"/>
                        <a:pt x="68311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BBB1B5F-ECE5-ABE9-E321-9961DC9271E3}"/>
                  </a:ext>
                </a:extLst>
              </p:cNvPr>
              <p:cNvSpPr/>
              <p:nvPr/>
            </p:nvSpPr>
            <p:spPr>
              <a:xfrm>
                <a:off x="2752724" y="1340236"/>
                <a:ext cx="2907478" cy="415692"/>
              </a:xfrm>
              <a:custGeom>
                <a:avLst/>
                <a:gdLst>
                  <a:gd name="connsiteX0" fmla="*/ 591296 w 2907478"/>
                  <a:gd name="connsiteY0" fmla="*/ 82701 h 415692"/>
                  <a:gd name="connsiteX1" fmla="*/ 676547 w 2907478"/>
                  <a:gd name="connsiteY1" fmla="*/ 82701 h 415692"/>
                  <a:gd name="connsiteX2" fmla="*/ 766535 w 2907478"/>
                  <a:gd name="connsiteY2" fmla="*/ 277978 h 415692"/>
                  <a:gd name="connsiteX3" fmla="*/ 772729 w 2907478"/>
                  <a:gd name="connsiteY3" fmla="*/ 277978 h 415692"/>
                  <a:gd name="connsiteX4" fmla="*/ 772729 w 2907478"/>
                  <a:gd name="connsiteY4" fmla="*/ 82701 h 415692"/>
                  <a:gd name="connsiteX5" fmla="*/ 821548 w 2907478"/>
                  <a:gd name="connsiteY5" fmla="*/ 82701 h 415692"/>
                  <a:gd name="connsiteX6" fmla="*/ 821548 w 2907478"/>
                  <a:gd name="connsiteY6" fmla="*/ 332991 h 415692"/>
                  <a:gd name="connsiteX7" fmla="*/ 736296 w 2907478"/>
                  <a:gd name="connsiteY7" fmla="*/ 332991 h 415692"/>
                  <a:gd name="connsiteX8" fmla="*/ 645944 w 2907478"/>
                  <a:gd name="connsiteY8" fmla="*/ 137714 h 415692"/>
                  <a:gd name="connsiteX9" fmla="*/ 640115 w 2907478"/>
                  <a:gd name="connsiteY9" fmla="*/ 137714 h 415692"/>
                  <a:gd name="connsiteX10" fmla="*/ 640115 w 2907478"/>
                  <a:gd name="connsiteY10" fmla="*/ 332991 h 415692"/>
                  <a:gd name="connsiteX11" fmla="*/ 591296 w 2907478"/>
                  <a:gd name="connsiteY11" fmla="*/ 332991 h 415692"/>
                  <a:gd name="connsiteX12" fmla="*/ 591296 w 2907478"/>
                  <a:gd name="connsiteY12" fmla="*/ 82701 h 415692"/>
                  <a:gd name="connsiteX13" fmla="*/ 869274 w 2907478"/>
                  <a:gd name="connsiteY13" fmla="*/ 207846 h 415692"/>
                  <a:gd name="connsiteX14" fmla="*/ 997152 w 2907478"/>
                  <a:gd name="connsiteY14" fmla="*/ 76872 h 415692"/>
                  <a:gd name="connsiteX15" fmla="*/ 1113371 w 2907478"/>
                  <a:gd name="connsiteY15" fmla="*/ 174328 h 415692"/>
                  <a:gd name="connsiteX16" fmla="*/ 1063276 w 2907478"/>
                  <a:gd name="connsiteY16" fmla="*/ 174328 h 415692"/>
                  <a:gd name="connsiteX17" fmla="*/ 1010085 w 2907478"/>
                  <a:gd name="connsiteY17" fmla="*/ 122777 h 415692"/>
                  <a:gd name="connsiteX18" fmla="*/ 981850 w 2907478"/>
                  <a:gd name="connsiteY18" fmla="*/ 122777 h 415692"/>
                  <a:gd name="connsiteX19" fmla="*/ 919733 w 2907478"/>
                  <a:gd name="connsiteY19" fmla="*/ 208028 h 415692"/>
                  <a:gd name="connsiteX20" fmla="*/ 981850 w 2907478"/>
                  <a:gd name="connsiteY20" fmla="*/ 293280 h 415692"/>
                  <a:gd name="connsiteX21" fmla="*/ 1010085 w 2907478"/>
                  <a:gd name="connsiteY21" fmla="*/ 293280 h 415692"/>
                  <a:gd name="connsiteX22" fmla="*/ 1064005 w 2907478"/>
                  <a:gd name="connsiteY22" fmla="*/ 241728 h 415692"/>
                  <a:gd name="connsiteX23" fmla="*/ 1114099 w 2907478"/>
                  <a:gd name="connsiteY23" fmla="*/ 241728 h 415692"/>
                  <a:gd name="connsiteX24" fmla="*/ 995512 w 2907478"/>
                  <a:gd name="connsiteY24" fmla="*/ 339185 h 415692"/>
                  <a:gd name="connsiteX25" fmla="*/ 869092 w 2907478"/>
                  <a:gd name="connsiteY25" fmla="*/ 208210 h 415692"/>
                  <a:gd name="connsiteX26" fmla="*/ 1162736 w 2907478"/>
                  <a:gd name="connsiteY26" fmla="*/ 82701 h 415692"/>
                  <a:gd name="connsiteX27" fmla="*/ 1280413 w 2907478"/>
                  <a:gd name="connsiteY27" fmla="*/ 82701 h 415692"/>
                  <a:gd name="connsiteX28" fmla="*/ 1363296 w 2907478"/>
                  <a:gd name="connsiteY28" fmla="*/ 158663 h 415692"/>
                  <a:gd name="connsiteX29" fmla="*/ 1314841 w 2907478"/>
                  <a:gd name="connsiteY29" fmla="*/ 227520 h 415692"/>
                  <a:gd name="connsiteX30" fmla="*/ 1373133 w 2907478"/>
                  <a:gd name="connsiteY30" fmla="*/ 333173 h 415692"/>
                  <a:gd name="connsiteX31" fmla="*/ 1317574 w 2907478"/>
                  <a:gd name="connsiteY31" fmla="*/ 333173 h 415692"/>
                  <a:gd name="connsiteX32" fmla="*/ 1264018 w 2907478"/>
                  <a:gd name="connsiteY32" fmla="*/ 234988 h 415692"/>
                  <a:gd name="connsiteX33" fmla="*/ 1212466 w 2907478"/>
                  <a:gd name="connsiteY33" fmla="*/ 234988 h 415692"/>
                  <a:gd name="connsiteX34" fmla="*/ 1212466 w 2907478"/>
                  <a:gd name="connsiteY34" fmla="*/ 333173 h 415692"/>
                  <a:gd name="connsiteX35" fmla="*/ 1162736 w 2907478"/>
                  <a:gd name="connsiteY35" fmla="*/ 333173 h 415692"/>
                  <a:gd name="connsiteX36" fmla="*/ 1162736 w 2907478"/>
                  <a:gd name="connsiteY36" fmla="*/ 82701 h 415692"/>
                  <a:gd name="connsiteX37" fmla="*/ 1276951 w 2907478"/>
                  <a:gd name="connsiteY37" fmla="*/ 194548 h 415692"/>
                  <a:gd name="connsiteX38" fmla="*/ 1313748 w 2907478"/>
                  <a:gd name="connsiteY38" fmla="*/ 159756 h 415692"/>
                  <a:gd name="connsiteX39" fmla="*/ 1276951 w 2907478"/>
                  <a:gd name="connsiteY39" fmla="*/ 124963 h 415692"/>
                  <a:gd name="connsiteX40" fmla="*/ 1212466 w 2907478"/>
                  <a:gd name="connsiteY40" fmla="*/ 124963 h 415692"/>
                  <a:gd name="connsiteX41" fmla="*/ 1212466 w 2907478"/>
                  <a:gd name="connsiteY41" fmla="*/ 194548 h 415692"/>
                  <a:gd name="connsiteX42" fmla="*/ 1276951 w 2907478"/>
                  <a:gd name="connsiteY42" fmla="*/ 194548 h 415692"/>
                  <a:gd name="connsiteX43" fmla="*/ 1555841 w 2907478"/>
                  <a:gd name="connsiteY43" fmla="*/ 82701 h 415692"/>
                  <a:gd name="connsiteX44" fmla="*/ 1645100 w 2907478"/>
                  <a:gd name="connsiteY44" fmla="*/ 82701 h 415692"/>
                  <a:gd name="connsiteX45" fmla="*/ 1728347 w 2907478"/>
                  <a:gd name="connsiteY45" fmla="*/ 332991 h 415692"/>
                  <a:gd name="connsiteX46" fmla="*/ 1677160 w 2907478"/>
                  <a:gd name="connsiteY46" fmla="*/ 332991 h 415692"/>
                  <a:gd name="connsiteX47" fmla="*/ 1656394 w 2907478"/>
                  <a:gd name="connsiteY47" fmla="*/ 270874 h 415692"/>
                  <a:gd name="connsiteX48" fmla="*/ 1543271 w 2907478"/>
                  <a:gd name="connsiteY48" fmla="*/ 270874 h 415692"/>
                  <a:gd name="connsiteX49" fmla="*/ 1522505 w 2907478"/>
                  <a:gd name="connsiteY49" fmla="*/ 332991 h 415692"/>
                  <a:gd name="connsiteX50" fmla="*/ 1472411 w 2907478"/>
                  <a:gd name="connsiteY50" fmla="*/ 332991 h 415692"/>
                  <a:gd name="connsiteX51" fmla="*/ 1555658 w 2907478"/>
                  <a:gd name="connsiteY51" fmla="*/ 82701 h 415692"/>
                  <a:gd name="connsiteX52" fmla="*/ 1641821 w 2907478"/>
                  <a:gd name="connsiteY52" fmla="*/ 227702 h 415692"/>
                  <a:gd name="connsiteX53" fmla="*/ 1609760 w 2907478"/>
                  <a:gd name="connsiteY53" fmla="*/ 131521 h 415692"/>
                  <a:gd name="connsiteX54" fmla="*/ 1589358 w 2907478"/>
                  <a:gd name="connsiteY54" fmla="*/ 131521 h 415692"/>
                  <a:gd name="connsiteX55" fmla="*/ 1557298 w 2907478"/>
                  <a:gd name="connsiteY55" fmla="*/ 227702 h 415692"/>
                  <a:gd name="connsiteX56" fmla="*/ 1641821 w 2907478"/>
                  <a:gd name="connsiteY56" fmla="*/ 227702 h 415692"/>
                  <a:gd name="connsiteX57" fmla="*/ 1797751 w 2907478"/>
                  <a:gd name="connsiteY57" fmla="*/ 127149 h 415692"/>
                  <a:gd name="connsiteX58" fmla="*/ 1719604 w 2907478"/>
                  <a:gd name="connsiteY58" fmla="*/ 127149 h 415692"/>
                  <a:gd name="connsiteX59" fmla="*/ 1719604 w 2907478"/>
                  <a:gd name="connsiteY59" fmla="*/ 82519 h 415692"/>
                  <a:gd name="connsiteX60" fmla="*/ 1925446 w 2907478"/>
                  <a:gd name="connsiteY60" fmla="*/ 82519 h 415692"/>
                  <a:gd name="connsiteX61" fmla="*/ 1925446 w 2907478"/>
                  <a:gd name="connsiteY61" fmla="*/ 127149 h 415692"/>
                  <a:gd name="connsiteX62" fmla="*/ 1847663 w 2907478"/>
                  <a:gd name="connsiteY62" fmla="*/ 127149 h 415692"/>
                  <a:gd name="connsiteX63" fmla="*/ 1847663 w 2907478"/>
                  <a:gd name="connsiteY63" fmla="*/ 332991 h 415692"/>
                  <a:gd name="connsiteX64" fmla="*/ 1797933 w 2907478"/>
                  <a:gd name="connsiteY64" fmla="*/ 332991 h 415692"/>
                  <a:gd name="connsiteX65" fmla="*/ 1797933 w 2907478"/>
                  <a:gd name="connsiteY65" fmla="*/ 127149 h 415692"/>
                  <a:gd name="connsiteX66" fmla="*/ 1969165 w 2907478"/>
                  <a:gd name="connsiteY66" fmla="*/ 82701 h 415692"/>
                  <a:gd name="connsiteX67" fmla="*/ 2018895 w 2907478"/>
                  <a:gd name="connsiteY67" fmla="*/ 82701 h 415692"/>
                  <a:gd name="connsiteX68" fmla="*/ 2018895 w 2907478"/>
                  <a:gd name="connsiteY68" fmla="*/ 288544 h 415692"/>
                  <a:gd name="connsiteX69" fmla="*/ 2144768 w 2907478"/>
                  <a:gd name="connsiteY69" fmla="*/ 288544 h 415692"/>
                  <a:gd name="connsiteX70" fmla="*/ 2144768 w 2907478"/>
                  <a:gd name="connsiteY70" fmla="*/ 333173 h 415692"/>
                  <a:gd name="connsiteX71" fmla="*/ 1969165 w 2907478"/>
                  <a:gd name="connsiteY71" fmla="*/ 333173 h 415692"/>
                  <a:gd name="connsiteX72" fmla="*/ 1969165 w 2907478"/>
                  <a:gd name="connsiteY72" fmla="*/ 82701 h 415692"/>
                  <a:gd name="connsiteX73" fmla="*/ 2188305 w 2907478"/>
                  <a:gd name="connsiteY73" fmla="*/ 82701 h 415692"/>
                  <a:gd name="connsiteX74" fmla="*/ 2371742 w 2907478"/>
                  <a:gd name="connsiteY74" fmla="*/ 82701 h 415692"/>
                  <a:gd name="connsiteX75" fmla="*/ 2371742 w 2907478"/>
                  <a:gd name="connsiteY75" fmla="*/ 124963 h 415692"/>
                  <a:gd name="connsiteX76" fmla="*/ 2237489 w 2907478"/>
                  <a:gd name="connsiteY76" fmla="*/ 124963 h 415692"/>
                  <a:gd name="connsiteX77" fmla="*/ 2237489 w 2907478"/>
                  <a:gd name="connsiteY77" fmla="*/ 183983 h 415692"/>
                  <a:gd name="connsiteX78" fmla="*/ 2361905 w 2907478"/>
                  <a:gd name="connsiteY78" fmla="*/ 183983 h 415692"/>
                  <a:gd name="connsiteX79" fmla="*/ 2361905 w 2907478"/>
                  <a:gd name="connsiteY79" fmla="*/ 225516 h 415692"/>
                  <a:gd name="connsiteX80" fmla="*/ 2237489 w 2907478"/>
                  <a:gd name="connsiteY80" fmla="*/ 225516 h 415692"/>
                  <a:gd name="connsiteX81" fmla="*/ 2237489 w 2907478"/>
                  <a:gd name="connsiteY81" fmla="*/ 290912 h 415692"/>
                  <a:gd name="connsiteX82" fmla="*/ 2373563 w 2907478"/>
                  <a:gd name="connsiteY82" fmla="*/ 290912 h 415692"/>
                  <a:gd name="connsiteX83" fmla="*/ 2373563 w 2907478"/>
                  <a:gd name="connsiteY83" fmla="*/ 333173 h 415692"/>
                  <a:gd name="connsiteX84" fmla="*/ 2188123 w 2907478"/>
                  <a:gd name="connsiteY84" fmla="*/ 333173 h 415692"/>
                  <a:gd name="connsiteX85" fmla="*/ 2188123 w 2907478"/>
                  <a:gd name="connsiteY85" fmla="*/ 82701 h 415692"/>
                  <a:gd name="connsiteX86" fmla="*/ 2409085 w 2907478"/>
                  <a:gd name="connsiteY86" fmla="*/ 207846 h 415692"/>
                  <a:gd name="connsiteX87" fmla="*/ 2538601 w 2907478"/>
                  <a:gd name="connsiteY87" fmla="*/ 76872 h 415692"/>
                  <a:gd name="connsiteX88" fmla="*/ 2667754 w 2907478"/>
                  <a:gd name="connsiteY88" fmla="*/ 207846 h 415692"/>
                  <a:gd name="connsiteX89" fmla="*/ 2538601 w 2907478"/>
                  <a:gd name="connsiteY89" fmla="*/ 338820 h 415692"/>
                  <a:gd name="connsiteX90" fmla="*/ 2409085 w 2907478"/>
                  <a:gd name="connsiteY90" fmla="*/ 207846 h 415692"/>
                  <a:gd name="connsiteX91" fmla="*/ 2525121 w 2907478"/>
                  <a:gd name="connsiteY91" fmla="*/ 293098 h 415692"/>
                  <a:gd name="connsiteX92" fmla="*/ 2552081 w 2907478"/>
                  <a:gd name="connsiteY92" fmla="*/ 293098 h 415692"/>
                  <a:gd name="connsiteX93" fmla="*/ 2616566 w 2907478"/>
                  <a:gd name="connsiteY93" fmla="*/ 207846 h 415692"/>
                  <a:gd name="connsiteX94" fmla="*/ 2552081 w 2907478"/>
                  <a:gd name="connsiteY94" fmla="*/ 122595 h 415692"/>
                  <a:gd name="connsiteX95" fmla="*/ 2525121 w 2907478"/>
                  <a:gd name="connsiteY95" fmla="*/ 122595 h 415692"/>
                  <a:gd name="connsiteX96" fmla="*/ 2459726 w 2907478"/>
                  <a:gd name="connsiteY96" fmla="*/ 207846 h 415692"/>
                  <a:gd name="connsiteX97" fmla="*/ 2525121 w 2907478"/>
                  <a:gd name="connsiteY97" fmla="*/ 293098 h 415692"/>
                  <a:gd name="connsiteX98" fmla="*/ 2701089 w 2907478"/>
                  <a:gd name="connsiteY98" fmla="*/ 255937 h 415692"/>
                  <a:gd name="connsiteX99" fmla="*/ 2751913 w 2907478"/>
                  <a:gd name="connsiteY99" fmla="*/ 255937 h 415692"/>
                  <a:gd name="connsiteX100" fmla="*/ 2791806 w 2907478"/>
                  <a:gd name="connsiteY100" fmla="*/ 294191 h 415692"/>
                  <a:gd name="connsiteX101" fmla="*/ 2823866 w 2907478"/>
                  <a:gd name="connsiteY101" fmla="*/ 294191 h 415692"/>
                  <a:gd name="connsiteX102" fmla="*/ 2858295 w 2907478"/>
                  <a:gd name="connsiteY102" fmla="*/ 262859 h 415692"/>
                  <a:gd name="connsiteX103" fmla="*/ 2828967 w 2907478"/>
                  <a:gd name="connsiteY103" fmla="*/ 232802 h 415692"/>
                  <a:gd name="connsiteX104" fmla="*/ 2775776 w 2907478"/>
                  <a:gd name="connsiteY104" fmla="*/ 226973 h 415692"/>
                  <a:gd name="connsiteX105" fmla="*/ 2707647 w 2907478"/>
                  <a:gd name="connsiteY105" fmla="*/ 154655 h 415692"/>
                  <a:gd name="connsiteX106" fmla="*/ 2803828 w 2907478"/>
                  <a:gd name="connsiteY106" fmla="*/ 76872 h 415692"/>
                  <a:gd name="connsiteX107" fmla="*/ 2902013 w 2907478"/>
                  <a:gd name="connsiteY107" fmla="*/ 159391 h 415692"/>
                  <a:gd name="connsiteX108" fmla="*/ 2851555 w 2907478"/>
                  <a:gd name="connsiteY108" fmla="*/ 159391 h 415692"/>
                  <a:gd name="connsiteX109" fmla="*/ 2815122 w 2907478"/>
                  <a:gd name="connsiteY109" fmla="*/ 121502 h 415692"/>
                  <a:gd name="connsiteX110" fmla="*/ 2788527 w 2907478"/>
                  <a:gd name="connsiteY110" fmla="*/ 121502 h 415692"/>
                  <a:gd name="connsiteX111" fmla="*/ 2756467 w 2907478"/>
                  <a:gd name="connsiteY111" fmla="*/ 151194 h 415692"/>
                  <a:gd name="connsiteX112" fmla="*/ 2787434 w 2907478"/>
                  <a:gd name="connsiteY112" fmla="*/ 182526 h 415692"/>
                  <a:gd name="connsiteX113" fmla="*/ 2840625 w 2907478"/>
                  <a:gd name="connsiteY113" fmla="*/ 188355 h 415692"/>
                  <a:gd name="connsiteX114" fmla="*/ 2907478 w 2907478"/>
                  <a:gd name="connsiteY114" fmla="*/ 260309 h 415692"/>
                  <a:gd name="connsiteX115" fmla="*/ 2804557 w 2907478"/>
                  <a:gd name="connsiteY115" fmla="*/ 339002 h 415692"/>
                  <a:gd name="connsiteX116" fmla="*/ 2700907 w 2907478"/>
                  <a:gd name="connsiteY116" fmla="*/ 256119 h 415692"/>
                  <a:gd name="connsiteX117" fmla="*/ 207846 w 2907478"/>
                  <a:gd name="connsiteY117" fmla="*/ 0 h 415692"/>
                  <a:gd name="connsiteX118" fmla="*/ 207846 w 2907478"/>
                  <a:gd name="connsiteY118" fmla="*/ 0 h 415692"/>
                  <a:gd name="connsiteX119" fmla="*/ 0 w 2907478"/>
                  <a:gd name="connsiteY119" fmla="*/ 207846 h 415692"/>
                  <a:gd name="connsiteX120" fmla="*/ 207846 w 2907478"/>
                  <a:gd name="connsiteY120" fmla="*/ 415692 h 415692"/>
                  <a:gd name="connsiteX121" fmla="*/ 207846 w 2907478"/>
                  <a:gd name="connsiteY121" fmla="*/ 415692 h 415692"/>
                  <a:gd name="connsiteX122" fmla="*/ 415692 w 2907478"/>
                  <a:gd name="connsiteY122" fmla="*/ 207846 h 415692"/>
                  <a:gd name="connsiteX123" fmla="*/ 207846 w 2907478"/>
                  <a:gd name="connsiteY123" fmla="*/ 0 h 415692"/>
                  <a:gd name="connsiteX124" fmla="*/ 207846 w 2907478"/>
                  <a:gd name="connsiteY124" fmla="*/ 398569 h 415692"/>
                  <a:gd name="connsiteX125" fmla="*/ 142815 w 2907478"/>
                  <a:gd name="connsiteY125" fmla="*/ 353940 h 415692"/>
                  <a:gd name="connsiteX126" fmla="*/ 149919 w 2907478"/>
                  <a:gd name="connsiteY126" fmla="*/ 351389 h 415692"/>
                  <a:gd name="connsiteX127" fmla="*/ 268870 w 2907478"/>
                  <a:gd name="connsiteY127" fmla="*/ 280529 h 415692"/>
                  <a:gd name="connsiteX128" fmla="*/ 307306 w 2907478"/>
                  <a:gd name="connsiteY128" fmla="*/ 244278 h 415692"/>
                  <a:gd name="connsiteX129" fmla="*/ 207846 w 2907478"/>
                  <a:gd name="connsiteY129" fmla="*/ 398569 h 415692"/>
                  <a:gd name="connsiteX130" fmla="*/ 62117 w 2907478"/>
                  <a:gd name="connsiteY130" fmla="*/ 330805 h 415692"/>
                  <a:gd name="connsiteX131" fmla="*/ 61388 w 2907478"/>
                  <a:gd name="connsiteY131" fmla="*/ 330076 h 415692"/>
                  <a:gd name="connsiteX132" fmla="*/ 91263 w 2907478"/>
                  <a:gd name="connsiteY132" fmla="*/ 247193 h 415692"/>
                  <a:gd name="connsiteX133" fmla="*/ 111301 w 2907478"/>
                  <a:gd name="connsiteY133" fmla="*/ 330076 h 415692"/>
                  <a:gd name="connsiteX134" fmla="*/ 62117 w 2907478"/>
                  <a:gd name="connsiteY134" fmla="*/ 330805 h 415692"/>
                  <a:gd name="connsiteX135" fmla="*/ 207846 w 2907478"/>
                  <a:gd name="connsiteY135" fmla="*/ 17123 h 415692"/>
                  <a:gd name="connsiteX136" fmla="*/ 207846 w 2907478"/>
                  <a:gd name="connsiteY136" fmla="*/ 17123 h 415692"/>
                  <a:gd name="connsiteX137" fmla="*/ 272878 w 2907478"/>
                  <a:gd name="connsiteY137" fmla="*/ 61753 h 415692"/>
                  <a:gd name="connsiteX138" fmla="*/ 265774 w 2907478"/>
                  <a:gd name="connsiteY138" fmla="*/ 64303 h 415692"/>
                  <a:gd name="connsiteX139" fmla="*/ 146822 w 2907478"/>
                  <a:gd name="connsiteY139" fmla="*/ 135164 h 415692"/>
                  <a:gd name="connsiteX140" fmla="*/ 108386 w 2907478"/>
                  <a:gd name="connsiteY140" fmla="*/ 171414 h 415692"/>
                  <a:gd name="connsiteX141" fmla="*/ 207846 w 2907478"/>
                  <a:gd name="connsiteY141" fmla="*/ 17123 h 415692"/>
                  <a:gd name="connsiteX142" fmla="*/ 353393 w 2907478"/>
                  <a:gd name="connsiteY142" fmla="*/ 84887 h 415692"/>
                  <a:gd name="connsiteX143" fmla="*/ 354122 w 2907478"/>
                  <a:gd name="connsiteY143" fmla="*/ 85616 h 415692"/>
                  <a:gd name="connsiteX144" fmla="*/ 324247 w 2907478"/>
                  <a:gd name="connsiteY144" fmla="*/ 168499 h 415692"/>
                  <a:gd name="connsiteX145" fmla="*/ 304210 w 2907478"/>
                  <a:gd name="connsiteY145" fmla="*/ 85616 h 415692"/>
                  <a:gd name="connsiteX146" fmla="*/ 353393 w 2907478"/>
                  <a:gd name="connsiteY146" fmla="*/ 84887 h 415692"/>
                  <a:gd name="connsiteX147" fmla="*/ 139171 w 2907478"/>
                  <a:gd name="connsiteY147" fmla="*/ 190177 h 415692"/>
                  <a:gd name="connsiteX148" fmla="*/ 207846 w 2907478"/>
                  <a:gd name="connsiteY148" fmla="*/ 188901 h 415692"/>
                  <a:gd name="connsiteX149" fmla="*/ 306942 w 2907478"/>
                  <a:gd name="connsiteY149" fmla="*/ 191634 h 415692"/>
                  <a:gd name="connsiteX150" fmla="*/ 276521 w 2907478"/>
                  <a:gd name="connsiteY150" fmla="*/ 225334 h 415692"/>
                  <a:gd name="connsiteX151" fmla="*/ 207846 w 2907478"/>
                  <a:gd name="connsiteY151" fmla="*/ 226609 h 415692"/>
                  <a:gd name="connsiteX152" fmla="*/ 108750 w 2907478"/>
                  <a:gd name="connsiteY152" fmla="*/ 223876 h 415692"/>
                  <a:gd name="connsiteX153" fmla="*/ 139171 w 2907478"/>
                  <a:gd name="connsiteY153" fmla="*/ 190177 h 415692"/>
                  <a:gd name="connsiteX154" fmla="*/ 307488 w 2907478"/>
                  <a:gd name="connsiteY154" fmla="*/ 174693 h 415692"/>
                  <a:gd name="connsiteX155" fmla="*/ 207664 w 2907478"/>
                  <a:gd name="connsiteY155" fmla="*/ 171960 h 415692"/>
                  <a:gd name="connsiteX156" fmla="*/ 157570 w 2907478"/>
                  <a:gd name="connsiteY156" fmla="*/ 172689 h 415692"/>
                  <a:gd name="connsiteX157" fmla="*/ 169410 w 2907478"/>
                  <a:gd name="connsiteY157" fmla="*/ 162306 h 415692"/>
                  <a:gd name="connsiteX158" fmla="*/ 247193 w 2907478"/>
                  <a:gd name="connsiteY158" fmla="*/ 109661 h 415692"/>
                  <a:gd name="connsiteX159" fmla="*/ 287815 w 2907478"/>
                  <a:gd name="connsiteY159" fmla="*/ 91445 h 415692"/>
                  <a:gd name="connsiteX160" fmla="*/ 307488 w 2907478"/>
                  <a:gd name="connsiteY160" fmla="*/ 174875 h 415692"/>
                  <a:gd name="connsiteX161" fmla="*/ 68675 w 2907478"/>
                  <a:gd name="connsiteY161" fmla="*/ 220597 h 415692"/>
                  <a:gd name="connsiteX162" fmla="*/ 17123 w 2907478"/>
                  <a:gd name="connsiteY162" fmla="*/ 207664 h 415692"/>
                  <a:gd name="connsiteX163" fmla="*/ 89259 w 2907478"/>
                  <a:gd name="connsiteY163" fmla="*/ 192909 h 415692"/>
                  <a:gd name="connsiteX164" fmla="*/ 68675 w 2907478"/>
                  <a:gd name="connsiteY164" fmla="*/ 220597 h 415692"/>
                  <a:gd name="connsiteX165" fmla="*/ 28235 w 2907478"/>
                  <a:gd name="connsiteY165" fmla="*/ 231709 h 415692"/>
                  <a:gd name="connsiteX166" fmla="*/ 58292 w 2907478"/>
                  <a:gd name="connsiteY166" fmla="*/ 236628 h 415692"/>
                  <a:gd name="connsiteX167" fmla="*/ 56288 w 2907478"/>
                  <a:gd name="connsiteY167" fmla="*/ 239907 h 415692"/>
                  <a:gd name="connsiteX168" fmla="*/ 35886 w 2907478"/>
                  <a:gd name="connsiteY168" fmla="*/ 290547 h 415692"/>
                  <a:gd name="connsiteX169" fmla="*/ 18216 w 2907478"/>
                  <a:gd name="connsiteY169" fmla="*/ 228977 h 415692"/>
                  <a:gd name="connsiteX170" fmla="*/ 28235 w 2907478"/>
                  <a:gd name="connsiteY170" fmla="*/ 231709 h 415692"/>
                  <a:gd name="connsiteX171" fmla="*/ 108022 w 2907478"/>
                  <a:gd name="connsiteY171" fmla="*/ 241000 h 415692"/>
                  <a:gd name="connsiteX172" fmla="*/ 207846 w 2907478"/>
                  <a:gd name="connsiteY172" fmla="*/ 243732 h 415692"/>
                  <a:gd name="connsiteX173" fmla="*/ 257941 w 2907478"/>
                  <a:gd name="connsiteY173" fmla="*/ 243003 h 415692"/>
                  <a:gd name="connsiteX174" fmla="*/ 246100 w 2907478"/>
                  <a:gd name="connsiteY174" fmla="*/ 253387 h 415692"/>
                  <a:gd name="connsiteX175" fmla="*/ 168317 w 2907478"/>
                  <a:gd name="connsiteY175" fmla="*/ 306031 h 415692"/>
                  <a:gd name="connsiteX176" fmla="*/ 127695 w 2907478"/>
                  <a:gd name="connsiteY176" fmla="*/ 324247 h 415692"/>
                  <a:gd name="connsiteX177" fmla="*/ 108022 w 2907478"/>
                  <a:gd name="connsiteY177" fmla="*/ 240817 h 415692"/>
                  <a:gd name="connsiteX178" fmla="*/ 347017 w 2907478"/>
                  <a:gd name="connsiteY178" fmla="*/ 194913 h 415692"/>
                  <a:gd name="connsiteX179" fmla="*/ 398569 w 2907478"/>
                  <a:gd name="connsiteY179" fmla="*/ 207846 h 415692"/>
                  <a:gd name="connsiteX180" fmla="*/ 326433 w 2907478"/>
                  <a:gd name="connsiteY180" fmla="*/ 222601 h 415692"/>
                  <a:gd name="connsiteX181" fmla="*/ 347017 w 2907478"/>
                  <a:gd name="connsiteY181" fmla="*/ 194913 h 415692"/>
                  <a:gd name="connsiteX182" fmla="*/ 387275 w 2907478"/>
                  <a:gd name="connsiteY182" fmla="*/ 183801 h 415692"/>
                  <a:gd name="connsiteX183" fmla="*/ 357219 w 2907478"/>
                  <a:gd name="connsiteY183" fmla="*/ 178882 h 415692"/>
                  <a:gd name="connsiteX184" fmla="*/ 359222 w 2907478"/>
                  <a:gd name="connsiteY184" fmla="*/ 175604 h 415692"/>
                  <a:gd name="connsiteX185" fmla="*/ 379624 w 2907478"/>
                  <a:gd name="connsiteY185" fmla="*/ 124963 h 415692"/>
                  <a:gd name="connsiteX186" fmla="*/ 397294 w 2907478"/>
                  <a:gd name="connsiteY186" fmla="*/ 186533 h 415692"/>
                  <a:gd name="connsiteX187" fmla="*/ 387275 w 2907478"/>
                  <a:gd name="connsiteY187" fmla="*/ 183801 h 415692"/>
                  <a:gd name="connsiteX188" fmla="*/ 318965 w 2907478"/>
                  <a:gd name="connsiteY188" fmla="*/ 53009 h 415692"/>
                  <a:gd name="connsiteX189" fmla="*/ 289819 w 2907478"/>
                  <a:gd name="connsiteY189" fmla="*/ 56652 h 415692"/>
                  <a:gd name="connsiteX190" fmla="*/ 266320 w 2907478"/>
                  <a:gd name="connsiteY190" fmla="*/ 26231 h 415692"/>
                  <a:gd name="connsiteX191" fmla="*/ 318965 w 2907478"/>
                  <a:gd name="connsiteY191" fmla="*/ 53009 h 415692"/>
                  <a:gd name="connsiteX192" fmla="*/ 149372 w 2907478"/>
                  <a:gd name="connsiteY192" fmla="*/ 26413 h 415692"/>
                  <a:gd name="connsiteX193" fmla="*/ 90716 w 2907478"/>
                  <a:gd name="connsiteY193" fmla="*/ 175786 h 415692"/>
                  <a:gd name="connsiteX194" fmla="*/ 71407 w 2907478"/>
                  <a:gd name="connsiteY194" fmla="*/ 177425 h 415692"/>
                  <a:gd name="connsiteX195" fmla="*/ 28417 w 2907478"/>
                  <a:gd name="connsiteY195" fmla="*/ 183801 h 415692"/>
                  <a:gd name="connsiteX196" fmla="*/ 18398 w 2907478"/>
                  <a:gd name="connsiteY196" fmla="*/ 186533 h 415692"/>
                  <a:gd name="connsiteX197" fmla="*/ 149372 w 2907478"/>
                  <a:gd name="connsiteY197" fmla="*/ 26231 h 415692"/>
                  <a:gd name="connsiteX198" fmla="*/ 96546 w 2907478"/>
                  <a:gd name="connsiteY198" fmla="*/ 362501 h 415692"/>
                  <a:gd name="connsiteX199" fmla="*/ 125691 w 2907478"/>
                  <a:gd name="connsiteY199" fmla="*/ 358858 h 415692"/>
                  <a:gd name="connsiteX200" fmla="*/ 149190 w 2907478"/>
                  <a:gd name="connsiteY200" fmla="*/ 389279 h 415692"/>
                  <a:gd name="connsiteX201" fmla="*/ 96546 w 2907478"/>
                  <a:gd name="connsiteY201" fmla="*/ 362501 h 415692"/>
                  <a:gd name="connsiteX202" fmla="*/ 266320 w 2907478"/>
                  <a:gd name="connsiteY202" fmla="*/ 389279 h 415692"/>
                  <a:gd name="connsiteX203" fmla="*/ 324976 w 2907478"/>
                  <a:gd name="connsiteY203" fmla="*/ 239907 h 415692"/>
                  <a:gd name="connsiteX204" fmla="*/ 344285 w 2907478"/>
                  <a:gd name="connsiteY204" fmla="*/ 238267 h 415692"/>
                  <a:gd name="connsiteX205" fmla="*/ 387275 w 2907478"/>
                  <a:gd name="connsiteY205" fmla="*/ 231891 h 415692"/>
                  <a:gd name="connsiteX206" fmla="*/ 397294 w 2907478"/>
                  <a:gd name="connsiteY206" fmla="*/ 229159 h 415692"/>
                  <a:gd name="connsiteX207" fmla="*/ 266320 w 2907478"/>
                  <a:gd name="connsiteY207" fmla="*/ 389461 h 415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</a:cxnLst>
                <a:rect l="l" t="t" r="r" b="b"/>
                <a:pathLst>
                  <a:path w="2907478" h="415692">
                    <a:moveTo>
                      <a:pt x="591296" y="82701"/>
                    </a:moveTo>
                    <a:lnTo>
                      <a:pt x="676547" y="82701"/>
                    </a:lnTo>
                    <a:cubicBezTo>
                      <a:pt x="676547" y="82701"/>
                      <a:pt x="766535" y="277978"/>
                      <a:pt x="766535" y="277978"/>
                    </a:cubicBezTo>
                    <a:lnTo>
                      <a:pt x="772729" y="277978"/>
                    </a:lnTo>
                    <a:lnTo>
                      <a:pt x="772729" y="82701"/>
                    </a:lnTo>
                    <a:lnTo>
                      <a:pt x="821548" y="82701"/>
                    </a:lnTo>
                    <a:lnTo>
                      <a:pt x="821548" y="332991"/>
                    </a:lnTo>
                    <a:lnTo>
                      <a:pt x="736296" y="332991"/>
                    </a:lnTo>
                    <a:lnTo>
                      <a:pt x="645944" y="137714"/>
                    </a:lnTo>
                    <a:lnTo>
                      <a:pt x="640115" y="137714"/>
                    </a:lnTo>
                    <a:lnTo>
                      <a:pt x="640115" y="332991"/>
                    </a:lnTo>
                    <a:lnTo>
                      <a:pt x="591296" y="332991"/>
                    </a:lnTo>
                    <a:lnTo>
                      <a:pt x="591296" y="82701"/>
                    </a:lnTo>
                    <a:close/>
                    <a:moveTo>
                      <a:pt x="869274" y="207846"/>
                    </a:moveTo>
                    <a:cubicBezTo>
                      <a:pt x="869274" y="130063"/>
                      <a:pt x="921372" y="76872"/>
                      <a:pt x="997152" y="76872"/>
                    </a:cubicBezTo>
                    <a:cubicBezTo>
                      <a:pt x="1064369" y="76872"/>
                      <a:pt x="1109727" y="115126"/>
                      <a:pt x="1113371" y="174328"/>
                    </a:cubicBezTo>
                    <a:lnTo>
                      <a:pt x="1063276" y="174328"/>
                    </a:lnTo>
                    <a:cubicBezTo>
                      <a:pt x="1055443" y="138261"/>
                      <a:pt x="1034312" y="122777"/>
                      <a:pt x="1010085" y="122777"/>
                    </a:cubicBezTo>
                    <a:lnTo>
                      <a:pt x="981850" y="122777"/>
                    </a:lnTo>
                    <a:cubicBezTo>
                      <a:pt x="947786" y="122777"/>
                      <a:pt x="919733" y="160302"/>
                      <a:pt x="919733" y="208028"/>
                    </a:cubicBezTo>
                    <a:cubicBezTo>
                      <a:pt x="919733" y="255755"/>
                      <a:pt x="947968" y="293280"/>
                      <a:pt x="981850" y="293280"/>
                    </a:cubicBezTo>
                    <a:lnTo>
                      <a:pt x="1010085" y="293280"/>
                    </a:lnTo>
                    <a:cubicBezTo>
                      <a:pt x="1034312" y="293280"/>
                      <a:pt x="1056172" y="277614"/>
                      <a:pt x="1064005" y="241728"/>
                    </a:cubicBezTo>
                    <a:lnTo>
                      <a:pt x="1114099" y="241728"/>
                    </a:lnTo>
                    <a:cubicBezTo>
                      <a:pt x="1110638" y="299291"/>
                      <a:pt x="1064369" y="339185"/>
                      <a:pt x="995512" y="339185"/>
                    </a:cubicBezTo>
                    <a:cubicBezTo>
                      <a:pt x="923194" y="339185"/>
                      <a:pt x="869092" y="294555"/>
                      <a:pt x="869092" y="208210"/>
                    </a:cubicBezTo>
                    <a:close/>
                    <a:moveTo>
                      <a:pt x="1162736" y="82701"/>
                    </a:moveTo>
                    <a:lnTo>
                      <a:pt x="1280413" y="82701"/>
                    </a:lnTo>
                    <a:cubicBezTo>
                      <a:pt x="1335607" y="82701"/>
                      <a:pt x="1363296" y="118769"/>
                      <a:pt x="1363296" y="158663"/>
                    </a:cubicBezTo>
                    <a:cubicBezTo>
                      <a:pt x="1363296" y="189994"/>
                      <a:pt x="1346173" y="216590"/>
                      <a:pt x="1314841" y="227520"/>
                    </a:cubicBezTo>
                    <a:lnTo>
                      <a:pt x="1373133" y="333173"/>
                    </a:lnTo>
                    <a:lnTo>
                      <a:pt x="1317574" y="333173"/>
                    </a:lnTo>
                    <a:lnTo>
                      <a:pt x="1264018" y="234988"/>
                    </a:lnTo>
                    <a:lnTo>
                      <a:pt x="1212466" y="234988"/>
                    </a:lnTo>
                    <a:lnTo>
                      <a:pt x="1212466" y="333173"/>
                    </a:lnTo>
                    <a:lnTo>
                      <a:pt x="1162736" y="333173"/>
                    </a:lnTo>
                    <a:lnTo>
                      <a:pt x="1162736" y="82701"/>
                    </a:lnTo>
                    <a:close/>
                    <a:moveTo>
                      <a:pt x="1276951" y="194548"/>
                    </a:moveTo>
                    <a:cubicBezTo>
                      <a:pt x="1300086" y="194548"/>
                      <a:pt x="1313748" y="179247"/>
                      <a:pt x="1313748" y="159756"/>
                    </a:cubicBezTo>
                    <a:cubicBezTo>
                      <a:pt x="1313748" y="140264"/>
                      <a:pt x="1300086" y="124963"/>
                      <a:pt x="1276951" y="124963"/>
                    </a:cubicBezTo>
                    <a:lnTo>
                      <a:pt x="1212466" y="124963"/>
                    </a:lnTo>
                    <a:lnTo>
                      <a:pt x="1212466" y="194548"/>
                    </a:lnTo>
                    <a:lnTo>
                      <a:pt x="1276951" y="194548"/>
                    </a:lnTo>
                    <a:close/>
                    <a:moveTo>
                      <a:pt x="1555841" y="82701"/>
                    </a:moveTo>
                    <a:lnTo>
                      <a:pt x="1645100" y="82701"/>
                    </a:lnTo>
                    <a:lnTo>
                      <a:pt x="1728347" y="332991"/>
                    </a:lnTo>
                    <a:lnTo>
                      <a:pt x="1677160" y="332991"/>
                    </a:lnTo>
                    <a:lnTo>
                      <a:pt x="1656394" y="270874"/>
                    </a:lnTo>
                    <a:lnTo>
                      <a:pt x="1543271" y="270874"/>
                    </a:lnTo>
                    <a:lnTo>
                      <a:pt x="1522505" y="332991"/>
                    </a:lnTo>
                    <a:lnTo>
                      <a:pt x="1472411" y="332991"/>
                    </a:lnTo>
                    <a:lnTo>
                      <a:pt x="1555658" y="82701"/>
                    </a:lnTo>
                    <a:close/>
                    <a:moveTo>
                      <a:pt x="1641821" y="227702"/>
                    </a:moveTo>
                    <a:lnTo>
                      <a:pt x="1609760" y="131521"/>
                    </a:lnTo>
                    <a:lnTo>
                      <a:pt x="1589358" y="131521"/>
                    </a:lnTo>
                    <a:lnTo>
                      <a:pt x="1557298" y="227702"/>
                    </a:lnTo>
                    <a:lnTo>
                      <a:pt x="1641821" y="227702"/>
                    </a:lnTo>
                    <a:close/>
                    <a:moveTo>
                      <a:pt x="1797751" y="127149"/>
                    </a:moveTo>
                    <a:lnTo>
                      <a:pt x="1719604" y="127149"/>
                    </a:lnTo>
                    <a:lnTo>
                      <a:pt x="1719604" y="82519"/>
                    </a:lnTo>
                    <a:lnTo>
                      <a:pt x="1925446" y="82519"/>
                    </a:lnTo>
                    <a:lnTo>
                      <a:pt x="1925446" y="127149"/>
                    </a:lnTo>
                    <a:lnTo>
                      <a:pt x="1847663" y="127149"/>
                    </a:lnTo>
                    <a:lnTo>
                      <a:pt x="1847663" y="332991"/>
                    </a:lnTo>
                    <a:lnTo>
                      <a:pt x="1797933" y="332991"/>
                    </a:lnTo>
                    <a:lnTo>
                      <a:pt x="1797933" y="127149"/>
                    </a:lnTo>
                    <a:close/>
                    <a:moveTo>
                      <a:pt x="1969165" y="82701"/>
                    </a:moveTo>
                    <a:lnTo>
                      <a:pt x="2018895" y="82701"/>
                    </a:lnTo>
                    <a:lnTo>
                      <a:pt x="2018895" y="288544"/>
                    </a:lnTo>
                    <a:lnTo>
                      <a:pt x="2144768" y="288544"/>
                    </a:lnTo>
                    <a:lnTo>
                      <a:pt x="2144768" y="333173"/>
                    </a:lnTo>
                    <a:lnTo>
                      <a:pt x="1969165" y="333173"/>
                    </a:lnTo>
                    <a:lnTo>
                      <a:pt x="1969165" y="82701"/>
                    </a:lnTo>
                    <a:close/>
                    <a:moveTo>
                      <a:pt x="2188305" y="82701"/>
                    </a:moveTo>
                    <a:lnTo>
                      <a:pt x="2371742" y="82701"/>
                    </a:lnTo>
                    <a:lnTo>
                      <a:pt x="2371742" y="124963"/>
                    </a:lnTo>
                    <a:lnTo>
                      <a:pt x="2237489" y="124963"/>
                    </a:lnTo>
                    <a:lnTo>
                      <a:pt x="2237489" y="183983"/>
                    </a:lnTo>
                    <a:lnTo>
                      <a:pt x="2361905" y="183983"/>
                    </a:lnTo>
                    <a:lnTo>
                      <a:pt x="2361905" y="225516"/>
                    </a:lnTo>
                    <a:lnTo>
                      <a:pt x="2237489" y="225516"/>
                    </a:lnTo>
                    <a:lnTo>
                      <a:pt x="2237489" y="290912"/>
                    </a:lnTo>
                    <a:lnTo>
                      <a:pt x="2373563" y="290912"/>
                    </a:lnTo>
                    <a:lnTo>
                      <a:pt x="2373563" y="333173"/>
                    </a:lnTo>
                    <a:lnTo>
                      <a:pt x="2188123" y="333173"/>
                    </a:lnTo>
                    <a:lnTo>
                      <a:pt x="2188123" y="82701"/>
                    </a:lnTo>
                    <a:close/>
                    <a:moveTo>
                      <a:pt x="2409085" y="207846"/>
                    </a:moveTo>
                    <a:cubicBezTo>
                      <a:pt x="2409085" y="129699"/>
                      <a:pt x="2461547" y="76872"/>
                      <a:pt x="2538601" y="76872"/>
                    </a:cubicBezTo>
                    <a:cubicBezTo>
                      <a:pt x="2615656" y="76872"/>
                      <a:pt x="2667754" y="129699"/>
                      <a:pt x="2667754" y="207846"/>
                    </a:cubicBezTo>
                    <a:cubicBezTo>
                      <a:pt x="2667754" y="285993"/>
                      <a:pt x="2614927" y="338820"/>
                      <a:pt x="2538601" y="338820"/>
                    </a:cubicBezTo>
                    <a:cubicBezTo>
                      <a:pt x="2462276" y="338820"/>
                      <a:pt x="2409085" y="285993"/>
                      <a:pt x="2409085" y="207846"/>
                    </a:cubicBezTo>
                    <a:close/>
                    <a:moveTo>
                      <a:pt x="2525121" y="293098"/>
                    </a:moveTo>
                    <a:lnTo>
                      <a:pt x="2552081" y="293098"/>
                    </a:lnTo>
                    <a:cubicBezTo>
                      <a:pt x="2588878" y="293098"/>
                      <a:pt x="2616566" y="255572"/>
                      <a:pt x="2616566" y="207846"/>
                    </a:cubicBezTo>
                    <a:cubicBezTo>
                      <a:pt x="2616566" y="160120"/>
                      <a:pt x="2588878" y="122595"/>
                      <a:pt x="2552081" y="122595"/>
                    </a:cubicBezTo>
                    <a:lnTo>
                      <a:pt x="2525121" y="122595"/>
                    </a:lnTo>
                    <a:cubicBezTo>
                      <a:pt x="2487961" y="122595"/>
                      <a:pt x="2459726" y="160849"/>
                      <a:pt x="2459726" y="207846"/>
                    </a:cubicBezTo>
                    <a:cubicBezTo>
                      <a:pt x="2459726" y="254844"/>
                      <a:pt x="2487961" y="293098"/>
                      <a:pt x="2525121" y="293098"/>
                    </a:cubicBezTo>
                    <a:close/>
                    <a:moveTo>
                      <a:pt x="2701089" y="255937"/>
                    </a:moveTo>
                    <a:lnTo>
                      <a:pt x="2751913" y="255937"/>
                    </a:lnTo>
                    <a:cubicBezTo>
                      <a:pt x="2754645" y="277796"/>
                      <a:pt x="2767943" y="294191"/>
                      <a:pt x="2791806" y="294191"/>
                    </a:cubicBezTo>
                    <a:lnTo>
                      <a:pt x="2823866" y="294191"/>
                    </a:lnTo>
                    <a:cubicBezTo>
                      <a:pt x="2845726" y="294191"/>
                      <a:pt x="2858295" y="280893"/>
                      <a:pt x="2858295" y="262859"/>
                    </a:cubicBezTo>
                    <a:cubicBezTo>
                      <a:pt x="2858295" y="246464"/>
                      <a:pt x="2847365" y="234624"/>
                      <a:pt x="2828967" y="232802"/>
                    </a:cubicBezTo>
                    <a:lnTo>
                      <a:pt x="2775776" y="226973"/>
                    </a:lnTo>
                    <a:cubicBezTo>
                      <a:pt x="2730417" y="221873"/>
                      <a:pt x="2707647" y="194913"/>
                      <a:pt x="2707647" y="154655"/>
                    </a:cubicBezTo>
                    <a:cubicBezTo>
                      <a:pt x="2707647" y="105836"/>
                      <a:pt x="2744079" y="76872"/>
                      <a:pt x="2803828" y="76872"/>
                    </a:cubicBezTo>
                    <a:cubicBezTo>
                      <a:pt x="2863577" y="76872"/>
                      <a:pt x="2899645" y="104561"/>
                      <a:pt x="2902013" y="159391"/>
                    </a:cubicBezTo>
                    <a:lnTo>
                      <a:pt x="2851555" y="159391"/>
                    </a:lnTo>
                    <a:cubicBezTo>
                      <a:pt x="2849915" y="140264"/>
                      <a:pt x="2837892" y="121502"/>
                      <a:pt x="2815122" y="121502"/>
                    </a:cubicBezTo>
                    <a:lnTo>
                      <a:pt x="2788527" y="121502"/>
                    </a:lnTo>
                    <a:cubicBezTo>
                      <a:pt x="2769400" y="121502"/>
                      <a:pt x="2756467" y="132796"/>
                      <a:pt x="2756467" y="151194"/>
                    </a:cubicBezTo>
                    <a:cubicBezTo>
                      <a:pt x="2756467" y="169592"/>
                      <a:pt x="2770129" y="180522"/>
                      <a:pt x="2787434" y="182526"/>
                    </a:cubicBezTo>
                    <a:lnTo>
                      <a:pt x="2840625" y="188355"/>
                    </a:lnTo>
                    <a:cubicBezTo>
                      <a:pt x="2883251" y="193091"/>
                      <a:pt x="2907478" y="216954"/>
                      <a:pt x="2907478" y="260309"/>
                    </a:cubicBezTo>
                    <a:cubicBezTo>
                      <a:pt x="2907478" y="309674"/>
                      <a:pt x="2873050" y="339002"/>
                      <a:pt x="2804557" y="339002"/>
                    </a:cubicBezTo>
                    <a:cubicBezTo>
                      <a:pt x="2736064" y="339002"/>
                      <a:pt x="2702000" y="310767"/>
                      <a:pt x="2700907" y="256119"/>
                    </a:cubicBezTo>
                    <a:close/>
                    <a:moveTo>
                      <a:pt x="207846" y="0"/>
                    </a:moveTo>
                    <a:lnTo>
                      <a:pt x="207846" y="0"/>
                    </a:lnTo>
                    <a:cubicBezTo>
                      <a:pt x="93267" y="0"/>
                      <a:pt x="0" y="93267"/>
                      <a:pt x="0" y="207846"/>
                    </a:cubicBezTo>
                    <a:cubicBezTo>
                      <a:pt x="0" y="322426"/>
                      <a:pt x="93267" y="415692"/>
                      <a:pt x="207846" y="415692"/>
                    </a:cubicBezTo>
                    <a:lnTo>
                      <a:pt x="207846" y="415692"/>
                    </a:lnTo>
                    <a:cubicBezTo>
                      <a:pt x="322426" y="415692"/>
                      <a:pt x="415692" y="322426"/>
                      <a:pt x="415692" y="207846"/>
                    </a:cubicBezTo>
                    <a:cubicBezTo>
                      <a:pt x="415692" y="93267"/>
                      <a:pt x="322426" y="0"/>
                      <a:pt x="207846" y="0"/>
                    </a:cubicBezTo>
                    <a:close/>
                    <a:moveTo>
                      <a:pt x="207846" y="398569"/>
                    </a:moveTo>
                    <a:cubicBezTo>
                      <a:pt x="183072" y="398569"/>
                      <a:pt x="160484" y="381810"/>
                      <a:pt x="142815" y="353940"/>
                    </a:cubicBezTo>
                    <a:cubicBezTo>
                      <a:pt x="145183" y="353029"/>
                      <a:pt x="147551" y="352300"/>
                      <a:pt x="149919" y="351389"/>
                    </a:cubicBezTo>
                    <a:cubicBezTo>
                      <a:pt x="192362" y="335541"/>
                      <a:pt x="232984" y="310767"/>
                      <a:pt x="268870" y="280529"/>
                    </a:cubicBezTo>
                    <a:cubicBezTo>
                      <a:pt x="282350" y="269235"/>
                      <a:pt x="295284" y="257030"/>
                      <a:pt x="307306" y="244278"/>
                    </a:cubicBezTo>
                    <a:cubicBezTo>
                      <a:pt x="298198" y="332080"/>
                      <a:pt x="257030" y="398569"/>
                      <a:pt x="207846" y="398569"/>
                    </a:cubicBezTo>
                    <a:close/>
                    <a:moveTo>
                      <a:pt x="62117" y="330805"/>
                    </a:moveTo>
                    <a:cubicBezTo>
                      <a:pt x="62117" y="330805"/>
                      <a:pt x="61571" y="330259"/>
                      <a:pt x="61388" y="330076"/>
                    </a:cubicBezTo>
                    <a:cubicBezTo>
                      <a:pt x="49730" y="314411"/>
                      <a:pt x="74322" y="272149"/>
                      <a:pt x="91263" y="247193"/>
                    </a:cubicBezTo>
                    <a:cubicBezTo>
                      <a:pt x="94542" y="277796"/>
                      <a:pt x="101464" y="306031"/>
                      <a:pt x="111301" y="330076"/>
                    </a:cubicBezTo>
                    <a:cubicBezTo>
                      <a:pt x="90534" y="336452"/>
                      <a:pt x="70314" y="339367"/>
                      <a:pt x="62117" y="330805"/>
                    </a:cubicBezTo>
                    <a:close/>
                    <a:moveTo>
                      <a:pt x="207846" y="17123"/>
                    </a:moveTo>
                    <a:lnTo>
                      <a:pt x="207846" y="17123"/>
                    </a:lnTo>
                    <a:cubicBezTo>
                      <a:pt x="232620" y="17123"/>
                      <a:pt x="255208" y="33882"/>
                      <a:pt x="272878" y="61753"/>
                    </a:cubicBezTo>
                    <a:cubicBezTo>
                      <a:pt x="270510" y="62664"/>
                      <a:pt x="268142" y="63392"/>
                      <a:pt x="265774" y="64303"/>
                    </a:cubicBezTo>
                    <a:cubicBezTo>
                      <a:pt x="223330" y="80151"/>
                      <a:pt x="182708" y="104925"/>
                      <a:pt x="146822" y="135164"/>
                    </a:cubicBezTo>
                    <a:cubicBezTo>
                      <a:pt x="133342" y="146458"/>
                      <a:pt x="120409" y="158663"/>
                      <a:pt x="108386" y="171414"/>
                    </a:cubicBezTo>
                    <a:cubicBezTo>
                      <a:pt x="117494" y="83612"/>
                      <a:pt x="158480" y="17123"/>
                      <a:pt x="207846" y="17123"/>
                    </a:cubicBezTo>
                    <a:close/>
                    <a:moveTo>
                      <a:pt x="353393" y="84887"/>
                    </a:moveTo>
                    <a:cubicBezTo>
                      <a:pt x="353393" y="84887"/>
                      <a:pt x="353940" y="85434"/>
                      <a:pt x="354122" y="85616"/>
                    </a:cubicBezTo>
                    <a:cubicBezTo>
                      <a:pt x="365780" y="101282"/>
                      <a:pt x="341188" y="143543"/>
                      <a:pt x="324247" y="168499"/>
                    </a:cubicBezTo>
                    <a:cubicBezTo>
                      <a:pt x="320968" y="137896"/>
                      <a:pt x="314046" y="109661"/>
                      <a:pt x="304210" y="85616"/>
                    </a:cubicBezTo>
                    <a:cubicBezTo>
                      <a:pt x="324976" y="79240"/>
                      <a:pt x="345196" y="76326"/>
                      <a:pt x="353393" y="84887"/>
                    </a:cubicBezTo>
                    <a:close/>
                    <a:moveTo>
                      <a:pt x="139171" y="190177"/>
                    </a:moveTo>
                    <a:cubicBezTo>
                      <a:pt x="160484" y="189448"/>
                      <a:pt x="183619" y="188901"/>
                      <a:pt x="207846" y="188901"/>
                    </a:cubicBezTo>
                    <a:cubicBezTo>
                      <a:pt x="244096" y="188901"/>
                      <a:pt x="277978" y="189812"/>
                      <a:pt x="306942" y="191634"/>
                    </a:cubicBezTo>
                    <a:cubicBezTo>
                      <a:pt x="297470" y="203292"/>
                      <a:pt x="287269" y="214404"/>
                      <a:pt x="276521" y="225334"/>
                    </a:cubicBezTo>
                    <a:cubicBezTo>
                      <a:pt x="255208" y="226062"/>
                      <a:pt x="232074" y="226609"/>
                      <a:pt x="207846" y="226609"/>
                    </a:cubicBezTo>
                    <a:cubicBezTo>
                      <a:pt x="171596" y="226609"/>
                      <a:pt x="137714" y="225698"/>
                      <a:pt x="108750" y="223876"/>
                    </a:cubicBezTo>
                    <a:cubicBezTo>
                      <a:pt x="118223" y="212218"/>
                      <a:pt x="128424" y="201106"/>
                      <a:pt x="139171" y="190177"/>
                    </a:cubicBezTo>
                    <a:close/>
                    <a:moveTo>
                      <a:pt x="307488" y="174693"/>
                    </a:moveTo>
                    <a:cubicBezTo>
                      <a:pt x="277614" y="172871"/>
                      <a:pt x="243368" y="171960"/>
                      <a:pt x="207664" y="171960"/>
                    </a:cubicBezTo>
                    <a:cubicBezTo>
                      <a:pt x="190541" y="171960"/>
                      <a:pt x="173782" y="172143"/>
                      <a:pt x="157570" y="172689"/>
                    </a:cubicBezTo>
                    <a:cubicBezTo>
                      <a:pt x="161395" y="169228"/>
                      <a:pt x="165403" y="165767"/>
                      <a:pt x="169410" y="162306"/>
                    </a:cubicBezTo>
                    <a:cubicBezTo>
                      <a:pt x="193820" y="142086"/>
                      <a:pt x="220051" y="124416"/>
                      <a:pt x="247193" y="109661"/>
                    </a:cubicBezTo>
                    <a:cubicBezTo>
                      <a:pt x="252658" y="106747"/>
                      <a:pt x="269235" y="98549"/>
                      <a:pt x="287815" y="91445"/>
                    </a:cubicBezTo>
                    <a:cubicBezTo>
                      <a:pt x="297652" y="115308"/>
                      <a:pt x="304574" y="143725"/>
                      <a:pt x="307488" y="174875"/>
                    </a:cubicBezTo>
                    <a:close/>
                    <a:moveTo>
                      <a:pt x="68675" y="220597"/>
                    </a:moveTo>
                    <a:cubicBezTo>
                      <a:pt x="36797" y="217319"/>
                      <a:pt x="17123" y="212765"/>
                      <a:pt x="17123" y="207664"/>
                    </a:cubicBezTo>
                    <a:cubicBezTo>
                      <a:pt x="17123" y="201653"/>
                      <a:pt x="45358" y="196370"/>
                      <a:pt x="89259" y="192909"/>
                    </a:cubicBezTo>
                    <a:cubicBezTo>
                      <a:pt x="81973" y="201835"/>
                      <a:pt x="75050" y="211125"/>
                      <a:pt x="68675" y="220597"/>
                    </a:cubicBezTo>
                    <a:close/>
                    <a:moveTo>
                      <a:pt x="28235" y="231709"/>
                    </a:moveTo>
                    <a:cubicBezTo>
                      <a:pt x="36068" y="233531"/>
                      <a:pt x="46087" y="235170"/>
                      <a:pt x="58292" y="236628"/>
                    </a:cubicBezTo>
                    <a:cubicBezTo>
                      <a:pt x="57563" y="237721"/>
                      <a:pt x="57017" y="238814"/>
                      <a:pt x="56288" y="239907"/>
                    </a:cubicBezTo>
                    <a:cubicBezTo>
                      <a:pt x="47544" y="254844"/>
                      <a:pt x="38800" y="272513"/>
                      <a:pt x="35886" y="290547"/>
                    </a:cubicBezTo>
                    <a:cubicBezTo>
                      <a:pt x="26596" y="271603"/>
                      <a:pt x="20584" y="250836"/>
                      <a:pt x="18216" y="228977"/>
                    </a:cubicBezTo>
                    <a:cubicBezTo>
                      <a:pt x="22042" y="230434"/>
                      <a:pt x="25685" y="231163"/>
                      <a:pt x="28235" y="231709"/>
                    </a:cubicBezTo>
                    <a:close/>
                    <a:moveTo>
                      <a:pt x="108022" y="241000"/>
                    </a:moveTo>
                    <a:cubicBezTo>
                      <a:pt x="137896" y="242821"/>
                      <a:pt x="172143" y="243732"/>
                      <a:pt x="207846" y="243732"/>
                    </a:cubicBezTo>
                    <a:cubicBezTo>
                      <a:pt x="224969" y="243732"/>
                      <a:pt x="241728" y="243550"/>
                      <a:pt x="257941" y="243003"/>
                    </a:cubicBezTo>
                    <a:cubicBezTo>
                      <a:pt x="254115" y="246464"/>
                      <a:pt x="250108" y="249925"/>
                      <a:pt x="246100" y="253387"/>
                    </a:cubicBezTo>
                    <a:cubicBezTo>
                      <a:pt x="221690" y="273606"/>
                      <a:pt x="195459" y="291276"/>
                      <a:pt x="168317" y="306031"/>
                    </a:cubicBezTo>
                    <a:cubicBezTo>
                      <a:pt x="162852" y="308946"/>
                      <a:pt x="146276" y="317143"/>
                      <a:pt x="127695" y="324247"/>
                    </a:cubicBezTo>
                    <a:cubicBezTo>
                      <a:pt x="117858" y="300384"/>
                      <a:pt x="110936" y="271967"/>
                      <a:pt x="108022" y="240817"/>
                    </a:cubicBezTo>
                    <a:close/>
                    <a:moveTo>
                      <a:pt x="347017" y="194913"/>
                    </a:moveTo>
                    <a:cubicBezTo>
                      <a:pt x="378896" y="198192"/>
                      <a:pt x="398569" y="202746"/>
                      <a:pt x="398569" y="207846"/>
                    </a:cubicBezTo>
                    <a:cubicBezTo>
                      <a:pt x="398569" y="213857"/>
                      <a:pt x="370334" y="219140"/>
                      <a:pt x="326433" y="222601"/>
                    </a:cubicBezTo>
                    <a:cubicBezTo>
                      <a:pt x="333720" y="213675"/>
                      <a:pt x="340642" y="204385"/>
                      <a:pt x="347017" y="194913"/>
                    </a:cubicBezTo>
                    <a:close/>
                    <a:moveTo>
                      <a:pt x="387275" y="183801"/>
                    </a:moveTo>
                    <a:cubicBezTo>
                      <a:pt x="379442" y="181979"/>
                      <a:pt x="369423" y="180340"/>
                      <a:pt x="357219" y="178882"/>
                    </a:cubicBezTo>
                    <a:cubicBezTo>
                      <a:pt x="357947" y="177790"/>
                      <a:pt x="358494" y="176697"/>
                      <a:pt x="359222" y="175604"/>
                    </a:cubicBezTo>
                    <a:cubicBezTo>
                      <a:pt x="367966" y="160666"/>
                      <a:pt x="376710" y="142997"/>
                      <a:pt x="379624" y="124963"/>
                    </a:cubicBezTo>
                    <a:cubicBezTo>
                      <a:pt x="388915" y="143908"/>
                      <a:pt x="394926" y="164674"/>
                      <a:pt x="397294" y="186533"/>
                    </a:cubicBezTo>
                    <a:cubicBezTo>
                      <a:pt x="393469" y="185076"/>
                      <a:pt x="389825" y="184347"/>
                      <a:pt x="387275" y="183801"/>
                    </a:cubicBezTo>
                    <a:close/>
                    <a:moveTo>
                      <a:pt x="318965" y="53009"/>
                    </a:moveTo>
                    <a:cubicBezTo>
                      <a:pt x="309310" y="53009"/>
                      <a:pt x="299291" y="54284"/>
                      <a:pt x="289819" y="56652"/>
                    </a:cubicBezTo>
                    <a:cubicBezTo>
                      <a:pt x="282715" y="44812"/>
                      <a:pt x="274882" y="34611"/>
                      <a:pt x="266320" y="26231"/>
                    </a:cubicBezTo>
                    <a:cubicBezTo>
                      <a:pt x="285447" y="32425"/>
                      <a:pt x="303117" y="41533"/>
                      <a:pt x="318965" y="53009"/>
                    </a:cubicBezTo>
                    <a:close/>
                    <a:moveTo>
                      <a:pt x="149372" y="26413"/>
                    </a:moveTo>
                    <a:cubicBezTo>
                      <a:pt x="118405" y="56834"/>
                      <a:pt x="96363" y="110936"/>
                      <a:pt x="90716" y="175786"/>
                    </a:cubicBezTo>
                    <a:cubicBezTo>
                      <a:pt x="83976" y="176332"/>
                      <a:pt x="77419" y="176879"/>
                      <a:pt x="71407" y="177425"/>
                    </a:cubicBezTo>
                    <a:cubicBezTo>
                      <a:pt x="53191" y="179247"/>
                      <a:pt x="38618" y="181433"/>
                      <a:pt x="28417" y="183801"/>
                    </a:cubicBezTo>
                    <a:cubicBezTo>
                      <a:pt x="25867" y="184347"/>
                      <a:pt x="22224" y="185258"/>
                      <a:pt x="18398" y="186533"/>
                    </a:cubicBezTo>
                    <a:cubicBezTo>
                      <a:pt x="26778" y="111118"/>
                      <a:pt x="79240" y="48819"/>
                      <a:pt x="149372" y="26231"/>
                    </a:cubicBezTo>
                    <a:close/>
                    <a:moveTo>
                      <a:pt x="96546" y="362501"/>
                    </a:moveTo>
                    <a:cubicBezTo>
                      <a:pt x="106200" y="362501"/>
                      <a:pt x="116219" y="361226"/>
                      <a:pt x="125691" y="358858"/>
                    </a:cubicBezTo>
                    <a:cubicBezTo>
                      <a:pt x="132796" y="370698"/>
                      <a:pt x="140629" y="380900"/>
                      <a:pt x="149190" y="389279"/>
                    </a:cubicBezTo>
                    <a:cubicBezTo>
                      <a:pt x="130063" y="383085"/>
                      <a:pt x="112394" y="373977"/>
                      <a:pt x="96546" y="362501"/>
                    </a:cubicBezTo>
                    <a:close/>
                    <a:moveTo>
                      <a:pt x="266320" y="389279"/>
                    </a:moveTo>
                    <a:cubicBezTo>
                      <a:pt x="297287" y="358858"/>
                      <a:pt x="319329" y="304756"/>
                      <a:pt x="324976" y="239907"/>
                    </a:cubicBezTo>
                    <a:cubicBezTo>
                      <a:pt x="331716" y="239360"/>
                      <a:pt x="338274" y="238814"/>
                      <a:pt x="344285" y="238267"/>
                    </a:cubicBezTo>
                    <a:cubicBezTo>
                      <a:pt x="362501" y="236445"/>
                      <a:pt x="377074" y="234260"/>
                      <a:pt x="387275" y="231891"/>
                    </a:cubicBezTo>
                    <a:cubicBezTo>
                      <a:pt x="389825" y="231345"/>
                      <a:pt x="393469" y="230434"/>
                      <a:pt x="397294" y="229159"/>
                    </a:cubicBezTo>
                    <a:cubicBezTo>
                      <a:pt x="388915" y="304574"/>
                      <a:pt x="336452" y="366873"/>
                      <a:pt x="266320" y="38946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0161B425-9511-86B6-BC00-45AB09A792BB}"/>
                  </a:ext>
                </a:extLst>
              </p:cNvPr>
              <p:cNvSpPr/>
              <p:nvPr/>
            </p:nvSpPr>
            <p:spPr>
              <a:xfrm>
                <a:off x="7838670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729ABDE6-B9C9-565D-43B9-64733A171BA6}"/>
                  </a:ext>
                </a:extLst>
              </p:cNvPr>
              <p:cNvSpPr/>
              <p:nvPr/>
            </p:nvSpPr>
            <p:spPr>
              <a:xfrm>
                <a:off x="8667869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CD2A8F8-FF01-2B85-8809-E4185028BF8C}"/>
                  </a:ext>
                </a:extLst>
              </p:cNvPr>
              <p:cNvSpPr/>
              <p:nvPr/>
            </p:nvSpPr>
            <p:spPr>
              <a:xfrm>
                <a:off x="8090963" y="2067424"/>
                <a:ext cx="364869" cy="344649"/>
              </a:xfrm>
              <a:custGeom>
                <a:avLst/>
                <a:gdLst>
                  <a:gd name="connsiteX0" fmla="*/ 146822 w 364869"/>
                  <a:gd name="connsiteY0" fmla="*/ 182 h 344649"/>
                  <a:gd name="connsiteX1" fmla="*/ 0 w 364869"/>
                  <a:gd name="connsiteY1" fmla="*/ 173600 h 344649"/>
                  <a:gd name="connsiteX2" fmla="*/ 146822 w 364869"/>
                  <a:gd name="connsiteY2" fmla="*/ 344649 h 344649"/>
                  <a:gd name="connsiteX3" fmla="*/ 218958 w 364869"/>
                  <a:gd name="connsiteY3" fmla="*/ 344649 h 344649"/>
                  <a:gd name="connsiteX4" fmla="*/ 364869 w 364869"/>
                  <a:gd name="connsiteY4" fmla="*/ 172689 h 344649"/>
                  <a:gd name="connsiteX5" fmla="*/ 218958 w 364869"/>
                  <a:gd name="connsiteY5" fmla="*/ 0 h 344649"/>
                  <a:gd name="connsiteX6" fmla="*/ 146822 w 364869"/>
                  <a:gd name="connsiteY6" fmla="*/ 0 h 344649"/>
                  <a:gd name="connsiteX7" fmla="*/ 258123 w 364869"/>
                  <a:gd name="connsiteY7" fmla="*/ 287997 h 344649"/>
                  <a:gd name="connsiteX8" fmla="*/ 277068 w 364869"/>
                  <a:gd name="connsiteY8" fmla="*/ 273789 h 344649"/>
                  <a:gd name="connsiteX9" fmla="*/ 301113 w 364869"/>
                  <a:gd name="connsiteY9" fmla="*/ 218958 h 344649"/>
                  <a:gd name="connsiteX10" fmla="*/ 316961 w 364869"/>
                  <a:gd name="connsiteY10" fmla="*/ 204203 h 344649"/>
                  <a:gd name="connsiteX11" fmla="*/ 331716 w 364869"/>
                  <a:gd name="connsiteY11" fmla="*/ 220233 h 344649"/>
                  <a:gd name="connsiteX12" fmla="*/ 298745 w 364869"/>
                  <a:gd name="connsiteY12" fmla="*/ 295648 h 344649"/>
                  <a:gd name="connsiteX13" fmla="*/ 272514 w 364869"/>
                  <a:gd name="connsiteY13" fmla="*/ 315321 h 344649"/>
                  <a:gd name="connsiteX14" fmla="*/ 265409 w 364869"/>
                  <a:gd name="connsiteY14" fmla="*/ 317143 h 344649"/>
                  <a:gd name="connsiteX15" fmla="*/ 251747 w 364869"/>
                  <a:gd name="connsiteY15" fmla="*/ 308946 h 344649"/>
                  <a:gd name="connsiteX16" fmla="*/ 258123 w 364869"/>
                  <a:gd name="connsiteY16" fmla="*/ 288179 h 344649"/>
                  <a:gd name="connsiteX17" fmla="*/ 258123 w 364869"/>
                  <a:gd name="connsiteY17" fmla="*/ 288179 h 344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4869" h="344649">
                    <a:moveTo>
                      <a:pt x="146822" y="182"/>
                    </a:moveTo>
                    <a:cubicBezTo>
                      <a:pt x="44812" y="182"/>
                      <a:pt x="0" y="51916"/>
                      <a:pt x="0" y="173600"/>
                    </a:cubicBezTo>
                    <a:cubicBezTo>
                      <a:pt x="0" y="295284"/>
                      <a:pt x="43901" y="344649"/>
                      <a:pt x="146822" y="344649"/>
                    </a:cubicBezTo>
                    <a:lnTo>
                      <a:pt x="218958" y="344649"/>
                    </a:lnTo>
                    <a:cubicBezTo>
                      <a:pt x="320969" y="344649"/>
                      <a:pt x="364869" y="294373"/>
                      <a:pt x="364869" y="172689"/>
                    </a:cubicBezTo>
                    <a:cubicBezTo>
                      <a:pt x="364869" y="51005"/>
                      <a:pt x="320969" y="0"/>
                      <a:pt x="218958" y="0"/>
                    </a:cubicBezTo>
                    <a:lnTo>
                      <a:pt x="146822" y="0"/>
                    </a:lnTo>
                    <a:close/>
                    <a:moveTo>
                      <a:pt x="258123" y="287997"/>
                    </a:moveTo>
                    <a:cubicBezTo>
                      <a:pt x="265045" y="284354"/>
                      <a:pt x="271421" y="279618"/>
                      <a:pt x="277068" y="273789"/>
                    </a:cubicBezTo>
                    <a:cubicBezTo>
                      <a:pt x="291823" y="259216"/>
                      <a:pt x="300202" y="239724"/>
                      <a:pt x="301113" y="218958"/>
                    </a:cubicBezTo>
                    <a:cubicBezTo>
                      <a:pt x="301477" y="210396"/>
                      <a:pt x="308764" y="203839"/>
                      <a:pt x="316961" y="204203"/>
                    </a:cubicBezTo>
                    <a:cubicBezTo>
                      <a:pt x="325523" y="204567"/>
                      <a:pt x="332080" y="211672"/>
                      <a:pt x="331716" y="220233"/>
                    </a:cubicBezTo>
                    <a:cubicBezTo>
                      <a:pt x="330623" y="248650"/>
                      <a:pt x="318965" y="275428"/>
                      <a:pt x="298745" y="295648"/>
                    </a:cubicBezTo>
                    <a:cubicBezTo>
                      <a:pt x="290912" y="303481"/>
                      <a:pt x="281986" y="310039"/>
                      <a:pt x="272514" y="315321"/>
                    </a:cubicBezTo>
                    <a:cubicBezTo>
                      <a:pt x="270328" y="316597"/>
                      <a:pt x="267777" y="317143"/>
                      <a:pt x="265409" y="317143"/>
                    </a:cubicBezTo>
                    <a:cubicBezTo>
                      <a:pt x="259945" y="317143"/>
                      <a:pt x="254480" y="314228"/>
                      <a:pt x="251747" y="308946"/>
                    </a:cubicBezTo>
                    <a:cubicBezTo>
                      <a:pt x="247740" y="301477"/>
                      <a:pt x="250472" y="292187"/>
                      <a:pt x="258123" y="288179"/>
                    </a:cubicBezTo>
                    <a:lnTo>
                      <a:pt x="258123" y="288179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591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BE99850-1EBF-1C13-E7E7-B7F44EE7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-5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6209B0-DEAB-F50E-5A08-A19B8494A281}"/>
              </a:ext>
            </a:extLst>
          </p:cNvPr>
          <p:cNvSpPr/>
          <p:nvPr userDrawn="1"/>
        </p:nvSpPr>
        <p:spPr>
          <a:xfrm>
            <a:off x="-1" y="0"/>
            <a:ext cx="12191995" cy="6858000"/>
          </a:xfrm>
          <a:prstGeom prst="rect">
            <a:avLst/>
          </a:prstGeom>
          <a:solidFill>
            <a:schemeClr val="tx2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281681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FA4DC53-C6CD-B0E6-4F67-B69F1423A57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334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BE99850-1EBF-1C13-E7E7-B7F44EE7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-5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6209B0-DEAB-F50E-5A08-A19B8494A281}"/>
              </a:ext>
            </a:extLst>
          </p:cNvPr>
          <p:cNvSpPr/>
          <p:nvPr userDrawn="1"/>
        </p:nvSpPr>
        <p:spPr>
          <a:xfrm>
            <a:off x="-1" y="0"/>
            <a:ext cx="12191995" cy="6858000"/>
          </a:xfrm>
          <a:prstGeom prst="rect">
            <a:avLst/>
          </a:prstGeom>
          <a:solidFill>
            <a:schemeClr val="tx2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281681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FA4DC53-C6CD-B0E6-4F67-B69F1423A57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9770CD89-73C7-3680-9CB7-CF20F11825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11517" y="467149"/>
            <a:ext cx="5024215" cy="5602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363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BE99850-1EBF-1C13-E7E7-B7F44EE7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-5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723AC8-8C1C-9DEA-3DAE-E3824B6E8725}"/>
              </a:ext>
            </a:extLst>
          </p:cNvPr>
          <p:cNvSpPr/>
          <p:nvPr userDrawn="1"/>
        </p:nvSpPr>
        <p:spPr>
          <a:xfrm rot="5400000">
            <a:off x="2666999" y="-2667000"/>
            <a:ext cx="6858000" cy="12192006"/>
          </a:xfrm>
          <a:prstGeom prst="rect">
            <a:avLst/>
          </a:prstGeom>
          <a:gradFill>
            <a:gsLst>
              <a:gs pos="0">
                <a:schemeClr val="tx1"/>
              </a:gs>
              <a:gs pos="30000">
                <a:schemeClr val="tx1">
                  <a:alpha val="59000"/>
                </a:schemeClr>
              </a:gs>
              <a:gs pos="100000">
                <a:schemeClr val="tx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281681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C3234DD8-E861-E728-A6D3-314C674531AC}"/>
              </a:ext>
            </a:extLst>
          </p:cNvPr>
          <p:cNvGrpSpPr/>
          <p:nvPr userDrawn="1"/>
        </p:nvGrpSpPr>
        <p:grpSpPr>
          <a:xfrm>
            <a:off x="6611525" y="467263"/>
            <a:ext cx="5018430" cy="5609652"/>
            <a:chOff x="6611525" y="467263"/>
            <a:chExt cx="5018430" cy="5609652"/>
          </a:xfrm>
        </p:grpSpPr>
        <p:grpSp>
          <p:nvGrpSpPr>
            <p:cNvPr id="37" name="Graphic 8">
              <a:extLst>
                <a:ext uri="{FF2B5EF4-FFF2-40B4-BE49-F238E27FC236}">
                  <a16:creationId xmlns:a16="http://schemas.microsoft.com/office/drawing/2014/main" id="{CF550976-DC06-9ED6-F6EF-F5CA537B47FB}"/>
                </a:ext>
              </a:extLst>
            </p:cNvPr>
            <p:cNvGrpSpPr/>
            <p:nvPr/>
          </p:nvGrpSpPr>
          <p:grpSpPr>
            <a:xfrm>
              <a:off x="6611525" y="5225114"/>
              <a:ext cx="5018430" cy="553158"/>
              <a:chOff x="6611525" y="5225114"/>
              <a:chExt cx="5018430" cy="553158"/>
            </a:xfrm>
            <a:solidFill>
              <a:srgbClr val="789F90"/>
            </a:solidFill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641BB751-FAFD-8DC9-A9AF-0EBAC2781F5A}"/>
                  </a:ext>
                </a:extLst>
              </p:cNvPr>
              <p:cNvSpPr/>
              <p:nvPr/>
            </p:nvSpPr>
            <p:spPr>
              <a:xfrm>
                <a:off x="6611525" y="5225114"/>
                <a:ext cx="841060" cy="553158"/>
              </a:xfrm>
              <a:custGeom>
                <a:avLst/>
                <a:gdLst>
                  <a:gd name="connsiteX0" fmla="*/ 99658 w 841060"/>
                  <a:gd name="connsiteY0" fmla="*/ 543574 h 553158"/>
                  <a:gd name="connsiteX1" fmla="*/ 0 w 841060"/>
                  <a:gd name="connsiteY1" fmla="*/ 543574 h 553158"/>
                  <a:gd name="connsiteX2" fmla="*/ 165436 w 841060"/>
                  <a:gd name="connsiteY2" fmla="*/ 98997 h 553158"/>
                  <a:gd name="connsiteX3" fmla="*/ 291206 w 841060"/>
                  <a:gd name="connsiteY3" fmla="*/ 0 h 553158"/>
                  <a:gd name="connsiteX4" fmla="*/ 409870 w 841060"/>
                  <a:gd name="connsiteY4" fmla="*/ 116350 h 553158"/>
                  <a:gd name="connsiteX5" fmla="*/ 409870 w 841060"/>
                  <a:gd name="connsiteY5" fmla="*/ 432016 h 553158"/>
                  <a:gd name="connsiteX6" fmla="*/ 436809 w 841060"/>
                  <a:gd name="connsiteY6" fmla="*/ 462095 h 553158"/>
                  <a:gd name="connsiteX7" fmla="*/ 466888 w 841060"/>
                  <a:gd name="connsiteY7" fmla="*/ 439949 h 553158"/>
                  <a:gd name="connsiteX8" fmla="*/ 596626 w 841060"/>
                  <a:gd name="connsiteY8" fmla="*/ 99162 h 553158"/>
                  <a:gd name="connsiteX9" fmla="*/ 722396 w 841060"/>
                  <a:gd name="connsiteY9" fmla="*/ 165 h 553158"/>
                  <a:gd name="connsiteX10" fmla="*/ 841060 w 841060"/>
                  <a:gd name="connsiteY10" fmla="*/ 116515 h 553158"/>
                  <a:gd name="connsiteX11" fmla="*/ 841060 w 841060"/>
                  <a:gd name="connsiteY11" fmla="*/ 543574 h 553158"/>
                  <a:gd name="connsiteX12" fmla="*/ 746856 w 841060"/>
                  <a:gd name="connsiteY12" fmla="*/ 543574 h 553158"/>
                  <a:gd name="connsiteX13" fmla="*/ 746856 w 841060"/>
                  <a:gd name="connsiteY13" fmla="*/ 121143 h 553158"/>
                  <a:gd name="connsiteX14" fmla="*/ 719917 w 841060"/>
                  <a:gd name="connsiteY14" fmla="*/ 90402 h 553158"/>
                  <a:gd name="connsiteX15" fmla="*/ 690664 w 841060"/>
                  <a:gd name="connsiteY15" fmla="*/ 113375 h 553158"/>
                  <a:gd name="connsiteX16" fmla="*/ 560927 w 841060"/>
                  <a:gd name="connsiteY16" fmla="*/ 454328 h 553158"/>
                  <a:gd name="connsiteX17" fmla="*/ 434330 w 841060"/>
                  <a:gd name="connsiteY17" fmla="*/ 553159 h 553158"/>
                  <a:gd name="connsiteX18" fmla="*/ 316493 w 841060"/>
                  <a:gd name="connsiteY18" fmla="*/ 435982 h 553158"/>
                  <a:gd name="connsiteX19" fmla="*/ 316493 w 841060"/>
                  <a:gd name="connsiteY19" fmla="*/ 121143 h 553158"/>
                  <a:gd name="connsiteX20" fmla="*/ 288892 w 841060"/>
                  <a:gd name="connsiteY20" fmla="*/ 90402 h 553158"/>
                  <a:gd name="connsiteX21" fmla="*/ 259640 w 841060"/>
                  <a:gd name="connsiteY21" fmla="*/ 113375 h 553158"/>
                  <a:gd name="connsiteX22" fmla="*/ 99823 w 841060"/>
                  <a:gd name="connsiteY22" fmla="*/ 543739 h 553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41060" h="553158">
                    <a:moveTo>
                      <a:pt x="99658" y="543574"/>
                    </a:moveTo>
                    <a:lnTo>
                      <a:pt x="0" y="543574"/>
                    </a:lnTo>
                    <a:lnTo>
                      <a:pt x="165436" y="98997"/>
                    </a:lnTo>
                    <a:cubicBezTo>
                      <a:pt x="185929" y="38012"/>
                      <a:pt x="219975" y="0"/>
                      <a:pt x="291206" y="0"/>
                    </a:cubicBezTo>
                    <a:cubicBezTo>
                      <a:pt x="370371" y="0"/>
                      <a:pt x="409870" y="46606"/>
                      <a:pt x="409870" y="116350"/>
                    </a:cubicBezTo>
                    <a:lnTo>
                      <a:pt x="409870" y="432016"/>
                    </a:lnTo>
                    <a:cubicBezTo>
                      <a:pt x="409870" y="450196"/>
                      <a:pt x="420943" y="462095"/>
                      <a:pt x="436809" y="462095"/>
                    </a:cubicBezTo>
                    <a:cubicBezTo>
                      <a:pt x="451022" y="462095"/>
                      <a:pt x="462096" y="453336"/>
                      <a:pt x="466888" y="439949"/>
                    </a:cubicBezTo>
                    <a:lnTo>
                      <a:pt x="596626" y="99162"/>
                    </a:lnTo>
                    <a:cubicBezTo>
                      <a:pt x="617284" y="38177"/>
                      <a:pt x="651165" y="165"/>
                      <a:pt x="722396" y="165"/>
                    </a:cubicBezTo>
                    <a:cubicBezTo>
                      <a:pt x="801395" y="165"/>
                      <a:pt x="841060" y="46771"/>
                      <a:pt x="841060" y="116515"/>
                    </a:cubicBezTo>
                    <a:lnTo>
                      <a:pt x="841060" y="543574"/>
                    </a:lnTo>
                    <a:lnTo>
                      <a:pt x="746856" y="543574"/>
                    </a:lnTo>
                    <a:lnTo>
                      <a:pt x="746856" y="121143"/>
                    </a:lnTo>
                    <a:cubicBezTo>
                      <a:pt x="746856" y="102137"/>
                      <a:pt x="735783" y="90402"/>
                      <a:pt x="719917" y="90402"/>
                    </a:cubicBezTo>
                    <a:cubicBezTo>
                      <a:pt x="706530" y="90402"/>
                      <a:pt x="695457" y="99823"/>
                      <a:pt x="690664" y="113375"/>
                    </a:cubicBezTo>
                    <a:lnTo>
                      <a:pt x="560927" y="454328"/>
                    </a:lnTo>
                    <a:cubicBezTo>
                      <a:pt x="540268" y="515147"/>
                      <a:pt x="505562" y="553159"/>
                      <a:pt x="434330" y="553159"/>
                    </a:cubicBezTo>
                    <a:cubicBezTo>
                      <a:pt x="355992" y="553159"/>
                      <a:pt x="316493" y="506553"/>
                      <a:pt x="316493" y="435982"/>
                    </a:cubicBezTo>
                    <a:lnTo>
                      <a:pt x="316493" y="121143"/>
                    </a:lnTo>
                    <a:cubicBezTo>
                      <a:pt x="316493" y="102137"/>
                      <a:pt x="304758" y="90402"/>
                      <a:pt x="288892" y="90402"/>
                    </a:cubicBezTo>
                    <a:cubicBezTo>
                      <a:pt x="274514" y="90402"/>
                      <a:pt x="265093" y="99823"/>
                      <a:pt x="259640" y="113375"/>
                    </a:cubicBezTo>
                    <a:lnTo>
                      <a:pt x="99823" y="54373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032C76EB-6D2F-35C6-3EB9-18CF6CD0B104}"/>
                  </a:ext>
                </a:extLst>
              </p:cNvPr>
              <p:cNvSpPr/>
              <p:nvPr/>
            </p:nvSpPr>
            <p:spPr>
              <a:xfrm>
                <a:off x="7524147" y="5225278"/>
                <a:ext cx="590841" cy="543408"/>
              </a:xfrm>
              <a:custGeom>
                <a:avLst/>
                <a:gdLst>
                  <a:gd name="connsiteX0" fmla="*/ 102798 w 590841"/>
                  <a:gd name="connsiteY0" fmla="*/ 543409 h 543408"/>
                  <a:gd name="connsiteX1" fmla="*/ 0 w 590841"/>
                  <a:gd name="connsiteY1" fmla="*/ 543409 h 543408"/>
                  <a:gd name="connsiteX2" fmla="*/ 187416 w 590841"/>
                  <a:gd name="connsiteY2" fmla="*/ 68918 h 543408"/>
                  <a:gd name="connsiteX3" fmla="*/ 299800 w 590841"/>
                  <a:gd name="connsiteY3" fmla="*/ 0 h 543408"/>
                  <a:gd name="connsiteX4" fmla="*/ 410531 w 590841"/>
                  <a:gd name="connsiteY4" fmla="*/ 68918 h 543408"/>
                  <a:gd name="connsiteX5" fmla="*/ 590841 w 590841"/>
                  <a:gd name="connsiteY5" fmla="*/ 543409 h 543408"/>
                  <a:gd name="connsiteX6" fmla="*/ 487217 w 590841"/>
                  <a:gd name="connsiteY6" fmla="*/ 543409 h 543408"/>
                  <a:gd name="connsiteX7" fmla="*/ 325087 w 590841"/>
                  <a:gd name="connsiteY7" fmla="*/ 113871 h 543408"/>
                  <a:gd name="connsiteX8" fmla="*/ 298974 w 590841"/>
                  <a:gd name="connsiteY8" fmla="*/ 95692 h 543408"/>
                  <a:gd name="connsiteX9" fmla="*/ 272035 w 590841"/>
                  <a:gd name="connsiteY9" fmla="*/ 113871 h 543408"/>
                  <a:gd name="connsiteX10" fmla="*/ 102798 w 590841"/>
                  <a:gd name="connsiteY10" fmla="*/ 543409 h 54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0841" h="543408">
                    <a:moveTo>
                      <a:pt x="102798" y="543409"/>
                    </a:moveTo>
                    <a:lnTo>
                      <a:pt x="0" y="543409"/>
                    </a:lnTo>
                    <a:lnTo>
                      <a:pt x="187416" y="68918"/>
                    </a:lnTo>
                    <a:cubicBezTo>
                      <a:pt x="207249" y="19006"/>
                      <a:pt x="243608" y="0"/>
                      <a:pt x="299800" y="0"/>
                    </a:cubicBezTo>
                    <a:cubicBezTo>
                      <a:pt x="355992" y="0"/>
                      <a:pt x="391525" y="19006"/>
                      <a:pt x="410531" y="68918"/>
                    </a:cubicBezTo>
                    <a:lnTo>
                      <a:pt x="590841" y="543409"/>
                    </a:lnTo>
                    <a:lnTo>
                      <a:pt x="487217" y="543409"/>
                    </a:lnTo>
                    <a:lnTo>
                      <a:pt x="325087" y="113871"/>
                    </a:lnTo>
                    <a:cubicBezTo>
                      <a:pt x="320294" y="101145"/>
                      <a:pt x="311700" y="95692"/>
                      <a:pt x="298974" y="95692"/>
                    </a:cubicBezTo>
                    <a:cubicBezTo>
                      <a:pt x="286248" y="95692"/>
                      <a:pt x="277654" y="101145"/>
                      <a:pt x="272035" y="113871"/>
                    </a:cubicBezTo>
                    <a:lnTo>
                      <a:pt x="102798" y="54340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52CBFA36-B7CD-3F83-B223-268CF94E513E}"/>
                  </a:ext>
                </a:extLst>
              </p:cNvPr>
              <p:cNvSpPr/>
              <p:nvPr/>
            </p:nvSpPr>
            <p:spPr>
              <a:xfrm>
                <a:off x="8185062" y="5234699"/>
                <a:ext cx="472177" cy="534153"/>
              </a:xfrm>
              <a:custGeom>
                <a:avLst/>
                <a:gdLst>
                  <a:gd name="connsiteX0" fmla="*/ 289388 w 472177"/>
                  <a:gd name="connsiteY0" fmla="*/ 0 h 534153"/>
                  <a:gd name="connsiteX1" fmla="*/ 461104 w 472177"/>
                  <a:gd name="connsiteY1" fmla="*/ 159817 h 534153"/>
                  <a:gd name="connsiteX2" fmla="*/ 347894 w 472177"/>
                  <a:gd name="connsiteY2" fmla="*/ 320459 h 534153"/>
                  <a:gd name="connsiteX3" fmla="*/ 472177 w 472177"/>
                  <a:gd name="connsiteY3" fmla="*/ 534154 h 534153"/>
                  <a:gd name="connsiteX4" fmla="*/ 368553 w 472177"/>
                  <a:gd name="connsiteY4" fmla="*/ 534154 h 534153"/>
                  <a:gd name="connsiteX5" fmla="*/ 246748 w 472177"/>
                  <a:gd name="connsiteY5" fmla="*/ 327731 h 534153"/>
                  <a:gd name="connsiteX6" fmla="*/ 107591 w 472177"/>
                  <a:gd name="connsiteY6" fmla="*/ 327731 h 534153"/>
                  <a:gd name="connsiteX7" fmla="*/ 94204 w 472177"/>
                  <a:gd name="connsiteY7" fmla="*/ 341118 h 534153"/>
                  <a:gd name="connsiteX8" fmla="*/ 94204 w 472177"/>
                  <a:gd name="connsiteY8" fmla="*/ 534154 h 534153"/>
                  <a:gd name="connsiteX9" fmla="*/ 826 w 472177"/>
                  <a:gd name="connsiteY9" fmla="*/ 534154 h 534153"/>
                  <a:gd name="connsiteX10" fmla="*/ 826 w 472177"/>
                  <a:gd name="connsiteY10" fmla="*/ 322938 h 534153"/>
                  <a:gd name="connsiteX11" fmla="*/ 84618 w 472177"/>
                  <a:gd name="connsiteY11" fmla="*/ 238320 h 534153"/>
                  <a:gd name="connsiteX12" fmla="*/ 292694 w 472177"/>
                  <a:gd name="connsiteY12" fmla="*/ 238320 h 534153"/>
                  <a:gd name="connsiteX13" fmla="*/ 367065 w 472177"/>
                  <a:gd name="connsiteY13" fmla="*/ 163948 h 534153"/>
                  <a:gd name="connsiteX14" fmla="*/ 292694 w 472177"/>
                  <a:gd name="connsiteY14" fmla="*/ 93543 h 534153"/>
                  <a:gd name="connsiteX15" fmla="*/ 0 w 472177"/>
                  <a:gd name="connsiteY15" fmla="*/ 93543 h 534153"/>
                  <a:gd name="connsiteX16" fmla="*/ 0 w 472177"/>
                  <a:gd name="connsiteY16" fmla="*/ 165 h 534153"/>
                  <a:gd name="connsiteX17" fmla="*/ 289388 w 472177"/>
                  <a:gd name="connsiteY17" fmla="*/ 165 h 534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72177" h="534153">
                    <a:moveTo>
                      <a:pt x="289388" y="0"/>
                    </a:moveTo>
                    <a:cubicBezTo>
                      <a:pt x="409705" y="0"/>
                      <a:pt x="461104" y="74372"/>
                      <a:pt x="461104" y="159817"/>
                    </a:cubicBezTo>
                    <a:cubicBezTo>
                      <a:pt x="461104" y="226255"/>
                      <a:pt x="429537" y="297486"/>
                      <a:pt x="347894" y="320459"/>
                    </a:cubicBezTo>
                    <a:lnTo>
                      <a:pt x="472177" y="534154"/>
                    </a:lnTo>
                    <a:lnTo>
                      <a:pt x="368553" y="534154"/>
                    </a:lnTo>
                    <a:lnTo>
                      <a:pt x="246748" y="327731"/>
                    </a:lnTo>
                    <a:lnTo>
                      <a:pt x="107591" y="327731"/>
                    </a:lnTo>
                    <a:cubicBezTo>
                      <a:pt x="98832" y="327731"/>
                      <a:pt x="94204" y="331698"/>
                      <a:pt x="94204" y="341118"/>
                    </a:cubicBezTo>
                    <a:lnTo>
                      <a:pt x="94204" y="534154"/>
                    </a:lnTo>
                    <a:lnTo>
                      <a:pt x="826" y="534154"/>
                    </a:lnTo>
                    <a:lnTo>
                      <a:pt x="826" y="322938"/>
                    </a:lnTo>
                    <a:cubicBezTo>
                      <a:pt x="826" y="262780"/>
                      <a:pt x="26113" y="238320"/>
                      <a:pt x="84618" y="238320"/>
                    </a:cubicBezTo>
                    <a:lnTo>
                      <a:pt x="292694" y="238320"/>
                    </a:lnTo>
                    <a:cubicBezTo>
                      <a:pt x="345745" y="238320"/>
                      <a:pt x="367065" y="201960"/>
                      <a:pt x="367065" y="163948"/>
                    </a:cubicBezTo>
                    <a:cubicBezTo>
                      <a:pt x="367065" y="125936"/>
                      <a:pt x="344093" y="93543"/>
                      <a:pt x="292694" y="93543"/>
                    </a:cubicBezTo>
                    <a:lnTo>
                      <a:pt x="0" y="93543"/>
                    </a:lnTo>
                    <a:lnTo>
                      <a:pt x="0" y="165"/>
                    </a:lnTo>
                    <a:lnTo>
                      <a:pt x="289388" y="165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8432817-3CFD-5DC4-7976-BBDF621FC723}"/>
                  </a:ext>
                </a:extLst>
              </p:cNvPr>
              <p:cNvSpPr/>
              <p:nvPr/>
            </p:nvSpPr>
            <p:spPr>
              <a:xfrm>
                <a:off x="8719381" y="5234699"/>
                <a:ext cx="476804" cy="533988"/>
              </a:xfrm>
              <a:custGeom>
                <a:avLst/>
                <a:gdLst>
                  <a:gd name="connsiteX0" fmla="*/ 436479 w 476804"/>
                  <a:gd name="connsiteY0" fmla="*/ 0 h 533988"/>
                  <a:gd name="connsiteX1" fmla="*/ 436479 w 476804"/>
                  <a:gd name="connsiteY1" fmla="*/ 93378 h 533988"/>
                  <a:gd name="connsiteX2" fmla="*/ 162791 w 476804"/>
                  <a:gd name="connsiteY2" fmla="*/ 93378 h 533988"/>
                  <a:gd name="connsiteX3" fmla="*/ 93212 w 476804"/>
                  <a:gd name="connsiteY3" fmla="*/ 156676 h 533988"/>
                  <a:gd name="connsiteX4" fmla="*/ 172377 w 476804"/>
                  <a:gd name="connsiteY4" fmla="*/ 219975 h 533988"/>
                  <a:gd name="connsiteX5" fmla="*/ 297321 w 476804"/>
                  <a:gd name="connsiteY5" fmla="*/ 219975 h 533988"/>
                  <a:gd name="connsiteX6" fmla="*/ 476805 w 476804"/>
                  <a:gd name="connsiteY6" fmla="*/ 377312 h 533988"/>
                  <a:gd name="connsiteX7" fmla="*/ 306742 w 476804"/>
                  <a:gd name="connsiteY7" fmla="*/ 533988 h 533988"/>
                  <a:gd name="connsiteX8" fmla="*/ 9420 w 476804"/>
                  <a:gd name="connsiteY8" fmla="*/ 533988 h 533988"/>
                  <a:gd name="connsiteX9" fmla="*/ 9420 w 476804"/>
                  <a:gd name="connsiteY9" fmla="*/ 440611 h 533988"/>
                  <a:gd name="connsiteX10" fmla="*/ 310047 w 476804"/>
                  <a:gd name="connsiteY10" fmla="*/ 440611 h 533988"/>
                  <a:gd name="connsiteX11" fmla="*/ 383592 w 476804"/>
                  <a:gd name="connsiteY11" fmla="*/ 374172 h 533988"/>
                  <a:gd name="connsiteX12" fmla="*/ 299800 w 476804"/>
                  <a:gd name="connsiteY12" fmla="*/ 307733 h 533988"/>
                  <a:gd name="connsiteX13" fmla="*/ 175682 w 476804"/>
                  <a:gd name="connsiteY13" fmla="*/ 307733 h 533988"/>
                  <a:gd name="connsiteX14" fmla="*/ 0 w 476804"/>
                  <a:gd name="connsiteY14" fmla="*/ 153536 h 533988"/>
                  <a:gd name="connsiteX15" fmla="*/ 166097 w 476804"/>
                  <a:gd name="connsiteY15" fmla="*/ 0 h 533988"/>
                  <a:gd name="connsiteX16" fmla="*/ 436644 w 476804"/>
                  <a:gd name="connsiteY16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6804" h="533988">
                    <a:moveTo>
                      <a:pt x="436479" y="0"/>
                    </a:moveTo>
                    <a:lnTo>
                      <a:pt x="436479" y="93378"/>
                    </a:lnTo>
                    <a:lnTo>
                      <a:pt x="162791" y="93378"/>
                    </a:lnTo>
                    <a:cubicBezTo>
                      <a:pt x="114532" y="93378"/>
                      <a:pt x="93212" y="119491"/>
                      <a:pt x="93212" y="156676"/>
                    </a:cubicBezTo>
                    <a:cubicBezTo>
                      <a:pt x="93212" y="189069"/>
                      <a:pt x="109905" y="219975"/>
                      <a:pt x="172377" y="219975"/>
                    </a:cubicBezTo>
                    <a:lnTo>
                      <a:pt x="297321" y="219975"/>
                    </a:lnTo>
                    <a:cubicBezTo>
                      <a:pt x="442759" y="219975"/>
                      <a:pt x="476805" y="300627"/>
                      <a:pt x="476805" y="377312"/>
                    </a:cubicBezTo>
                    <a:cubicBezTo>
                      <a:pt x="476805" y="467384"/>
                      <a:pt x="428546" y="533988"/>
                      <a:pt x="306742" y="533988"/>
                    </a:cubicBezTo>
                    <a:lnTo>
                      <a:pt x="9420" y="533988"/>
                    </a:lnTo>
                    <a:lnTo>
                      <a:pt x="9420" y="440611"/>
                    </a:lnTo>
                    <a:lnTo>
                      <a:pt x="310047" y="440611"/>
                    </a:lnTo>
                    <a:cubicBezTo>
                      <a:pt x="360620" y="440611"/>
                      <a:pt x="383592" y="412845"/>
                      <a:pt x="383592" y="374172"/>
                    </a:cubicBezTo>
                    <a:cubicBezTo>
                      <a:pt x="383592" y="339465"/>
                      <a:pt x="365412" y="307733"/>
                      <a:pt x="299800" y="307733"/>
                    </a:cubicBezTo>
                    <a:lnTo>
                      <a:pt x="175682" y="307733"/>
                    </a:lnTo>
                    <a:cubicBezTo>
                      <a:pt x="33219" y="307733"/>
                      <a:pt x="0" y="227908"/>
                      <a:pt x="0" y="153536"/>
                    </a:cubicBezTo>
                    <a:cubicBezTo>
                      <a:pt x="0" y="64951"/>
                      <a:pt x="47598" y="0"/>
                      <a:pt x="166097" y="0"/>
                    </a:cubicBezTo>
                    <a:lnTo>
                      <a:pt x="436644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BD625D9-1975-4C46-2B50-1C4EE01D868D}"/>
                  </a:ext>
                </a:extLst>
              </p:cNvPr>
              <p:cNvSpPr/>
              <p:nvPr/>
            </p:nvSpPr>
            <p:spPr>
              <a:xfrm>
                <a:off x="9483756" y="5234699"/>
                <a:ext cx="484241" cy="533988"/>
              </a:xfrm>
              <a:custGeom>
                <a:avLst/>
                <a:gdLst>
                  <a:gd name="connsiteX0" fmla="*/ 323599 w 484241"/>
                  <a:gd name="connsiteY0" fmla="*/ 0 h 533988"/>
                  <a:gd name="connsiteX1" fmla="*/ 484242 w 484241"/>
                  <a:gd name="connsiteY1" fmla="*/ 151057 h 533988"/>
                  <a:gd name="connsiteX2" fmla="*/ 359959 w 484241"/>
                  <a:gd name="connsiteY2" fmla="*/ 294181 h 533988"/>
                  <a:gd name="connsiteX3" fmla="*/ 137670 w 484241"/>
                  <a:gd name="connsiteY3" fmla="*/ 344093 h 533988"/>
                  <a:gd name="connsiteX4" fmla="*/ 93378 w 484241"/>
                  <a:gd name="connsiteY4" fmla="*/ 402598 h 533988"/>
                  <a:gd name="connsiteX5" fmla="*/ 93378 w 484241"/>
                  <a:gd name="connsiteY5" fmla="*/ 429537 h 533988"/>
                  <a:gd name="connsiteX6" fmla="*/ 103625 w 484241"/>
                  <a:gd name="connsiteY6" fmla="*/ 440611 h 533988"/>
                  <a:gd name="connsiteX7" fmla="*/ 469863 w 484241"/>
                  <a:gd name="connsiteY7" fmla="*/ 440611 h 533988"/>
                  <a:gd name="connsiteX8" fmla="*/ 469863 w 484241"/>
                  <a:gd name="connsiteY8" fmla="*/ 533988 h 533988"/>
                  <a:gd name="connsiteX9" fmla="*/ 44293 w 484241"/>
                  <a:gd name="connsiteY9" fmla="*/ 533988 h 533988"/>
                  <a:gd name="connsiteX10" fmla="*/ 0 w 484241"/>
                  <a:gd name="connsiteY10" fmla="*/ 490522 h 533988"/>
                  <a:gd name="connsiteX11" fmla="*/ 0 w 484241"/>
                  <a:gd name="connsiteY11" fmla="*/ 409870 h 533988"/>
                  <a:gd name="connsiteX12" fmla="*/ 117177 w 484241"/>
                  <a:gd name="connsiteY12" fmla="*/ 256334 h 533988"/>
                  <a:gd name="connsiteX13" fmla="*/ 341779 w 484241"/>
                  <a:gd name="connsiteY13" fmla="*/ 204935 h 533988"/>
                  <a:gd name="connsiteX14" fmla="*/ 391691 w 484241"/>
                  <a:gd name="connsiteY14" fmla="*/ 152710 h 533988"/>
                  <a:gd name="connsiteX15" fmla="*/ 325913 w 484241"/>
                  <a:gd name="connsiteY15" fmla="*/ 93378 h 533988"/>
                  <a:gd name="connsiteX16" fmla="*/ 17353 w 484241"/>
                  <a:gd name="connsiteY16" fmla="*/ 93378 h 533988"/>
                  <a:gd name="connsiteX17" fmla="*/ 17353 w 484241"/>
                  <a:gd name="connsiteY17" fmla="*/ 0 h 533988"/>
                  <a:gd name="connsiteX18" fmla="*/ 323599 w 484241"/>
                  <a:gd name="connsiteY18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4241" h="533988">
                    <a:moveTo>
                      <a:pt x="323599" y="0"/>
                    </a:moveTo>
                    <a:cubicBezTo>
                      <a:pt x="426397" y="0"/>
                      <a:pt x="484242" y="53052"/>
                      <a:pt x="484242" y="151057"/>
                    </a:cubicBezTo>
                    <a:cubicBezTo>
                      <a:pt x="484242" y="230221"/>
                      <a:pt x="446230" y="274514"/>
                      <a:pt x="359959" y="294181"/>
                    </a:cubicBezTo>
                    <a:lnTo>
                      <a:pt x="137670" y="344093"/>
                    </a:lnTo>
                    <a:cubicBezTo>
                      <a:pt x="100650" y="352852"/>
                      <a:pt x="93378" y="372519"/>
                      <a:pt x="93378" y="402598"/>
                    </a:cubicBezTo>
                    <a:lnTo>
                      <a:pt x="93378" y="429537"/>
                    </a:lnTo>
                    <a:cubicBezTo>
                      <a:pt x="93378" y="438296"/>
                      <a:pt x="96518" y="440611"/>
                      <a:pt x="103625" y="440611"/>
                    </a:cubicBezTo>
                    <a:lnTo>
                      <a:pt x="469863" y="440611"/>
                    </a:lnTo>
                    <a:lnTo>
                      <a:pt x="469863" y="533988"/>
                    </a:lnTo>
                    <a:lnTo>
                      <a:pt x="44293" y="533988"/>
                    </a:lnTo>
                    <a:cubicBezTo>
                      <a:pt x="14213" y="533988"/>
                      <a:pt x="0" y="519775"/>
                      <a:pt x="0" y="490522"/>
                    </a:cubicBezTo>
                    <a:lnTo>
                      <a:pt x="0" y="409870"/>
                    </a:lnTo>
                    <a:cubicBezTo>
                      <a:pt x="0" y="322773"/>
                      <a:pt x="26113" y="276993"/>
                      <a:pt x="117177" y="256334"/>
                    </a:cubicBezTo>
                    <a:lnTo>
                      <a:pt x="341779" y="204935"/>
                    </a:lnTo>
                    <a:cubicBezTo>
                      <a:pt x="379791" y="196176"/>
                      <a:pt x="391691" y="177996"/>
                      <a:pt x="391691" y="152710"/>
                    </a:cubicBezTo>
                    <a:cubicBezTo>
                      <a:pt x="391691" y="117011"/>
                      <a:pt x="368718" y="93378"/>
                      <a:pt x="325913" y="93378"/>
                    </a:cubicBezTo>
                    <a:lnTo>
                      <a:pt x="17353" y="93378"/>
                    </a:lnTo>
                    <a:lnTo>
                      <a:pt x="17353" y="0"/>
                    </a:lnTo>
                    <a:lnTo>
                      <a:pt x="323599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91573ED4-8E11-8259-1707-04E03E25C01D}"/>
                  </a:ext>
                </a:extLst>
              </p:cNvPr>
              <p:cNvSpPr/>
              <p:nvPr/>
            </p:nvSpPr>
            <p:spPr>
              <a:xfrm>
                <a:off x="10032122" y="5226931"/>
                <a:ext cx="482589" cy="549688"/>
              </a:xfrm>
              <a:custGeom>
                <a:avLst/>
                <a:gdLst>
                  <a:gd name="connsiteX0" fmla="*/ 482589 w 482589"/>
                  <a:gd name="connsiteY0" fmla="*/ 275175 h 549688"/>
                  <a:gd name="connsiteX1" fmla="*/ 241295 w 482589"/>
                  <a:gd name="connsiteY1" fmla="*/ 549689 h 549688"/>
                  <a:gd name="connsiteX2" fmla="*/ 0 w 482589"/>
                  <a:gd name="connsiteY2" fmla="*/ 275175 h 549688"/>
                  <a:gd name="connsiteX3" fmla="*/ 241295 w 482589"/>
                  <a:gd name="connsiteY3" fmla="*/ 0 h 549688"/>
                  <a:gd name="connsiteX4" fmla="*/ 482589 w 482589"/>
                  <a:gd name="connsiteY4" fmla="*/ 275175 h 549688"/>
                  <a:gd name="connsiteX5" fmla="*/ 91890 w 482589"/>
                  <a:gd name="connsiteY5" fmla="*/ 274514 h 549688"/>
                  <a:gd name="connsiteX6" fmla="*/ 241460 w 482589"/>
                  <a:gd name="connsiteY6" fmla="*/ 456476 h 549688"/>
                  <a:gd name="connsiteX7" fmla="*/ 390203 w 482589"/>
                  <a:gd name="connsiteY7" fmla="*/ 274514 h 549688"/>
                  <a:gd name="connsiteX8" fmla="*/ 241460 w 482589"/>
                  <a:gd name="connsiteY8" fmla="*/ 93378 h 549688"/>
                  <a:gd name="connsiteX9" fmla="*/ 91890 w 482589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9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5" y="549689"/>
                    </a:cubicBezTo>
                    <a:cubicBezTo>
                      <a:pt x="85445" y="549689"/>
                      <a:pt x="0" y="453997"/>
                      <a:pt x="0" y="275175"/>
                    </a:cubicBezTo>
                    <a:cubicBezTo>
                      <a:pt x="0" y="96352"/>
                      <a:pt x="86271" y="0"/>
                      <a:pt x="241295" y="0"/>
                    </a:cubicBezTo>
                    <a:cubicBezTo>
                      <a:pt x="396318" y="0"/>
                      <a:pt x="482589" y="95692"/>
                      <a:pt x="482589" y="275175"/>
                    </a:cubicBezTo>
                    <a:close/>
                    <a:moveTo>
                      <a:pt x="91890" y="274514"/>
                    </a:moveTo>
                    <a:cubicBezTo>
                      <a:pt x="91890" y="397144"/>
                      <a:pt x="137009" y="456476"/>
                      <a:pt x="241460" y="456476"/>
                    </a:cubicBezTo>
                    <a:cubicBezTo>
                      <a:pt x="345910" y="456476"/>
                      <a:pt x="390203" y="397144"/>
                      <a:pt x="390203" y="274514"/>
                    </a:cubicBezTo>
                    <a:cubicBezTo>
                      <a:pt x="390203" y="151883"/>
                      <a:pt x="345084" y="93378"/>
                      <a:pt x="241460" y="93378"/>
                    </a:cubicBezTo>
                    <a:cubicBezTo>
                      <a:pt x="137835" y="93378"/>
                      <a:pt x="91890" y="152710"/>
                      <a:pt x="91890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7B37605-4A50-1226-7594-D2D0F33759A2}"/>
                  </a:ext>
                </a:extLst>
              </p:cNvPr>
              <p:cNvSpPr/>
              <p:nvPr/>
            </p:nvSpPr>
            <p:spPr>
              <a:xfrm>
                <a:off x="10618005" y="5234203"/>
                <a:ext cx="447717" cy="534318"/>
              </a:xfrm>
              <a:custGeom>
                <a:avLst/>
                <a:gdLst>
                  <a:gd name="connsiteX0" fmla="*/ 267242 w 447717"/>
                  <a:gd name="connsiteY0" fmla="*/ 496 h 534318"/>
                  <a:gd name="connsiteX1" fmla="*/ 446064 w 447717"/>
                  <a:gd name="connsiteY1" fmla="*/ 143620 h 534318"/>
                  <a:gd name="connsiteX2" fmla="*/ 370205 w 447717"/>
                  <a:gd name="connsiteY2" fmla="*/ 266250 h 534318"/>
                  <a:gd name="connsiteX3" fmla="*/ 447717 w 447717"/>
                  <a:gd name="connsiteY3" fmla="*/ 391194 h 534318"/>
                  <a:gd name="connsiteX4" fmla="*/ 269721 w 447717"/>
                  <a:gd name="connsiteY4" fmla="*/ 534318 h 534318"/>
                  <a:gd name="connsiteX5" fmla="*/ 0 w 447717"/>
                  <a:gd name="connsiteY5" fmla="*/ 534318 h 534318"/>
                  <a:gd name="connsiteX6" fmla="*/ 0 w 447717"/>
                  <a:gd name="connsiteY6" fmla="*/ 440941 h 534318"/>
                  <a:gd name="connsiteX7" fmla="*/ 269721 w 447717"/>
                  <a:gd name="connsiteY7" fmla="*/ 440941 h 534318"/>
                  <a:gd name="connsiteX8" fmla="*/ 350373 w 447717"/>
                  <a:gd name="connsiteY8" fmla="*/ 372850 h 534318"/>
                  <a:gd name="connsiteX9" fmla="*/ 268895 w 447717"/>
                  <a:gd name="connsiteY9" fmla="*/ 308725 h 534318"/>
                  <a:gd name="connsiteX10" fmla="*/ 104285 w 447717"/>
                  <a:gd name="connsiteY10" fmla="*/ 308725 h 534318"/>
                  <a:gd name="connsiteX11" fmla="*/ 104285 w 447717"/>
                  <a:gd name="connsiteY11" fmla="*/ 223941 h 534318"/>
                  <a:gd name="connsiteX12" fmla="*/ 266416 w 447717"/>
                  <a:gd name="connsiteY12" fmla="*/ 223941 h 534318"/>
                  <a:gd name="connsiteX13" fmla="*/ 347894 w 447717"/>
                  <a:gd name="connsiteY13" fmla="*/ 159816 h 534318"/>
                  <a:gd name="connsiteX14" fmla="*/ 267242 w 447717"/>
                  <a:gd name="connsiteY14" fmla="*/ 93378 h 534318"/>
                  <a:gd name="connsiteX15" fmla="*/ 661 w 447717"/>
                  <a:gd name="connsiteY15" fmla="*/ 93378 h 534318"/>
                  <a:gd name="connsiteX16" fmla="*/ 661 w 447717"/>
                  <a:gd name="connsiteY16" fmla="*/ 0 h 534318"/>
                  <a:gd name="connsiteX17" fmla="*/ 267242 w 447717"/>
                  <a:gd name="connsiteY17" fmla="*/ 0 h 53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7717" h="534318">
                    <a:moveTo>
                      <a:pt x="267242" y="496"/>
                    </a:moveTo>
                    <a:cubicBezTo>
                      <a:pt x="393013" y="496"/>
                      <a:pt x="446064" y="61481"/>
                      <a:pt x="446064" y="143620"/>
                    </a:cubicBezTo>
                    <a:cubicBezTo>
                      <a:pt x="446064" y="206918"/>
                      <a:pt x="419125" y="245757"/>
                      <a:pt x="370205" y="266250"/>
                    </a:cubicBezTo>
                    <a:cubicBezTo>
                      <a:pt x="420778" y="287736"/>
                      <a:pt x="447717" y="327235"/>
                      <a:pt x="447717" y="391194"/>
                    </a:cubicBezTo>
                    <a:cubicBezTo>
                      <a:pt x="447717" y="471020"/>
                      <a:pt x="395492" y="534318"/>
                      <a:pt x="269721" y="534318"/>
                    </a:cubicBezTo>
                    <a:lnTo>
                      <a:pt x="0" y="534318"/>
                    </a:lnTo>
                    <a:lnTo>
                      <a:pt x="0" y="440941"/>
                    </a:lnTo>
                    <a:lnTo>
                      <a:pt x="269721" y="440941"/>
                    </a:lnTo>
                    <a:cubicBezTo>
                      <a:pt x="324260" y="440941"/>
                      <a:pt x="350373" y="415655"/>
                      <a:pt x="350373" y="372850"/>
                    </a:cubicBezTo>
                    <a:cubicBezTo>
                      <a:pt x="350373" y="330045"/>
                      <a:pt x="322608" y="308725"/>
                      <a:pt x="268895" y="308725"/>
                    </a:cubicBezTo>
                    <a:lnTo>
                      <a:pt x="104285" y="308725"/>
                    </a:lnTo>
                    <a:lnTo>
                      <a:pt x="104285" y="223941"/>
                    </a:lnTo>
                    <a:lnTo>
                      <a:pt x="266416" y="223941"/>
                    </a:lnTo>
                    <a:cubicBezTo>
                      <a:pt x="320955" y="223941"/>
                      <a:pt x="347894" y="204274"/>
                      <a:pt x="347894" y="159816"/>
                    </a:cubicBezTo>
                    <a:cubicBezTo>
                      <a:pt x="347894" y="119491"/>
                      <a:pt x="323434" y="93378"/>
                      <a:pt x="267242" y="93378"/>
                    </a:cubicBezTo>
                    <a:lnTo>
                      <a:pt x="661" y="93378"/>
                    </a:lnTo>
                    <a:lnTo>
                      <a:pt x="661" y="0"/>
                    </a:lnTo>
                    <a:lnTo>
                      <a:pt x="267242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844D46D1-6ABC-3254-99FE-E06060E21FF6}"/>
                  </a:ext>
                </a:extLst>
              </p:cNvPr>
              <p:cNvSpPr/>
              <p:nvPr/>
            </p:nvSpPr>
            <p:spPr>
              <a:xfrm>
                <a:off x="11147366" y="5226931"/>
                <a:ext cx="482588" cy="549688"/>
              </a:xfrm>
              <a:custGeom>
                <a:avLst/>
                <a:gdLst>
                  <a:gd name="connsiteX0" fmla="*/ 482589 w 482588"/>
                  <a:gd name="connsiteY0" fmla="*/ 275175 h 549688"/>
                  <a:gd name="connsiteX1" fmla="*/ 241294 w 482588"/>
                  <a:gd name="connsiteY1" fmla="*/ 549689 h 549688"/>
                  <a:gd name="connsiteX2" fmla="*/ 0 w 482588"/>
                  <a:gd name="connsiteY2" fmla="*/ 275175 h 549688"/>
                  <a:gd name="connsiteX3" fmla="*/ 241294 w 482588"/>
                  <a:gd name="connsiteY3" fmla="*/ 0 h 549688"/>
                  <a:gd name="connsiteX4" fmla="*/ 482589 w 482588"/>
                  <a:gd name="connsiteY4" fmla="*/ 275175 h 549688"/>
                  <a:gd name="connsiteX5" fmla="*/ 91725 w 482588"/>
                  <a:gd name="connsiteY5" fmla="*/ 274514 h 549688"/>
                  <a:gd name="connsiteX6" fmla="*/ 241129 w 482588"/>
                  <a:gd name="connsiteY6" fmla="*/ 456476 h 549688"/>
                  <a:gd name="connsiteX7" fmla="*/ 389872 w 482588"/>
                  <a:gd name="connsiteY7" fmla="*/ 274514 h 549688"/>
                  <a:gd name="connsiteX8" fmla="*/ 241129 w 482588"/>
                  <a:gd name="connsiteY8" fmla="*/ 93378 h 549688"/>
                  <a:gd name="connsiteX9" fmla="*/ 91725 w 482588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8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4" y="549689"/>
                    </a:cubicBezTo>
                    <a:cubicBezTo>
                      <a:pt x="85444" y="549689"/>
                      <a:pt x="0" y="453997"/>
                      <a:pt x="0" y="275175"/>
                    </a:cubicBezTo>
                    <a:cubicBezTo>
                      <a:pt x="0" y="96352"/>
                      <a:pt x="86106" y="0"/>
                      <a:pt x="241294" y="0"/>
                    </a:cubicBezTo>
                    <a:cubicBezTo>
                      <a:pt x="396483" y="0"/>
                      <a:pt x="482589" y="95692"/>
                      <a:pt x="482589" y="275175"/>
                    </a:cubicBezTo>
                    <a:close/>
                    <a:moveTo>
                      <a:pt x="91725" y="274514"/>
                    </a:moveTo>
                    <a:cubicBezTo>
                      <a:pt x="91725" y="397144"/>
                      <a:pt x="136678" y="456476"/>
                      <a:pt x="241129" y="456476"/>
                    </a:cubicBezTo>
                    <a:cubicBezTo>
                      <a:pt x="345580" y="456476"/>
                      <a:pt x="389872" y="397144"/>
                      <a:pt x="389872" y="274514"/>
                    </a:cubicBezTo>
                    <a:cubicBezTo>
                      <a:pt x="389872" y="151883"/>
                      <a:pt x="344919" y="93378"/>
                      <a:pt x="241129" y="93378"/>
                    </a:cubicBezTo>
                    <a:cubicBezTo>
                      <a:pt x="137340" y="93378"/>
                      <a:pt x="91725" y="152710"/>
                      <a:pt x="91725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6" name="Graphic 8">
              <a:extLst>
                <a:ext uri="{FF2B5EF4-FFF2-40B4-BE49-F238E27FC236}">
                  <a16:creationId xmlns:a16="http://schemas.microsoft.com/office/drawing/2014/main" id="{D17DF43D-9AE2-A8B1-75AE-7652F8E04E40}"/>
                </a:ext>
              </a:extLst>
            </p:cNvPr>
            <p:cNvGrpSpPr/>
            <p:nvPr/>
          </p:nvGrpSpPr>
          <p:grpSpPr>
            <a:xfrm>
              <a:off x="6611525" y="5883880"/>
              <a:ext cx="5018265" cy="193035"/>
              <a:chOff x="6611525" y="5883880"/>
              <a:chExt cx="5018265" cy="193035"/>
            </a:xfrm>
            <a:solidFill>
              <a:srgbClr val="FFFFFF"/>
            </a:solidFill>
          </p:grpSpPr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6A348FDD-75F5-5182-AC82-B0F373D0F951}"/>
                  </a:ext>
                </a:extLst>
              </p:cNvPr>
              <p:cNvSpPr/>
              <p:nvPr/>
            </p:nvSpPr>
            <p:spPr>
              <a:xfrm>
                <a:off x="6611525" y="5897929"/>
                <a:ext cx="212206" cy="139322"/>
              </a:xfrm>
              <a:custGeom>
                <a:avLst/>
                <a:gdLst>
                  <a:gd name="connsiteX0" fmla="*/ 25121 w 212206"/>
                  <a:gd name="connsiteY0" fmla="*/ 137009 h 139322"/>
                  <a:gd name="connsiteX1" fmla="*/ 0 w 212206"/>
                  <a:gd name="connsiteY1" fmla="*/ 137009 h 139322"/>
                  <a:gd name="connsiteX2" fmla="*/ 41813 w 212206"/>
                  <a:gd name="connsiteY2" fmla="*/ 24955 h 139322"/>
                  <a:gd name="connsiteX3" fmla="*/ 73545 w 212206"/>
                  <a:gd name="connsiteY3" fmla="*/ 0 h 139322"/>
                  <a:gd name="connsiteX4" fmla="*/ 103459 w 212206"/>
                  <a:gd name="connsiteY4" fmla="*/ 29253 h 139322"/>
                  <a:gd name="connsiteX5" fmla="*/ 103459 w 212206"/>
                  <a:gd name="connsiteY5" fmla="*/ 108913 h 139322"/>
                  <a:gd name="connsiteX6" fmla="*/ 110235 w 212206"/>
                  <a:gd name="connsiteY6" fmla="*/ 116515 h 139322"/>
                  <a:gd name="connsiteX7" fmla="*/ 117838 w 212206"/>
                  <a:gd name="connsiteY7" fmla="*/ 110896 h 139322"/>
                  <a:gd name="connsiteX8" fmla="*/ 150561 w 212206"/>
                  <a:gd name="connsiteY8" fmla="*/ 24955 h 139322"/>
                  <a:gd name="connsiteX9" fmla="*/ 182293 w 212206"/>
                  <a:gd name="connsiteY9" fmla="*/ 0 h 139322"/>
                  <a:gd name="connsiteX10" fmla="*/ 212207 w 212206"/>
                  <a:gd name="connsiteY10" fmla="*/ 29253 h 139322"/>
                  <a:gd name="connsiteX11" fmla="*/ 212207 w 212206"/>
                  <a:gd name="connsiteY11" fmla="*/ 137009 h 139322"/>
                  <a:gd name="connsiteX12" fmla="*/ 188408 w 212206"/>
                  <a:gd name="connsiteY12" fmla="*/ 137009 h 139322"/>
                  <a:gd name="connsiteX13" fmla="*/ 188408 w 212206"/>
                  <a:gd name="connsiteY13" fmla="*/ 30410 h 139322"/>
                  <a:gd name="connsiteX14" fmla="*/ 181632 w 212206"/>
                  <a:gd name="connsiteY14" fmla="*/ 22642 h 139322"/>
                  <a:gd name="connsiteX15" fmla="*/ 174195 w 212206"/>
                  <a:gd name="connsiteY15" fmla="*/ 28427 h 139322"/>
                  <a:gd name="connsiteX16" fmla="*/ 141471 w 212206"/>
                  <a:gd name="connsiteY16" fmla="*/ 114367 h 139322"/>
                  <a:gd name="connsiteX17" fmla="*/ 109574 w 212206"/>
                  <a:gd name="connsiteY17" fmla="*/ 139323 h 139322"/>
                  <a:gd name="connsiteX18" fmla="*/ 79826 w 212206"/>
                  <a:gd name="connsiteY18" fmla="*/ 109739 h 139322"/>
                  <a:gd name="connsiteX19" fmla="*/ 79826 w 212206"/>
                  <a:gd name="connsiteY19" fmla="*/ 30410 h 139322"/>
                  <a:gd name="connsiteX20" fmla="*/ 72884 w 212206"/>
                  <a:gd name="connsiteY20" fmla="*/ 22642 h 139322"/>
                  <a:gd name="connsiteX21" fmla="*/ 65447 w 212206"/>
                  <a:gd name="connsiteY21" fmla="*/ 28427 h 139322"/>
                  <a:gd name="connsiteX22" fmla="*/ 25121 w 212206"/>
                  <a:gd name="connsiteY22" fmla="*/ 137009 h 13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12206" h="139322">
                    <a:moveTo>
                      <a:pt x="25121" y="137009"/>
                    </a:moveTo>
                    <a:lnTo>
                      <a:pt x="0" y="137009"/>
                    </a:lnTo>
                    <a:lnTo>
                      <a:pt x="41813" y="24955"/>
                    </a:lnTo>
                    <a:cubicBezTo>
                      <a:pt x="46937" y="9585"/>
                      <a:pt x="55531" y="0"/>
                      <a:pt x="73545" y="0"/>
                    </a:cubicBezTo>
                    <a:cubicBezTo>
                      <a:pt x="93543" y="0"/>
                      <a:pt x="103459" y="11734"/>
                      <a:pt x="103459" y="29253"/>
                    </a:cubicBezTo>
                    <a:lnTo>
                      <a:pt x="103459" y="108913"/>
                    </a:lnTo>
                    <a:cubicBezTo>
                      <a:pt x="103459" y="113541"/>
                      <a:pt x="106269" y="116515"/>
                      <a:pt x="110235" y="116515"/>
                    </a:cubicBezTo>
                    <a:cubicBezTo>
                      <a:pt x="113871" y="116515"/>
                      <a:pt x="116681" y="114367"/>
                      <a:pt x="117838" y="110896"/>
                    </a:cubicBezTo>
                    <a:lnTo>
                      <a:pt x="150561" y="24955"/>
                    </a:lnTo>
                    <a:cubicBezTo>
                      <a:pt x="155685" y="9585"/>
                      <a:pt x="164279" y="0"/>
                      <a:pt x="182293" y="0"/>
                    </a:cubicBezTo>
                    <a:cubicBezTo>
                      <a:pt x="202291" y="0"/>
                      <a:pt x="212207" y="11734"/>
                      <a:pt x="212207" y="29253"/>
                    </a:cubicBezTo>
                    <a:lnTo>
                      <a:pt x="212207" y="137009"/>
                    </a:lnTo>
                    <a:lnTo>
                      <a:pt x="188408" y="137009"/>
                    </a:lnTo>
                    <a:lnTo>
                      <a:pt x="188408" y="30410"/>
                    </a:lnTo>
                    <a:cubicBezTo>
                      <a:pt x="188408" y="25617"/>
                      <a:pt x="185598" y="22642"/>
                      <a:pt x="181632" y="22642"/>
                    </a:cubicBezTo>
                    <a:cubicBezTo>
                      <a:pt x="178161" y="22642"/>
                      <a:pt x="175517" y="24955"/>
                      <a:pt x="174195" y="28427"/>
                    </a:cubicBezTo>
                    <a:lnTo>
                      <a:pt x="141471" y="114367"/>
                    </a:lnTo>
                    <a:cubicBezTo>
                      <a:pt x="136348" y="129737"/>
                      <a:pt x="127423" y="139323"/>
                      <a:pt x="109574" y="139323"/>
                    </a:cubicBezTo>
                    <a:cubicBezTo>
                      <a:pt x="89742" y="139323"/>
                      <a:pt x="79826" y="127589"/>
                      <a:pt x="79826" y="109739"/>
                    </a:cubicBezTo>
                    <a:lnTo>
                      <a:pt x="79826" y="30410"/>
                    </a:lnTo>
                    <a:cubicBezTo>
                      <a:pt x="79826" y="25617"/>
                      <a:pt x="76851" y="22642"/>
                      <a:pt x="72884" y="22642"/>
                    </a:cubicBezTo>
                    <a:cubicBezTo>
                      <a:pt x="69248" y="22642"/>
                      <a:pt x="66934" y="24955"/>
                      <a:pt x="65447" y="28427"/>
                    </a:cubicBezTo>
                    <a:lnTo>
                      <a:pt x="25121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39DFDAC2-8EF6-C0BE-4EB0-4C9465AF5D11}"/>
                  </a:ext>
                </a:extLst>
              </p:cNvPr>
              <p:cNvSpPr/>
              <p:nvPr/>
            </p:nvSpPr>
            <p:spPr>
              <a:xfrm>
                <a:off x="6851662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386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3" y="84949"/>
                      <a:pt x="92386" y="75528"/>
                      <a:pt x="92386" y="52886"/>
                    </a:cubicBezTo>
                    <a:cubicBezTo>
                      <a:pt x="92386" y="30244"/>
                      <a:pt x="84123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7EDE6FAC-5B20-9A02-68C6-11F3A6715B6E}"/>
                  </a:ext>
                </a:extLst>
              </p:cNvPr>
              <p:cNvSpPr/>
              <p:nvPr/>
            </p:nvSpPr>
            <p:spPr>
              <a:xfrm>
                <a:off x="6987184" y="5883880"/>
                <a:ext cx="113705" cy="151057"/>
              </a:xfrm>
              <a:custGeom>
                <a:avLst/>
                <a:gdLst>
                  <a:gd name="connsiteX0" fmla="*/ 113541 w 113705"/>
                  <a:gd name="connsiteY0" fmla="*/ 0 h 151057"/>
                  <a:gd name="connsiteX1" fmla="*/ 113541 w 113705"/>
                  <a:gd name="connsiteY1" fmla="*/ 105938 h 151057"/>
                  <a:gd name="connsiteX2" fmla="*/ 74867 w 113705"/>
                  <a:gd name="connsiteY2" fmla="*/ 151057 h 151057"/>
                  <a:gd name="connsiteX3" fmla="*/ 45780 w 113705"/>
                  <a:gd name="connsiteY3" fmla="*/ 151057 h 151057"/>
                  <a:gd name="connsiteX4" fmla="*/ 0 w 113705"/>
                  <a:gd name="connsiteY4" fmla="*/ 98336 h 151057"/>
                  <a:gd name="connsiteX5" fmla="*/ 45780 w 113705"/>
                  <a:gd name="connsiteY5" fmla="*/ 45615 h 151057"/>
                  <a:gd name="connsiteX6" fmla="*/ 92386 w 113705"/>
                  <a:gd name="connsiteY6" fmla="*/ 45615 h 151057"/>
                  <a:gd name="connsiteX7" fmla="*/ 92386 w 113705"/>
                  <a:gd name="connsiteY7" fmla="*/ 0 h 151057"/>
                  <a:gd name="connsiteX8" fmla="*/ 113706 w 113705"/>
                  <a:gd name="connsiteY8" fmla="*/ 0 h 151057"/>
                  <a:gd name="connsiteX9" fmla="*/ 92221 w 113705"/>
                  <a:gd name="connsiteY9" fmla="*/ 104947 h 151057"/>
                  <a:gd name="connsiteX10" fmla="*/ 92221 w 113705"/>
                  <a:gd name="connsiteY10" fmla="*/ 66108 h 151057"/>
                  <a:gd name="connsiteX11" fmla="*/ 47598 w 113705"/>
                  <a:gd name="connsiteY11" fmla="*/ 66108 h 151057"/>
                  <a:gd name="connsiteX12" fmla="*/ 21320 w 113705"/>
                  <a:gd name="connsiteY12" fmla="*/ 98501 h 151057"/>
                  <a:gd name="connsiteX13" fmla="*/ 47598 w 113705"/>
                  <a:gd name="connsiteY13" fmla="*/ 130563 h 151057"/>
                  <a:gd name="connsiteX14" fmla="*/ 68587 w 113705"/>
                  <a:gd name="connsiteY14" fmla="*/ 130563 h 151057"/>
                  <a:gd name="connsiteX15" fmla="*/ 92221 w 113705"/>
                  <a:gd name="connsiteY15" fmla="*/ 105112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705" h="151057">
                    <a:moveTo>
                      <a:pt x="113541" y="0"/>
                    </a:moveTo>
                    <a:lnTo>
                      <a:pt x="113541" y="105938"/>
                    </a:lnTo>
                    <a:cubicBezTo>
                      <a:pt x="113541" y="136183"/>
                      <a:pt x="99989" y="151057"/>
                      <a:pt x="74867" y="151057"/>
                    </a:cubicBezTo>
                    <a:lnTo>
                      <a:pt x="45780" y="151057"/>
                    </a:lnTo>
                    <a:cubicBezTo>
                      <a:pt x="17684" y="151057"/>
                      <a:pt x="0" y="133869"/>
                      <a:pt x="0" y="98336"/>
                    </a:cubicBezTo>
                    <a:cubicBezTo>
                      <a:pt x="0" y="62802"/>
                      <a:pt x="17519" y="45615"/>
                      <a:pt x="45780" y="45615"/>
                    </a:cubicBezTo>
                    <a:lnTo>
                      <a:pt x="92386" y="45615"/>
                    </a:lnTo>
                    <a:lnTo>
                      <a:pt x="92386" y="0"/>
                    </a:lnTo>
                    <a:lnTo>
                      <a:pt x="113706" y="0"/>
                    </a:lnTo>
                    <a:close/>
                    <a:moveTo>
                      <a:pt x="92221" y="104947"/>
                    </a:moveTo>
                    <a:lnTo>
                      <a:pt x="92221" y="66108"/>
                    </a:lnTo>
                    <a:lnTo>
                      <a:pt x="47598" y="66108"/>
                    </a:lnTo>
                    <a:cubicBezTo>
                      <a:pt x="29418" y="66108"/>
                      <a:pt x="21320" y="75694"/>
                      <a:pt x="21320" y="98501"/>
                    </a:cubicBezTo>
                    <a:cubicBezTo>
                      <a:pt x="21320" y="121308"/>
                      <a:pt x="29583" y="130563"/>
                      <a:pt x="47598" y="130563"/>
                    </a:cubicBezTo>
                    <a:lnTo>
                      <a:pt x="68587" y="130563"/>
                    </a:lnTo>
                    <a:cubicBezTo>
                      <a:pt x="85610" y="130563"/>
                      <a:pt x="92221" y="122961"/>
                      <a:pt x="92221" y="1051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3CFDA86-42BD-334A-AB2C-2824845E1EDD}"/>
                  </a:ext>
                </a:extLst>
              </p:cNvPr>
              <p:cNvSpPr/>
              <p:nvPr/>
            </p:nvSpPr>
            <p:spPr>
              <a:xfrm>
                <a:off x="7130308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525 w 106268"/>
                  <a:gd name="connsiteY17" fmla="*/ 20328 h 105277"/>
                  <a:gd name="connsiteX18" fmla="*/ 20328 w 106268"/>
                  <a:gd name="connsiteY18" fmla="*/ 34872 h 105277"/>
                  <a:gd name="connsiteX19" fmla="*/ 20328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28BEEFA5-A5B5-1C4F-D6EB-2DD9E6726A3A}"/>
                  </a:ext>
                </a:extLst>
              </p:cNvPr>
              <p:cNvSpPr/>
              <p:nvPr/>
            </p:nvSpPr>
            <p:spPr>
              <a:xfrm>
                <a:off x="7263681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2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2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963ABDF-00D8-7A76-DF53-DFA6619CEEF2}"/>
                  </a:ext>
                </a:extLst>
              </p:cNvPr>
              <p:cNvSpPr/>
              <p:nvPr/>
            </p:nvSpPr>
            <p:spPr>
              <a:xfrm>
                <a:off x="735772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F4023BE9-8F01-6B29-EAE5-3BFEC12DB638}"/>
                  </a:ext>
                </a:extLst>
              </p:cNvPr>
              <p:cNvSpPr/>
              <p:nvPr/>
            </p:nvSpPr>
            <p:spPr>
              <a:xfrm>
                <a:off x="7500513" y="5889830"/>
                <a:ext cx="21319" cy="144942"/>
              </a:xfrm>
              <a:custGeom>
                <a:avLst/>
                <a:gdLst>
                  <a:gd name="connsiteX0" fmla="*/ 21320 w 21319"/>
                  <a:gd name="connsiteY0" fmla="*/ 0 h 144942"/>
                  <a:gd name="connsiteX1" fmla="*/ 21320 w 21319"/>
                  <a:gd name="connsiteY1" fmla="*/ 24460 h 144942"/>
                  <a:gd name="connsiteX2" fmla="*/ 0 w 21319"/>
                  <a:gd name="connsiteY2" fmla="*/ 24460 h 144942"/>
                  <a:gd name="connsiteX3" fmla="*/ 0 w 21319"/>
                  <a:gd name="connsiteY3" fmla="*/ 0 h 144942"/>
                  <a:gd name="connsiteX4" fmla="*/ 21320 w 21319"/>
                  <a:gd name="connsiteY4" fmla="*/ 0 h 144942"/>
                  <a:gd name="connsiteX5" fmla="*/ 21155 w 21319"/>
                  <a:gd name="connsiteY5" fmla="*/ 39665 h 144942"/>
                  <a:gd name="connsiteX6" fmla="*/ 21155 w 21319"/>
                  <a:gd name="connsiteY6" fmla="*/ 144942 h 144942"/>
                  <a:gd name="connsiteX7" fmla="*/ 0 w 21319"/>
                  <a:gd name="connsiteY7" fmla="*/ 144942 h 144942"/>
                  <a:gd name="connsiteX8" fmla="*/ 0 w 21319"/>
                  <a:gd name="connsiteY8" fmla="*/ 39665 h 144942"/>
                  <a:gd name="connsiteX9" fmla="*/ 21155 w 21319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19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19BD707A-7930-66B6-9D0F-BFCC358F21B5}"/>
                  </a:ext>
                </a:extLst>
              </p:cNvPr>
              <p:cNvSpPr/>
              <p:nvPr/>
            </p:nvSpPr>
            <p:spPr>
              <a:xfrm>
                <a:off x="7548276" y="5929495"/>
                <a:ext cx="104450" cy="105277"/>
              </a:xfrm>
              <a:custGeom>
                <a:avLst/>
                <a:gdLst>
                  <a:gd name="connsiteX0" fmla="*/ 77346 w 104450"/>
                  <a:gd name="connsiteY0" fmla="*/ 0 h 105277"/>
                  <a:gd name="connsiteX1" fmla="*/ 104451 w 104450"/>
                  <a:gd name="connsiteY1" fmla="*/ 24129 h 105277"/>
                  <a:gd name="connsiteX2" fmla="*/ 86436 w 104450"/>
                  <a:gd name="connsiteY2" fmla="*/ 49416 h 105277"/>
                  <a:gd name="connsiteX3" fmla="*/ 25947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4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6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6" y="0"/>
                    </a:moveTo>
                    <a:cubicBezTo>
                      <a:pt x="95691" y="0"/>
                      <a:pt x="104451" y="9585"/>
                      <a:pt x="104451" y="24129"/>
                    </a:cubicBezTo>
                    <a:cubicBezTo>
                      <a:pt x="104451" y="37020"/>
                      <a:pt x="97509" y="45449"/>
                      <a:pt x="86436" y="49416"/>
                    </a:cubicBezTo>
                    <a:lnTo>
                      <a:pt x="25947" y="71396"/>
                    </a:lnTo>
                    <a:cubicBezTo>
                      <a:pt x="22311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4" y="59993"/>
                      <a:pt x="18014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3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577B3F38-26AB-BB95-1FF4-B2F7AB7F166C}"/>
                  </a:ext>
                </a:extLst>
              </p:cNvPr>
              <p:cNvSpPr/>
              <p:nvPr/>
            </p:nvSpPr>
            <p:spPr>
              <a:xfrm>
                <a:off x="7679335" y="5889830"/>
                <a:ext cx="21485" cy="144942"/>
              </a:xfrm>
              <a:custGeom>
                <a:avLst/>
                <a:gdLst>
                  <a:gd name="connsiteX0" fmla="*/ 21485 w 21485"/>
                  <a:gd name="connsiteY0" fmla="*/ 0 h 144942"/>
                  <a:gd name="connsiteX1" fmla="*/ 21485 w 21485"/>
                  <a:gd name="connsiteY1" fmla="*/ 24460 h 144942"/>
                  <a:gd name="connsiteX2" fmla="*/ 165 w 21485"/>
                  <a:gd name="connsiteY2" fmla="*/ 24460 h 144942"/>
                  <a:gd name="connsiteX3" fmla="*/ 165 w 21485"/>
                  <a:gd name="connsiteY3" fmla="*/ 0 h 144942"/>
                  <a:gd name="connsiteX4" fmla="*/ 21485 w 21485"/>
                  <a:gd name="connsiteY4" fmla="*/ 0 h 144942"/>
                  <a:gd name="connsiteX5" fmla="*/ 21155 w 21485"/>
                  <a:gd name="connsiteY5" fmla="*/ 39665 h 144942"/>
                  <a:gd name="connsiteX6" fmla="*/ 21155 w 21485"/>
                  <a:gd name="connsiteY6" fmla="*/ 144942 h 144942"/>
                  <a:gd name="connsiteX7" fmla="*/ 0 w 21485"/>
                  <a:gd name="connsiteY7" fmla="*/ 144942 h 144942"/>
                  <a:gd name="connsiteX8" fmla="*/ 0 w 21485"/>
                  <a:gd name="connsiteY8" fmla="*/ 39665 h 144942"/>
                  <a:gd name="connsiteX9" fmla="*/ 21155 w 21485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485" h="144942">
                    <a:moveTo>
                      <a:pt x="21485" y="0"/>
                    </a:moveTo>
                    <a:lnTo>
                      <a:pt x="21485" y="24460"/>
                    </a:lnTo>
                    <a:lnTo>
                      <a:pt x="165" y="24460"/>
                    </a:lnTo>
                    <a:lnTo>
                      <a:pt x="165" y="0"/>
                    </a:lnTo>
                    <a:lnTo>
                      <a:pt x="21485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5F538273-22AD-79EC-CC62-24B394AF573A}"/>
                  </a:ext>
                </a:extLst>
              </p:cNvPr>
              <p:cNvSpPr/>
              <p:nvPr/>
            </p:nvSpPr>
            <p:spPr>
              <a:xfrm>
                <a:off x="773238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E5F64C51-CC65-153B-9B0A-1C7362B1D593}"/>
                  </a:ext>
                </a:extLst>
              </p:cNvPr>
              <p:cNvSpPr/>
              <p:nvPr/>
            </p:nvSpPr>
            <p:spPr>
              <a:xfrm>
                <a:off x="7869892" y="5929495"/>
                <a:ext cx="113705" cy="147420"/>
              </a:xfrm>
              <a:custGeom>
                <a:avLst/>
                <a:gdLst>
                  <a:gd name="connsiteX0" fmla="*/ 75033 w 113705"/>
                  <a:gd name="connsiteY0" fmla="*/ 0 h 147420"/>
                  <a:gd name="connsiteX1" fmla="*/ 113706 w 113705"/>
                  <a:gd name="connsiteY1" fmla="*/ 45118 h 147420"/>
                  <a:gd name="connsiteX2" fmla="*/ 113706 w 113705"/>
                  <a:gd name="connsiteY2" fmla="*/ 105773 h 147420"/>
                  <a:gd name="connsiteX3" fmla="*/ 73711 w 113705"/>
                  <a:gd name="connsiteY3" fmla="*/ 147421 h 147420"/>
                  <a:gd name="connsiteX4" fmla="*/ 11073 w 113705"/>
                  <a:gd name="connsiteY4" fmla="*/ 147421 h 147420"/>
                  <a:gd name="connsiteX5" fmla="*/ 11073 w 113705"/>
                  <a:gd name="connsiteY5" fmla="*/ 127093 h 147420"/>
                  <a:gd name="connsiteX6" fmla="*/ 71397 w 113705"/>
                  <a:gd name="connsiteY6" fmla="*/ 127093 h 147420"/>
                  <a:gd name="connsiteX7" fmla="*/ 92386 w 113705"/>
                  <a:gd name="connsiteY7" fmla="*/ 105773 h 147420"/>
                  <a:gd name="connsiteX8" fmla="*/ 92386 w 113705"/>
                  <a:gd name="connsiteY8" fmla="*/ 100980 h 147420"/>
                  <a:gd name="connsiteX9" fmla="*/ 45780 w 113705"/>
                  <a:gd name="connsiteY9" fmla="*/ 100980 h 147420"/>
                  <a:gd name="connsiteX10" fmla="*/ 0 w 113705"/>
                  <a:gd name="connsiteY10" fmla="*/ 50242 h 147420"/>
                  <a:gd name="connsiteX11" fmla="*/ 45780 w 113705"/>
                  <a:gd name="connsiteY11" fmla="*/ 0 h 147420"/>
                  <a:gd name="connsiteX12" fmla="*/ 74867 w 113705"/>
                  <a:gd name="connsiteY12" fmla="*/ 0 h 147420"/>
                  <a:gd name="connsiteX13" fmla="*/ 47763 w 113705"/>
                  <a:gd name="connsiteY13" fmla="*/ 81808 h 147420"/>
                  <a:gd name="connsiteX14" fmla="*/ 92386 w 113705"/>
                  <a:gd name="connsiteY14" fmla="*/ 81808 h 147420"/>
                  <a:gd name="connsiteX15" fmla="*/ 92386 w 113705"/>
                  <a:gd name="connsiteY15" fmla="*/ 44954 h 147420"/>
                  <a:gd name="connsiteX16" fmla="*/ 68752 w 113705"/>
                  <a:gd name="connsiteY16" fmla="*/ 20493 h 147420"/>
                  <a:gd name="connsiteX17" fmla="*/ 47763 w 113705"/>
                  <a:gd name="connsiteY17" fmla="*/ 20493 h 147420"/>
                  <a:gd name="connsiteX18" fmla="*/ 21485 w 113705"/>
                  <a:gd name="connsiteY18" fmla="*/ 51233 h 147420"/>
                  <a:gd name="connsiteX19" fmla="*/ 47763 w 113705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705" h="147420">
                    <a:moveTo>
                      <a:pt x="75033" y="0"/>
                    </a:moveTo>
                    <a:cubicBezTo>
                      <a:pt x="100154" y="0"/>
                      <a:pt x="113706" y="14709"/>
                      <a:pt x="113706" y="45118"/>
                    </a:cubicBezTo>
                    <a:lnTo>
                      <a:pt x="113706" y="105773"/>
                    </a:lnTo>
                    <a:cubicBezTo>
                      <a:pt x="113706" y="135687"/>
                      <a:pt x="103294" y="147421"/>
                      <a:pt x="73711" y="147421"/>
                    </a:cubicBezTo>
                    <a:lnTo>
                      <a:pt x="11073" y="147421"/>
                    </a:lnTo>
                    <a:lnTo>
                      <a:pt x="11073" y="127093"/>
                    </a:lnTo>
                    <a:lnTo>
                      <a:pt x="71397" y="127093"/>
                    </a:lnTo>
                    <a:cubicBezTo>
                      <a:pt x="87097" y="127093"/>
                      <a:pt x="92386" y="120977"/>
                      <a:pt x="92386" y="105773"/>
                    </a:cubicBezTo>
                    <a:lnTo>
                      <a:pt x="92386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763" y="81808"/>
                    </a:moveTo>
                    <a:lnTo>
                      <a:pt x="92386" y="81808"/>
                    </a:lnTo>
                    <a:lnTo>
                      <a:pt x="92386" y="44954"/>
                    </a:lnTo>
                    <a:cubicBezTo>
                      <a:pt x="92386" y="27765"/>
                      <a:pt x="85775" y="20493"/>
                      <a:pt x="68752" y="20493"/>
                    </a:cubicBezTo>
                    <a:lnTo>
                      <a:pt x="47763" y="20493"/>
                    </a:lnTo>
                    <a:cubicBezTo>
                      <a:pt x="29583" y="20493"/>
                      <a:pt x="21485" y="29583"/>
                      <a:pt x="21485" y="51233"/>
                    </a:cubicBezTo>
                    <a:cubicBezTo>
                      <a:pt x="21485" y="72884"/>
                      <a:pt x="29749" y="81974"/>
                      <a:pt x="4776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30C82541-6B85-2400-93CC-C77B77C00FB2}"/>
                  </a:ext>
                </a:extLst>
              </p:cNvPr>
              <p:cNvSpPr/>
              <p:nvPr/>
            </p:nvSpPr>
            <p:spPr>
              <a:xfrm>
                <a:off x="8057969" y="5897929"/>
                <a:ext cx="149239" cy="137009"/>
              </a:xfrm>
              <a:custGeom>
                <a:avLst/>
                <a:gdLst>
                  <a:gd name="connsiteX0" fmla="*/ 25947 w 149239"/>
                  <a:gd name="connsiteY0" fmla="*/ 137009 h 137009"/>
                  <a:gd name="connsiteX1" fmla="*/ 0 w 149239"/>
                  <a:gd name="connsiteY1" fmla="*/ 137009 h 137009"/>
                  <a:gd name="connsiteX2" fmla="*/ 47267 w 149239"/>
                  <a:gd name="connsiteY2" fmla="*/ 17353 h 137009"/>
                  <a:gd name="connsiteX3" fmla="*/ 75694 w 149239"/>
                  <a:gd name="connsiteY3" fmla="*/ 0 h 137009"/>
                  <a:gd name="connsiteX4" fmla="*/ 103625 w 149239"/>
                  <a:gd name="connsiteY4" fmla="*/ 17353 h 137009"/>
                  <a:gd name="connsiteX5" fmla="*/ 149239 w 149239"/>
                  <a:gd name="connsiteY5" fmla="*/ 137009 h 137009"/>
                  <a:gd name="connsiteX6" fmla="*/ 123126 w 149239"/>
                  <a:gd name="connsiteY6" fmla="*/ 137009 h 137009"/>
                  <a:gd name="connsiteX7" fmla="*/ 82139 w 149239"/>
                  <a:gd name="connsiteY7" fmla="*/ 28757 h 137009"/>
                  <a:gd name="connsiteX8" fmla="*/ 75528 w 149239"/>
                  <a:gd name="connsiteY8" fmla="*/ 24129 h 137009"/>
                  <a:gd name="connsiteX9" fmla="*/ 68752 w 149239"/>
                  <a:gd name="connsiteY9" fmla="*/ 28757 h 137009"/>
                  <a:gd name="connsiteX10" fmla="*/ 25947 w 149239"/>
                  <a:gd name="connsiteY10" fmla="*/ 137009 h 137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239" h="137009">
                    <a:moveTo>
                      <a:pt x="25947" y="137009"/>
                    </a:moveTo>
                    <a:lnTo>
                      <a:pt x="0" y="137009"/>
                    </a:lnTo>
                    <a:lnTo>
                      <a:pt x="47267" y="17353"/>
                    </a:lnTo>
                    <a:cubicBezTo>
                      <a:pt x="52225" y="4793"/>
                      <a:pt x="61481" y="0"/>
                      <a:pt x="75694" y="0"/>
                    </a:cubicBezTo>
                    <a:cubicBezTo>
                      <a:pt x="89907" y="0"/>
                      <a:pt x="98832" y="4793"/>
                      <a:pt x="103625" y="17353"/>
                    </a:cubicBezTo>
                    <a:lnTo>
                      <a:pt x="149239" y="137009"/>
                    </a:lnTo>
                    <a:lnTo>
                      <a:pt x="123126" y="137009"/>
                    </a:lnTo>
                    <a:lnTo>
                      <a:pt x="82139" y="28757"/>
                    </a:lnTo>
                    <a:cubicBezTo>
                      <a:pt x="80982" y="25617"/>
                      <a:pt x="78669" y="24129"/>
                      <a:pt x="75528" y="24129"/>
                    </a:cubicBezTo>
                    <a:cubicBezTo>
                      <a:pt x="72388" y="24129"/>
                      <a:pt x="70075" y="25452"/>
                      <a:pt x="68752" y="28757"/>
                    </a:cubicBezTo>
                    <a:lnTo>
                      <a:pt x="25947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03B474C8-9D99-E661-D68B-A60C7F7C4BE0}"/>
                  </a:ext>
                </a:extLst>
              </p:cNvPr>
              <p:cNvSpPr/>
              <p:nvPr/>
            </p:nvSpPr>
            <p:spPr>
              <a:xfrm>
                <a:off x="8216464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0B2162A4-F74B-9B8D-CC32-DE3403DE48F5}"/>
                  </a:ext>
                </a:extLst>
              </p:cNvPr>
              <p:cNvSpPr/>
              <p:nvPr/>
            </p:nvSpPr>
            <p:spPr>
              <a:xfrm>
                <a:off x="8338103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6810F076-53EB-DEF5-B94A-55F478378883}"/>
                  </a:ext>
                </a:extLst>
              </p:cNvPr>
              <p:cNvSpPr/>
              <p:nvPr/>
            </p:nvSpPr>
            <p:spPr>
              <a:xfrm>
                <a:off x="8462716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493 w 106268"/>
                  <a:gd name="connsiteY13" fmla="*/ 46110 h 105277"/>
                  <a:gd name="connsiteX14" fmla="*/ 70075 w 106268"/>
                  <a:gd name="connsiteY14" fmla="*/ 46110 h 105277"/>
                  <a:gd name="connsiteX15" fmla="*/ 85610 w 106268"/>
                  <a:gd name="connsiteY15" fmla="*/ 33550 h 105277"/>
                  <a:gd name="connsiteX16" fmla="*/ 70570 w 106268"/>
                  <a:gd name="connsiteY16" fmla="*/ 20328 h 105277"/>
                  <a:gd name="connsiteX17" fmla="*/ 36690 w 106268"/>
                  <a:gd name="connsiteY17" fmla="*/ 20328 h 105277"/>
                  <a:gd name="connsiteX18" fmla="*/ 20493 w 106268"/>
                  <a:gd name="connsiteY18" fmla="*/ 34872 h 105277"/>
                  <a:gd name="connsiteX19" fmla="*/ 2049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3" y="46110"/>
                    </a:moveTo>
                    <a:lnTo>
                      <a:pt x="70075" y="46110"/>
                    </a:lnTo>
                    <a:cubicBezTo>
                      <a:pt x="81478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0" y="20328"/>
                    </a:cubicBezTo>
                    <a:lnTo>
                      <a:pt x="36690" y="20328"/>
                    </a:lnTo>
                    <a:cubicBezTo>
                      <a:pt x="25121" y="20328"/>
                      <a:pt x="20493" y="26774"/>
                      <a:pt x="20493" y="34872"/>
                    </a:cubicBezTo>
                    <a:lnTo>
                      <a:pt x="2049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0199B755-B485-E43B-8719-30F640A22F23}"/>
                  </a:ext>
                </a:extLst>
              </p:cNvPr>
              <p:cNvSpPr/>
              <p:nvPr/>
            </p:nvSpPr>
            <p:spPr>
              <a:xfrm>
                <a:off x="8591462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772CC95-219A-0949-AC8A-C1BCD65FB39C}"/>
                  </a:ext>
                </a:extLst>
              </p:cNvPr>
              <p:cNvSpPr/>
              <p:nvPr/>
            </p:nvSpPr>
            <p:spPr>
              <a:xfrm>
                <a:off x="8709961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8522AA2F-AFFB-7F69-D1DE-1695C61FD106}"/>
                  </a:ext>
                </a:extLst>
              </p:cNvPr>
              <p:cNvSpPr/>
              <p:nvPr/>
            </p:nvSpPr>
            <p:spPr>
              <a:xfrm>
                <a:off x="8940347" y="5939411"/>
                <a:ext cx="60984" cy="52225"/>
              </a:xfrm>
              <a:custGeom>
                <a:avLst/>
                <a:gdLst>
                  <a:gd name="connsiteX0" fmla="*/ 39004 w 60984"/>
                  <a:gd name="connsiteY0" fmla="*/ 0 h 52225"/>
                  <a:gd name="connsiteX1" fmla="*/ 60985 w 60984"/>
                  <a:gd name="connsiteY1" fmla="*/ 26113 h 52225"/>
                  <a:gd name="connsiteX2" fmla="*/ 39004 w 60984"/>
                  <a:gd name="connsiteY2" fmla="*/ 52225 h 52225"/>
                  <a:gd name="connsiteX3" fmla="*/ 21816 w 60984"/>
                  <a:gd name="connsiteY3" fmla="*/ 52225 h 52225"/>
                  <a:gd name="connsiteX4" fmla="*/ 0 w 60984"/>
                  <a:gd name="connsiteY4" fmla="*/ 26113 h 52225"/>
                  <a:gd name="connsiteX5" fmla="*/ 21816 w 60984"/>
                  <a:gd name="connsiteY5" fmla="*/ 0 h 52225"/>
                  <a:gd name="connsiteX6" fmla="*/ 39004 w 60984"/>
                  <a:gd name="connsiteY6" fmla="*/ 0 h 5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984" h="52225">
                    <a:moveTo>
                      <a:pt x="39004" y="0"/>
                    </a:moveTo>
                    <a:cubicBezTo>
                      <a:pt x="52391" y="0"/>
                      <a:pt x="60985" y="8429"/>
                      <a:pt x="60985" y="26113"/>
                    </a:cubicBezTo>
                    <a:cubicBezTo>
                      <a:pt x="60985" y="43797"/>
                      <a:pt x="52391" y="52225"/>
                      <a:pt x="39004" y="52225"/>
                    </a:cubicBezTo>
                    <a:lnTo>
                      <a:pt x="21816" y="52225"/>
                    </a:lnTo>
                    <a:cubicBezTo>
                      <a:pt x="8429" y="52225"/>
                      <a:pt x="0" y="43797"/>
                      <a:pt x="0" y="26113"/>
                    </a:cubicBezTo>
                    <a:cubicBezTo>
                      <a:pt x="0" y="8429"/>
                      <a:pt x="8429" y="0"/>
                      <a:pt x="21816" y="0"/>
                    </a:cubicBezTo>
                    <a:lnTo>
                      <a:pt x="3900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36673802-9298-0E52-7C1B-1712DEB34E92}"/>
                  </a:ext>
                </a:extLst>
              </p:cNvPr>
              <p:cNvSpPr/>
              <p:nvPr/>
            </p:nvSpPr>
            <p:spPr>
              <a:xfrm>
                <a:off x="9141646" y="5900242"/>
                <a:ext cx="119325" cy="134860"/>
              </a:xfrm>
              <a:custGeom>
                <a:avLst/>
                <a:gdLst>
                  <a:gd name="connsiteX0" fmla="*/ 73215 w 119325"/>
                  <a:gd name="connsiteY0" fmla="*/ 0 h 134860"/>
                  <a:gd name="connsiteX1" fmla="*/ 116516 w 119325"/>
                  <a:gd name="connsiteY1" fmla="*/ 40326 h 134860"/>
                  <a:gd name="connsiteX2" fmla="*/ 87924 w 119325"/>
                  <a:gd name="connsiteY2" fmla="*/ 80817 h 134860"/>
                  <a:gd name="connsiteX3" fmla="*/ 119325 w 119325"/>
                  <a:gd name="connsiteY3" fmla="*/ 134696 h 134860"/>
                  <a:gd name="connsiteX4" fmla="*/ 93212 w 119325"/>
                  <a:gd name="connsiteY4" fmla="*/ 134696 h 134860"/>
                  <a:gd name="connsiteX5" fmla="*/ 62472 w 119325"/>
                  <a:gd name="connsiteY5" fmla="*/ 82635 h 134860"/>
                  <a:gd name="connsiteX6" fmla="*/ 27270 w 119325"/>
                  <a:gd name="connsiteY6" fmla="*/ 82635 h 134860"/>
                  <a:gd name="connsiteX7" fmla="*/ 23799 w 119325"/>
                  <a:gd name="connsiteY7" fmla="*/ 86106 h 134860"/>
                  <a:gd name="connsiteX8" fmla="*/ 23799 w 119325"/>
                  <a:gd name="connsiteY8" fmla="*/ 134861 h 134860"/>
                  <a:gd name="connsiteX9" fmla="*/ 165 w 119325"/>
                  <a:gd name="connsiteY9" fmla="*/ 134861 h 134860"/>
                  <a:gd name="connsiteX10" fmla="*/ 165 w 119325"/>
                  <a:gd name="connsiteY10" fmla="*/ 81644 h 134860"/>
                  <a:gd name="connsiteX11" fmla="*/ 21320 w 119325"/>
                  <a:gd name="connsiteY11" fmla="*/ 60324 h 134860"/>
                  <a:gd name="connsiteX12" fmla="*/ 73876 w 119325"/>
                  <a:gd name="connsiteY12" fmla="*/ 60324 h 134860"/>
                  <a:gd name="connsiteX13" fmla="*/ 92717 w 119325"/>
                  <a:gd name="connsiteY13" fmla="*/ 41648 h 134860"/>
                  <a:gd name="connsiteX14" fmla="*/ 73876 w 119325"/>
                  <a:gd name="connsiteY14" fmla="*/ 23964 h 134860"/>
                  <a:gd name="connsiteX15" fmla="*/ 0 w 119325"/>
                  <a:gd name="connsiteY15" fmla="*/ 23964 h 134860"/>
                  <a:gd name="connsiteX16" fmla="*/ 0 w 119325"/>
                  <a:gd name="connsiteY16" fmla="*/ 496 h 134860"/>
                  <a:gd name="connsiteX17" fmla="*/ 73049 w 119325"/>
                  <a:gd name="connsiteY17" fmla="*/ 496 h 13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9325" h="134860">
                    <a:moveTo>
                      <a:pt x="73215" y="0"/>
                    </a:moveTo>
                    <a:cubicBezTo>
                      <a:pt x="103625" y="0"/>
                      <a:pt x="116516" y="18676"/>
                      <a:pt x="116516" y="40326"/>
                    </a:cubicBezTo>
                    <a:cubicBezTo>
                      <a:pt x="116516" y="57018"/>
                      <a:pt x="108583" y="75033"/>
                      <a:pt x="87924" y="80817"/>
                    </a:cubicBezTo>
                    <a:lnTo>
                      <a:pt x="119325" y="134696"/>
                    </a:lnTo>
                    <a:lnTo>
                      <a:pt x="93212" y="134696"/>
                    </a:lnTo>
                    <a:lnTo>
                      <a:pt x="62472" y="82635"/>
                    </a:lnTo>
                    <a:lnTo>
                      <a:pt x="27270" y="82635"/>
                    </a:lnTo>
                    <a:cubicBezTo>
                      <a:pt x="25121" y="82635"/>
                      <a:pt x="23799" y="83627"/>
                      <a:pt x="23799" y="86106"/>
                    </a:cubicBezTo>
                    <a:lnTo>
                      <a:pt x="23799" y="134861"/>
                    </a:lnTo>
                    <a:lnTo>
                      <a:pt x="165" y="134861"/>
                    </a:lnTo>
                    <a:lnTo>
                      <a:pt x="165" y="81644"/>
                    </a:lnTo>
                    <a:cubicBezTo>
                      <a:pt x="165" y="66439"/>
                      <a:pt x="6611" y="60324"/>
                      <a:pt x="21320" y="60324"/>
                    </a:cubicBezTo>
                    <a:lnTo>
                      <a:pt x="73876" y="60324"/>
                    </a:lnTo>
                    <a:cubicBezTo>
                      <a:pt x="87263" y="60324"/>
                      <a:pt x="92717" y="51068"/>
                      <a:pt x="92717" y="41648"/>
                    </a:cubicBezTo>
                    <a:cubicBezTo>
                      <a:pt x="92717" y="32228"/>
                      <a:pt x="86932" y="23964"/>
                      <a:pt x="73876" y="23964"/>
                    </a:cubicBezTo>
                    <a:lnTo>
                      <a:pt x="0" y="23964"/>
                    </a:lnTo>
                    <a:lnTo>
                      <a:pt x="0" y="496"/>
                    </a:lnTo>
                    <a:lnTo>
                      <a:pt x="73049" y="49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DE28664-57AB-D995-6A3A-C71871D6B92A}"/>
                  </a:ext>
                </a:extLst>
              </p:cNvPr>
              <p:cNvSpPr/>
              <p:nvPr/>
            </p:nvSpPr>
            <p:spPr>
              <a:xfrm>
                <a:off x="9276011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59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59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753CAB3-3A77-EF9A-7A22-98E39DC272C7}"/>
                  </a:ext>
                </a:extLst>
              </p:cNvPr>
              <p:cNvSpPr/>
              <p:nvPr/>
            </p:nvSpPr>
            <p:spPr>
              <a:xfrm>
                <a:off x="9394841" y="5929495"/>
                <a:ext cx="127423" cy="107756"/>
              </a:xfrm>
              <a:custGeom>
                <a:avLst/>
                <a:gdLst>
                  <a:gd name="connsiteX0" fmla="*/ 22146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1 w 127423"/>
                  <a:gd name="connsiteY3" fmla="*/ 84618 h 107756"/>
                  <a:gd name="connsiteX4" fmla="*/ 104616 w 127423"/>
                  <a:gd name="connsiteY4" fmla="*/ 0 h 107756"/>
                  <a:gd name="connsiteX5" fmla="*/ 127423 w 127423"/>
                  <a:gd name="connsiteY5" fmla="*/ 0 h 107756"/>
                  <a:gd name="connsiteX6" fmla="*/ 86767 w 127423"/>
                  <a:gd name="connsiteY6" fmla="*/ 94039 h 107756"/>
                  <a:gd name="connsiteX7" fmla="*/ 62637 w 127423"/>
                  <a:gd name="connsiteY7" fmla="*/ 107756 h 107756"/>
                  <a:gd name="connsiteX8" fmla="*/ 38673 w 127423"/>
                  <a:gd name="connsiteY8" fmla="*/ 94039 h 107756"/>
                  <a:gd name="connsiteX9" fmla="*/ 0 w 127423"/>
                  <a:gd name="connsiteY9" fmla="*/ 0 h 107756"/>
                  <a:gd name="connsiteX10" fmla="*/ 22311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6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1" y="84618"/>
                    </a:cubicBezTo>
                    <a:lnTo>
                      <a:pt x="104616" y="0"/>
                    </a:lnTo>
                    <a:lnTo>
                      <a:pt x="127423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7" y="107756"/>
                    </a:cubicBezTo>
                    <a:cubicBezTo>
                      <a:pt x="50738" y="107756"/>
                      <a:pt x="42640" y="103790"/>
                      <a:pt x="38673" y="94039"/>
                    </a:cubicBezTo>
                    <a:lnTo>
                      <a:pt x="0" y="0"/>
                    </a:lnTo>
                    <a:lnTo>
                      <a:pt x="2231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CBFC7399-4AE6-F62F-B841-0DC9ED93AA64}"/>
                  </a:ext>
                </a:extLst>
              </p:cNvPr>
              <p:cNvSpPr/>
              <p:nvPr/>
            </p:nvSpPr>
            <p:spPr>
              <a:xfrm>
                <a:off x="9531849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B1B47C1-A834-2EF3-E48A-757DFADD3763}"/>
                  </a:ext>
                </a:extLst>
              </p:cNvPr>
              <p:cNvSpPr/>
              <p:nvPr/>
            </p:nvSpPr>
            <p:spPr>
              <a:xfrm>
                <a:off x="9672329" y="5883880"/>
                <a:ext cx="21154" cy="151057"/>
              </a:xfrm>
              <a:custGeom>
                <a:avLst/>
                <a:gdLst>
                  <a:gd name="connsiteX0" fmla="*/ 21155 w 21154"/>
                  <a:gd name="connsiteY0" fmla="*/ 0 h 151057"/>
                  <a:gd name="connsiteX1" fmla="*/ 21155 w 21154"/>
                  <a:gd name="connsiteY1" fmla="*/ 151057 h 151057"/>
                  <a:gd name="connsiteX2" fmla="*/ 0 w 21154"/>
                  <a:gd name="connsiteY2" fmla="*/ 151057 h 151057"/>
                  <a:gd name="connsiteX3" fmla="*/ 0 w 21154"/>
                  <a:gd name="connsiteY3" fmla="*/ 0 h 151057"/>
                  <a:gd name="connsiteX4" fmla="*/ 21155 w 21154"/>
                  <a:gd name="connsiteY4" fmla="*/ 0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54" h="151057">
                    <a:moveTo>
                      <a:pt x="21155" y="0"/>
                    </a:moveTo>
                    <a:lnTo>
                      <a:pt x="21155" y="151057"/>
                    </a:lnTo>
                    <a:lnTo>
                      <a:pt x="0" y="151057"/>
                    </a:lnTo>
                    <a:lnTo>
                      <a:pt x="0" y="0"/>
                    </a:lnTo>
                    <a:lnTo>
                      <a:pt x="2115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F9D8748-C122-3326-6F13-0821401F5075}"/>
                  </a:ext>
                </a:extLst>
              </p:cNvPr>
              <p:cNvSpPr/>
              <p:nvPr/>
            </p:nvSpPr>
            <p:spPr>
              <a:xfrm>
                <a:off x="9724720" y="5929495"/>
                <a:ext cx="111061" cy="105277"/>
              </a:xfrm>
              <a:custGeom>
                <a:avLst/>
                <a:gdLst>
                  <a:gd name="connsiteX0" fmla="*/ 21320 w 111061"/>
                  <a:gd name="connsiteY0" fmla="*/ 0 h 105277"/>
                  <a:gd name="connsiteX1" fmla="*/ 21320 w 111061"/>
                  <a:gd name="connsiteY1" fmla="*/ 62968 h 105277"/>
                  <a:gd name="connsiteX2" fmla="*/ 47267 w 111061"/>
                  <a:gd name="connsiteY2" fmla="*/ 84784 h 105277"/>
                  <a:gd name="connsiteX3" fmla="*/ 64456 w 111061"/>
                  <a:gd name="connsiteY3" fmla="*/ 84784 h 105277"/>
                  <a:gd name="connsiteX4" fmla="*/ 90238 w 111061"/>
                  <a:gd name="connsiteY4" fmla="*/ 62968 h 105277"/>
                  <a:gd name="connsiteX5" fmla="*/ 90238 w 111061"/>
                  <a:gd name="connsiteY5" fmla="*/ 0 h 105277"/>
                  <a:gd name="connsiteX6" fmla="*/ 111062 w 111061"/>
                  <a:gd name="connsiteY6" fmla="*/ 0 h 105277"/>
                  <a:gd name="connsiteX7" fmla="*/ 111062 w 111061"/>
                  <a:gd name="connsiteY7" fmla="*/ 63794 h 105277"/>
                  <a:gd name="connsiteX8" fmla="*/ 65282 w 111061"/>
                  <a:gd name="connsiteY8" fmla="*/ 105277 h 105277"/>
                  <a:gd name="connsiteX9" fmla="*/ 45780 w 111061"/>
                  <a:gd name="connsiteY9" fmla="*/ 105277 h 105277"/>
                  <a:gd name="connsiteX10" fmla="*/ 0 w 111061"/>
                  <a:gd name="connsiteY10" fmla="*/ 63794 h 105277"/>
                  <a:gd name="connsiteX11" fmla="*/ 0 w 111061"/>
                  <a:gd name="connsiteY11" fmla="*/ 0 h 105277"/>
                  <a:gd name="connsiteX12" fmla="*/ 21320 w 111061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61" h="105277">
                    <a:moveTo>
                      <a:pt x="21320" y="0"/>
                    </a:moveTo>
                    <a:lnTo>
                      <a:pt x="21320" y="62968"/>
                    </a:lnTo>
                    <a:cubicBezTo>
                      <a:pt x="21320" y="75363"/>
                      <a:pt x="30575" y="84784"/>
                      <a:pt x="47267" y="84784"/>
                    </a:cubicBezTo>
                    <a:lnTo>
                      <a:pt x="64456" y="84784"/>
                    </a:lnTo>
                    <a:cubicBezTo>
                      <a:pt x="81148" y="84784"/>
                      <a:pt x="90238" y="75363"/>
                      <a:pt x="90238" y="62968"/>
                    </a:cubicBezTo>
                    <a:lnTo>
                      <a:pt x="90238" y="0"/>
                    </a:lnTo>
                    <a:lnTo>
                      <a:pt x="111062" y="0"/>
                    </a:lnTo>
                    <a:lnTo>
                      <a:pt x="111062" y="63794"/>
                    </a:lnTo>
                    <a:cubicBezTo>
                      <a:pt x="111062" y="88089"/>
                      <a:pt x="95526" y="105277"/>
                      <a:pt x="65282" y="105277"/>
                    </a:cubicBezTo>
                    <a:lnTo>
                      <a:pt x="45780" y="105277"/>
                    </a:lnTo>
                    <a:cubicBezTo>
                      <a:pt x="15535" y="105277"/>
                      <a:pt x="0" y="88089"/>
                      <a:pt x="0" y="63794"/>
                    </a:cubicBezTo>
                    <a:lnTo>
                      <a:pt x="0" y="0"/>
                    </a:lnTo>
                    <a:lnTo>
                      <a:pt x="2132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D00768C-1801-5DFA-22DE-4C52C6140D9F}"/>
                  </a:ext>
                </a:extLst>
              </p:cNvPr>
              <p:cNvSpPr/>
              <p:nvPr/>
            </p:nvSpPr>
            <p:spPr>
              <a:xfrm>
                <a:off x="9856110" y="5904539"/>
                <a:ext cx="64951" cy="130233"/>
              </a:xfrm>
              <a:custGeom>
                <a:avLst/>
                <a:gdLst>
                  <a:gd name="connsiteX0" fmla="*/ 14544 w 64951"/>
                  <a:gd name="connsiteY0" fmla="*/ 24956 h 130233"/>
                  <a:gd name="connsiteX1" fmla="*/ 14544 w 64951"/>
                  <a:gd name="connsiteY1" fmla="*/ 0 h 130233"/>
                  <a:gd name="connsiteX2" fmla="*/ 35864 w 64951"/>
                  <a:gd name="connsiteY2" fmla="*/ 0 h 130233"/>
                  <a:gd name="connsiteX3" fmla="*/ 35864 w 64951"/>
                  <a:gd name="connsiteY3" fmla="*/ 24956 h 130233"/>
                  <a:gd name="connsiteX4" fmla="*/ 64951 w 64951"/>
                  <a:gd name="connsiteY4" fmla="*/ 24956 h 130233"/>
                  <a:gd name="connsiteX5" fmla="*/ 64951 w 64951"/>
                  <a:gd name="connsiteY5" fmla="*/ 45284 h 130233"/>
                  <a:gd name="connsiteX6" fmla="*/ 35864 w 64951"/>
                  <a:gd name="connsiteY6" fmla="*/ 45284 h 130233"/>
                  <a:gd name="connsiteX7" fmla="*/ 35864 w 64951"/>
                  <a:gd name="connsiteY7" fmla="*/ 95196 h 130233"/>
                  <a:gd name="connsiteX8" fmla="*/ 50077 w 64951"/>
                  <a:gd name="connsiteY8" fmla="*/ 110896 h 130233"/>
                  <a:gd name="connsiteX9" fmla="*/ 64620 w 64951"/>
                  <a:gd name="connsiteY9" fmla="*/ 110896 h 130233"/>
                  <a:gd name="connsiteX10" fmla="*/ 64620 w 64951"/>
                  <a:gd name="connsiteY10" fmla="*/ 130233 h 130233"/>
                  <a:gd name="connsiteX11" fmla="*/ 45614 w 64951"/>
                  <a:gd name="connsiteY11" fmla="*/ 130233 h 130233"/>
                  <a:gd name="connsiteX12" fmla="*/ 14378 w 64951"/>
                  <a:gd name="connsiteY12" fmla="*/ 93873 h 130233"/>
                  <a:gd name="connsiteX13" fmla="*/ 14378 w 64951"/>
                  <a:gd name="connsiteY13" fmla="*/ 45119 h 130233"/>
                  <a:gd name="connsiteX14" fmla="*/ 0 w 64951"/>
                  <a:gd name="connsiteY14" fmla="*/ 45119 h 130233"/>
                  <a:gd name="connsiteX15" fmla="*/ 0 w 64951"/>
                  <a:gd name="connsiteY15" fmla="*/ 24791 h 130233"/>
                  <a:gd name="connsiteX16" fmla="*/ 14378 w 64951"/>
                  <a:gd name="connsiteY16" fmla="*/ 24791 h 13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951" h="130233">
                    <a:moveTo>
                      <a:pt x="14544" y="24956"/>
                    </a:moveTo>
                    <a:lnTo>
                      <a:pt x="14544" y="0"/>
                    </a:lnTo>
                    <a:lnTo>
                      <a:pt x="35864" y="0"/>
                    </a:lnTo>
                    <a:lnTo>
                      <a:pt x="35864" y="24956"/>
                    </a:lnTo>
                    <a:lnTo>
                      <a:pt x="64951" y="24956"/>
                    </a:lnTo>
                    <a:lnTo>
                      <a:pt x="64951" y="45284"/>
                    </a:lnTo>
                    <a:lnTo>
                      <a:pt x="35864" y="45284"/>
                    </a:lnTo>
                    <a:lnTo>
                      <a:pt x="35864" y="95196"/>
                    </a:lnTo>
                    <a:cubicBezTo>
                      <a:pt x="35864" y="106930"/>
                      <a:pt x="39995" y="110896"/>
                      <a:pt x="50077" y="110896"/>
                    </a:cubicBezTo>
                    <a:lnTo>
                      <a:pt x="64620" y="110896"/>
                    </a:lnTo>
                    <a:lnTo>
                      <a:pt x="64620" y="130233"/>
                    </a:lnTo>
                    <a:lnTo>
                      <a:pt x="45614" y="130233"/>
                    </a:lnTo>
                    <a:cubicBezTo>
                      <a:pt x="23799" y="130233"/>
                      <a:pt x="14378" y="121474"/>
                      <a:pt x="14378" y="93873"/>
                    </a:cubicBezTo>
                    <a:lnTo>
                      <a:pt x="14378" y="45119"/>
                    </a:lnTo>
                    <a:lnTo>
                      <a:pt x="0" y="45119"/>
                    </a:lnTo>
                    <a:lnTo>
                      <a:pt x="0" y="24791"/>
                    </a:lnTo>
                    <a:lnTo>
                      <a:pt x="14378" y="2479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6A8B6469-9B7D-0549-4062-CA0BDCAF380D}"/>
                  </a:ext>
                </a:extLst>
              </p:cNvPr>
              <p:cNvSpPr/>
              <p:nvPr/>
            </p:nvSpPr>
            <p:spPr>
              <a:xfrm>
                <a:off x="9943207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62F249B-5F19-BA12-4F72-C5658E734BE4}"/>
                  </a:ext>
                </a:extLst>
              </p:cNvPr>
              <p:cNvSpPr/>
              <p:nvPr/>
            </p:nvSpPr>
            <p:spPr>
              <a:xfrm>
                <a:off x="9991136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F09E6075-0871-9265-993C-68B15A6BD541}"/>
                  </a:ext>
                </a:extLst>
              </p:cNvPr>
              <p:cNvSpPr/>
              <p:nvPr/>
            </p:nvSpPr>
            <p:spPr>
              <a:xfrm>
                <a:off x="1013145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D7CAD3D-8A4D-242A-C4D1-4BD7EC201D22}"/>
                  </a:ext>
                </a:extLst>
              </p:cNvPr>
              <p:cNvSpPr/>
              <p:nvPr/>
            </p:nvSpPr>
            <p:spPr>
              <a:xfrm>
                <a:off x="10274243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C7881A08-7E55-64BB-A12A-0305996BFDB7}"/>
                  </a:ext>
                </a:extLst>
              </p:cNvPr>
              <p:cNvSpPr/>
              <p:nvPr/>
            </p:nvSpPr>
            <p:spPr>
              <a:xfrm>
                <a:off x="10322006" y="5929495"/>
                <a:ext cx="104450" cy="105277"/>
              </a:xfrm>
              <a:custGeom>
                <a:avLst/>
                <a:gdLst>
                  <a:gd name="connsiteX0" fmla="*/ 77347 w 104450"/>
                  <a:gd name="connsiteY0" fmla="*/ 0 h 105277"/>
                  <a:gd name="connsiteX1" fmla="*/ 104451 w 104450"/>
                  <a:gd name="connsiteY1" fmla="*/ 24129 h 105277"/>
                  <a:gd name="connsiteX2" fmla="*/ 86437 w 104450"/>
                  <a:gd name="connsiteY2" fmla="*/ 49416 h 105277"/>
                  <a:gd name="connsiteX3" fmla="*/ 25948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5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7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7" y="0"/>
                    </a:moveTo>
                    <a:cubicBezTo>
                      <a:pt x="95692" y="0"/>
                      <a:pt x="104451" y="9585"/>
                      <a:pt x="104451" y="24129"/>
                    </a:cubicBezTo>
                    <a:cubicBezTo>
                      <a:pt x="104451" y="37020"/>
                      <a:pt x="97510" y="45449"/>
                      <a:pt x="86437" y="49416"/>
                    </a:cubicBezTo>
                    <a:lnTo>
                      <a:pt x="25948" y="71396"/>
                    </a:lnTo>
                    <a:cubicBezTo>
                      <a:pt x="22312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5" y="59993"/>
                      <a:pt x="18015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4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C2F16313-62B1-A510-A16A-AA96747B8694}"/>
                  </a:ext>
                </a:extLst>
              </p:cNvPr>
              <p:cNvSpPr/>
              <p:nvPr/>
            </p:nvSpPr>
            <p:spPr>
              <a:xfrm>
                <a:off x="10453231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56761FA9-1C15-1955-742B-3EDE688B1592}"/>
                  </a:ext>
                </a:extLst>
              </p:cNvPr>
              <p:cNvSpPr/>
              <p:nvPr/>
            </p:nvSpPr>
            <p:spPr>
              <a:xfrm>
                <a:off x="1050611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84326E48-016C-5264-19AA-702B4DD010C4}"/>
                  </a:ext>
                </a:extLst>
              </p:cNvPr>
              <p:cNvSpPr/>
              <p:nvPr/>
            </p:nvSpPr>
            <p:spPr>
              <a:xfrm>
                <a:off x="10643788" y="5929495"/>
                <a:ext cx="113540" cy="147420"/>
              </a:xfrm>
              <a:custGeom>
                <a:avLst/>
                <a:gdLst>
                  <a:gd name="connsiteX0" fmla="*/ 74867 w 113540"/>
                  <a:gd name="connsiteY0" fmla="*/ 0 h 147420"/>
                  <a:gd name="connsiteX1" fmla="*/ 113541 w 113540"/>
                  <a:gd name="connsiteY1" fmla="*/ 45118 h 147420"/>
                  <a:gd name="connsiteX2" fmla="*/ 113541 w 113540"/>
                  <a:gd name="connsiteY2" fmla="*/ 105773 h 147420"/>
                  <a:gd name="connsiteX3" fmla="*/ 73545 w 113540"/>
                  <a:gd name="connsiteY3" fmla="*/ 147421 h 147420"/>
                  <a:gd name="connsiteX4" fmla="*/ 10908 w 113540"/>
                  <a:gd name="connsiteY4" fmla="*/ 147421 h 147420"/>
                  <a:gd name="connsiteX5" fmla="*/ 10908 w 113540"/>
                  <a:gd name="connsiteY5" fmla="*/ 127093 h 147420"/>
                  <a:gd name="connsiteX6" fmla="*/ 71231 w 113540"/>
                  <a:gd name="connsiteY6" fmla="*/ 127093 h 147420"/>
                  <a:gd name="connsiteX7" fmla="*/ 92221 w 113540"/>
                  <a:gd name="connsiteY7" fmla="*/ 105773 h 147420"/>
                  <a:gd name="connsiteX8" fmla="*/ 92221 w 113540"/>
                  <a:gd name="connsiteY8" fmla="*/ 100980 h 147420"/>
                  <a:gd name="connsiteX9" fmla="*/ 45780 w 113540"/>
                  <a:gd name="connsiteY9" fmla="*/ 100980 h 147420"/>
                  <a:gd name="connsiteX10" fmla="*/ 0 w 113540"/>
                  <a:gd name="connsiteY10" fmla="*/ 50242 h 147420"/>
                  <a:gd name="connsiteX11" fmla="*/ 45780 w 113540"/>
                  <a:gd name="connsiteY11" fmla="*/ 0 h 147420"/>
                  <a:gd name="connsiteX12" fmla="*/ 74867 w 113540"/>
                  <a:gd name="connsiteY12" fmla="*/ 0 h 147420"/>
                  <a:gd name="connsiteX13" fmla="*/ 47598 w 113540"/>
                  <a:gd name="connsiteY13" fmla="*/ 81808 h 147420"/>
                  <a:gd name="connsiteX14" fmla="*/ 92056 w 113540"/>
                  <a:gd name="connsiteY14" fmla="*/ 81808 h 147420"/>
                  <a:gd name="connsiteX15" fmla="*/ 92056 w 113540"/>
                  <a:gd name="connsiteY15" fmla="*/ 44954 h 147420"/>
                  <a:gd name="connsiteX16" fmla="*/ 68422 w 113540"/>
                  <a:gd name="connsiteY16" fmla="*/ 20493 h 147420"/>
                  <a:gd name="connsiteX17" fmla="*/ 47433 w 113540"/>
                  <a:gd name="connsiteY17" fmla="*/ 20493 h 147420"/>
                  <a:gd name="connsiteX18" fmla="*/ 21155 w 113540"/>
                  <a:gd name="connsiteY18" fmla="*/ 51233 h 147420"/>
                  <a:gd name="connsiteX19" fmla="*/ 47433 w 113540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540" h="147420">
                    <a:moveTo>
                      <a:pt x="74867" y="0"/>
                    </a:moveTo>
                    <a:cubicBezTo>
                      <a:pt x="99989" y="0"/>
                      <a:pt x="113541" y="14709"/>
                      <a:pt x="113541" y="45118"/>
                    </a:cubicBezTo>
                    <a:lnTo>
                      <a:pt x="113541" y="105773"/>
                    </a:lnTo>
                    <a:cubicBezTo>
                      <a:pt x="113541" y="135687"/>
                      <a:pt x="103129" y="147421"/>
                      <a:pt x="73545" y="147421"/>
                    </a:cubicBezTo>
                    <a:lnTo>
                      <a:pt x="10908" y="147421"/>
                    </a:lnTo>
                    <a:lnTo>
                      <a:pt x="10908" y="127093"/>
                    </a:lnTo>
                    <a:lnTo>
                      <a:pt x="71231" y="127093"/>
                    </a:lnTo>
                    <a:cubicBezTo>
                      <a:pt x="86932" y="127093"/>
                      <a:pt x="92221" y="120977"/>
                      <a:pt x="92221" y="105773"/>
                    </a:cubicBezTo>
                    <a:lnTo>
                      <a:pt x="92221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598" y="81808"/>
                    </a:moveTo>
                    <a:lnTo>
                      <a:pt x="92056" y="81808"/>
                    </a:lnTo>
                    <a:lnTo>
                      <a:pt x="92056" y="44954"/>
                    </a:lnTo>
                    <a:cubicBezTo>
                      <a:pt x="92056" y="27765"/>
                      <a:pt x="85445" y="20493"/>
                      <a:pt x="68422" y="20493"/>
                    </a:cubicBezTo>
                    <a:lnTo>
                      <a:pt x="47433" y="20493"/>
                    </a:lnTo>
                    <a:cubicBezTo>
                      <a:pt x="29253" y="20493"/>
                      <a:pt x="21155" y="29583"/>
                      <a:pt x="21155" y="51233"/>
                    </a:cubicBezTo>
                    <a:cubicBezTo>
                      <a:pt x="21155" y="72884"/>
                      <a:pt x="29418" y="81974"/>
                      <a:pt x="4743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B99E0FE2-8450-D0A3-2395-9CBD99ED6040}"/>
                  </a:ext>
                </a:extLst>
              </p:cNvPr>
              <p:cNvSpPr/>
              <p:nvPr/>
            </p:nvSpPr>
            <p:spPr>
              <a:xfrm>
                <a:off x="10838145" y="5900242"/>
                <a:ext cx="120481" cy="134530"/>
              </a:xfrm>
              <a:custGeom>
                <a:avLst/>
                <a:gdLst>
                  <a:gd name="connsiteX0" fmla="*/ 110235 w 120481"/>
                  <a:gd name="connsiteY0" fmla="*/ 0 h 134530"/>
                  <a:gd name="connsiteX1" fmla="*/ 110235 w 120481"/>
                  <a:gd name="connsiteY1" fmla="*/ 23469 h 134530"/>
                  <a:gd name="connsiteX2" fmla="*/ 41152 w 120481"/>
                  <a:gd name="connsiteY2" fmla="*/ 23469 h 134530"/>
                  <a:gd name="connsiteX3" fmla="*/ 23634 w 120481"/>
                  <a:gd name="connsiteY3" fmla="*/ 39500 h 134530"/>
                  <a:gd name="connsiteX4" fmla="*/ 43631 w 120481"/>
                  <a:gd name="connsiteY4" fmla="*/ 55366 h 134530"/>
                  <a:gd name="connsiteX5" fmla="*/ 75198 w 120481"/>
                  <a:gd name="connsiteY5" fmla="*/ 55366 h 134530"/>
                  <a:gd name="connsiteX6" fmla="*/ 120482 w 120481"/>
                  <a:gd name="connsiteY6" fmla="*/ 95030 h 134530"/>
                  <a:gd name="connsiteX7" fmla="*/ 77512 w 120481"/>
                  <a:gd name="connsiteY7" fmla="*/ 134530 h 134530"/>
                  <a:gd name="connsiteX8" fmla="*/ 2479 w 120481"/>
                  <a:gd name="connsiteY8" fmla="*/ 134530 h 134530"/>
                  <a:gd name="connsiteX9" fmla="*/ 2479 w 120481"/>
                  <a:gd name="connsiteY9" fmla="*/ 111062 h 134530"/>
                  <a:gd name="connsiteX10" fmla="*/ 78338 w 120481"/>
                  <a:gd name="connsiteY10" fmla="*/ 111062 h 134530"/>
                  <a:gd name="connsiteX11" fmla="*/ 96848 w 120481"/>
                  <a:gd name="connsiteY11" fmla="*/ 94370 h 134530"/>
                  <a:gd name="connsiteX12" fmla="*/ 75694 w 120481"/>
                  <a:gd name="connsiteY12" fmla="*/ 77677 h 134530"/>
                  <a:gd name="connsiteX13" fmla="*/ 44293 w 120481"/>
                  <a:gd name="connsiteY13" fmla="*/ 77677 h 134530"/>
                  <a:gd name="connsiteX14" fmla="*/ 0 w 120481"/>
                  <a:gd name="connsiteY14" fmla="*/ 38839 h 134530"/>
                  <a:gd name="connsiteX15" fmla="*/ 41979 w 120481"/>
                  <a:gd name="connsiteY15" fmla="*/ 165 h 134530"/>
                  <a:gd name="connsiteX16" fmla="*/ 110235 w 120481"/>
                  <a:gd name="connsiteY16" fmla="*/ 165 h 13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481" h="134530">
                    <a:moveTo>
                      <a:pt x="110235" y="0"/>
                    </a:moveTo>
                    <a:lnTo>
                      <a:pt x="110235" y="23469"/>
                    </a:lnTo>
                    <a:lnTo>
                      <a:pt x="41152" y="23469"/>
                    </a:lnTo>
                    <a:cubicBezTo>
                      <a:pt x="28922" y="23469"/>
                      <a:pt x="23634" y="30079"/>
                      <a:pt x="23634" y="39500"/>
                    </a:cubicBezTo>
                    <a:cubicBezTo>
                      <a:pt x="23634" y="47598"/>
                      <a:pt x="27766" y="55366"/>
                      <a:pt x="43631" y="55366"/>
                    </a:cubicBezTo>
                    <a:lnTo>
                      <a:pt x="75198" y="55366"/>
                    </a:lnTo>
                    <a:cubicBezTo>
                      <a:pt x="111888" y="55366"/>
                      <a:pt x="120482" y="75694"/>
                      <a:pt x="120482" y="95030"/>
                    </a:cubicBezTo>
                    <a:cubicBezTo>
                      <a:pt x="120482" y="117838"/>
                      <a:pt x="108252" y="134530"/>
                      <a:pt x="77512" y="134530"/>
                    </a:cubicBezTo>
                    <a:lnTo>
                      <a:pt x="2479" y="134530"/>
                    </a:lnTo>
                    <a:lnTo>
                      <a:pt x="2479" y="111062"/>
                    </a:lnTo>
                    <a:lnTo>
                      <a:pt x="78338" y="111062"/>
                    </a:lnTo>
                    <a:cubicBezTo>
                      <a:pt x="91064" y="111062"/>
                      <a:pt x="96848" y="104121"/>
                      <a:pt x="96848" y="94370"/>
                    </a:cubicBezTo>
                    <a:cubicBezTo>
                      <a:pt x="96848" y="85610"/>
                      <a:pt x="92221" y="77677"/>
                      <a:pt x="75694" y="77677"/>
                    </a:cubicBezTo>
                    <a:lnTo>
                      <a:pt x="44293" y="77677"/>
                    </a:lnTo>
                    <a:cubicBezTo>
                      <a:pt x="8263" y="77677"/>
                      <a:pt x="0" y="57514"/>
                      <a:pt x="0" y="38839"/>
                    </a:cubicBezTo>
                    <a:cubicBezTo>
                      <a:pt x="0" y="16527"/>
                      <a:pt x="12065" y="165"/>
                      <a:pt x="41979" y="165"/>
                    </a:cubicBezTo>
                    <a:lnTo>
                      <a:pt x="110235" y="1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17AFA95E-B151-5608-C2CD-5B20360A53F0}"/>
                  </a:ext>
                </a:extLst>
              </p:cNvPr>
              <p:cNvSpPr/>
              <p:nvPr/>
            </p:nvSpPr>
            <p:spPr>
              <a:xfrm>
                <a:off x="10982922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60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60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1CB20793-BAF5-CDFC-6ED2-7E1C25C4D613}"/>
                  </a:ext>
                </a:extLst>
              </p:cNvPr>
              <p:cNvSpPr/>
              <p:nvPr/>
            </p:nvSpPr>
            <p:spPr>
              <a:xfrm>
                <a:off x="11116295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1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1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0FD62C94-5D70-E8F1-C243-636AC72D0F67}"/>
                  </a:ext>
                </a:extLst>
              </p:cNvPr>
              <p:cNvSpPr/>
              <p:nvPr/>
            </p:nvSpPr>
            <p:spPr>
              <a:xfrm>
                <a:off x="11203227" y="5929495"/>
                <a:ext cx="127423" cy="107756"/>
              </a:xfrm>
              <a:custGeom>
                <a:avLst/>
                <a:gdLst>
                  <a:gd name="connsiteX0" fmla="*/ 22147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2 w 127423"/>
                  <a:gd name="connsiteY3" fmla="*/ 84618 h 107756"/>
                  <a:gd name="connsiteX4" fmla="*/ 104616 w 127423"/>
                  <a:gd name="connsiteY4" fmla="*/ 0 h 107756"/>
                  <a:gd name="connsiteX5" fmla="*/ 127424 w 127423"/>
                  <a:gd name="connsiteY5" fmla="*/ 0 h 107756"/>
                  <a:gd name="connsiteX6" fmla="*/ 86767 w 127423"/>
                  <a:gd name="connsiteY6" fmla="*/ 94039 h 107756"/>
                  <a:gd name="connsiteX7" fmla="*/ 62638 w 127423"/>
                  <a:gd name="connsiteY7" fmla="*/ 107756 h 107756"/>
                  <a:gd name="connsiteX8" fmla="*/ 38674 w 127423"/>
                  <a:gd name="connsiteY8" fmla="*/ 94039 h 107756"/>
                  <a:gd name="connsiteX9" fmla="*/ 0 w 127423"/>
                  <a:gd name="connsiteY9" fmla="*/ 0 h 107756"/>
                  <a:gd name="connsiteX10" fmla="*/ 22312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7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2" y="84618"/>
                    </a:cubicBezTo>
                    <a:lnTo>
                      <a:pt x="104616" y="0"/>
                    </a:lnTo>
                    <a:lnTo>
                      <a:pt x="127424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8" y="107756"/>
                    </a:cubicBezTo>
                    <a:cubicBezTo>
                      <a:pt x="50738" y="107756"/>
                      <a:pt x="42640" y="103790"/>
                      <a:pt x="38674" y="94039"/>
                    </a:cubicBezTo>
                    <a:lnTo>
                      <a:pt x="0" y="0"/>
                    </a:lnTo>
                    <a:lnTo>
                      <a:pt x="223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958F0C82-BD6C-4EA3-764D-BD0651B6F91C}"/>
                  </a:ext>
                </a:extLst>
              </p:cNvPr>
              <p:cNvSpPr/>
              <p:nvPr/>
            </p:nvSpPr>
            <p:spPr>
              <a:xfrm>
                <a:off x="11351144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5AB2CAAE-464B-D182-4D81-37D78F5FEE73}"/>
                  </a:ext>
                </a:extLst>
              </p:cNvPr>
              <p:cNvSpPr/>
              <p:nvPr/>
            </p:nvSpPr>
            <p:spPr>
              <a:xfrm>
                <a:off x="11398907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F8B36D84-44D2-E1FE-8DDC-BC1D2D6B8128}"/>
                  </a:ext>
                </a:extLst>
              </p:cNvPr>
              <p:cNvSpPr/>
              <p:nvPr/>
            </p:nvSpPr>
            <p:spPr>
              <a:xfrm>
                <a:off x="11523521" y="5929495"/>
                <a:ext cx="106269" cy="105277"/>
              </a:xfrm>
              <a:custGeom>
                <a:avLst/>
                <a:gdLst>
                  <a:gd name="connsiteX0" fmla="*/ 70736 w 106269"/>
                  <a:gd name="connsiteY0" fmla="*/ 0 h 105277"/>
                  <a:gd name="connsiteX1" fmla="*/ 106269 w 106269"/>
                  <a:gd name="connsiteY1" fmla="*/ 32393 h 105277"/>
                  <a:gd name="connsiteX2" fmla="*/ 70571 w 106269"/>
                  <a:gd name="connsiteY2" fmla="*/ 62637 h 105277"/>
                  <a:gd name="connsiteX3" fmla="*/ 20494 w 106269"/>
                  <a:gd name="connsiteY3" fmla="*/ 62637 h 105277"/>
                  <a:gd name="connsiteX4" fmla="*/ 20494 w 106269"/>
                  <a:gd name="connsiteY4" fmla="*/ 70240 h 105277"/>
                  <a:gd name="connsiteX5" fmla="*/ 36690 w 106269"/>
                  <a:gd name="connsiteY5" fmla="*/ 84784 h 105277"/>
                  <a:gd name="connsiteX6" fmla="*/ 101145 w 106269"/>
                  <a:gd name="connsiteY6" fmla="*/ 84784 h 105277"/>
                  <a:gd name="connsiteX7" fmla="*/ 101145 w 106269"/>
                  <a:gd name="connsiteY7" fmla="*/ 105277 h 105277"/>
                  <a:gd name="connsiteX8" fmla="*/ 36690 w 106269"/>
                  <a:gd name="connsiteY8" fmla="*/ 105277 h 105277"/>
                  <a:gd name="connsiteX9" fmla="*/ 0 w 106269"/>
                  <a:gd name="connsiteY9" fmla="*/ 70570 h 105277"/>
                  <a:gd name="connsiteX10" fmla="*/ 0 w 106269"/>
                  <a:gd name="connsiteY10" fmla="*/ 34706 h 105277"/>
                  <a:gd name="connsiteX11" fmla="*/ 36690 w 106269"/>
                  <a:gd name="connsiteY11" fmla="*/ 0 h 105277"/>
                  <a:gd name="connsiteX12" fmla="*/ 70901 w 106269"/>
                  <a:gd name="connsiteY12" fmla="*/ 0 h 105277"/>
                  <a:gd name="connsiteX13" fmla="*/ 20494 w 106269"/>
                  <a:gd name="connsiteY13" fmla="*/ 46110 h 105277"/>
                  <a:gd name="connsiteX14" fmla="*/ 70075 w 106269"/>
                  <a:gd name="connsiteY14" fmla="*/ 46110 h 105277"/>
                  <a:gd name="connsiteX15" fmla="*/ 85610 w 106269"/>
                  <a:gd name="connsiteY15" fmla="*/ 33550 h 105277"/>
                  <a:gd name="connsiteX16" fmla="*/ 70571 w 106269"/>
                  <a:gd name="connsiteY16" fmla="*/ 20328 h 105277"/>
                  <a:gd name="connsiteX17" fmla="*/ 36525 w 106269"/>
                  <a:gd name="connsiteY17" fmla="*/ 20328 h 105277"/>
                  <a:gd name="connsiteX18" fmla="*/ 20328 w 106269"/>
                  <a:gd name="connsiteY18" fmla="*/ 34872 h 105277"/>
                  <a:gd name="connsiteX19" fmla="*/ 20328 w 106269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9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1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4" y="46110"/>
                    </a:moveTo>
                    <a:lnTo>
                      <a:pt x="70075" y="46110"/>
                    </a:lnTo>
                    <a:cubicBezTo>
                      <a:pt x="81479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1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87" name="Graphic 8">
              <a:extLst>
                <a:ext uri="{FF2B5EF4-FFF2-40B4-BE49-F238E27FC236}">
                  <a16:creationId xmlns:a16="http://schemas.microsoft.com/office/drawing/2014/main" id="{994FA7A5-315C-3BA5-29CC-BD0617C321EC}"/>
                </a:ext>
              </a:extLst>
            </p:cNvPr>
            <p:cNvGrpSpPr/>
            <p:nvPr/>
          </p:nvGrpSpPr>
          <p:grpSpPr>
            <a:xfrm>
              <a:off x="7596585" y="467263"/>
              <a:ext cx="3048167" cy="4652212"/>
              <a:chOff x="7596585" y="467263"/>
              <a:chExt cx="3048167" cy="4652212"/>
            </a:xfrm>
          </p:grpSpPr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A367737B-DB34-D72F-97F8-242F45FEA56B}"/>
                  </a:ext>
                </a:extLst>
              </p:cNvPr>
              <p:cNvSpPr/>
              <p:nvPr/>
            </p:nvSpPr>
            <p:spPr>
              <a:xfrm>
                <a:off x="9438356" y="3891725"/>
                <a:ext cx="1206396" cy="930285"/>
              </a:xfrm>
              <a:custGeom>
                <a:avLst/>
                <a:gdLst>
                  <a:gd name="connsiteX0" fmla="*/ 1191549 w 1206396"/>
                  <a:gd name="connsiteY0" fmla="*/ 925501 h 930285"/>
                  <a:gd name="connsiteX1" fmla="*/ 1154363 w 1206396"/>
                  <a:gd name="connsiteY1" fmla="*/ 916742 h 930285"/>
                  <a:gd name="connsiteX2" fmla="*/ 1151553 w 1206396"/>
                  <a:gd name="connsiteY2" fmla="*/ 894100 h 930285"/>
                  <a:gd name="connsiteX3" fmla="*/ 990415 w 1206396"/>
                  <a:gd name="connsiteY3" fmla="*/ 608183 h 930285"/>
                  <a:gd name="connsiteX4" fmla="*/ 706811 w 1206396"/>
                  <a:gd name="connsiteY4" fmla="*/ 614132 h 930285"/>
                  <a:gd name="connsiteX5" fmla="*/ 666981 w 1206396"/>
                  <a:gd name="connsiteY5" fmla="*/ 647186 h 930285"/>
                  <a:gd name="connsiteX6" fmla="*/ 630621 w 1206396"/>
                  <a:gd name="connsiteY6" fmla="*/ 686356 h 930285"/>
                  <a:gd name="connsiteX7" fmla="*/ 616573 w 1206396"/>
                  <a:gd name="connsiteY7" fmla="*/ 703048 h 930285"/>
                  <a:gd name="connsiteX8" fmla="*/ 582032 w 1206396"/>
                  <a:gd name="connsiteY8" fmla="*/ 698916 h 930285"/>
                  <a:gd name="connsiteX9" fmla="*/ 572777 w 1206396"/>
                  <a:gd name="connsiteY9" fmla="*/ 671647 h 930285"/>
                  <a:gd name="connsiteX10" fmla="*/ 558894 w 1206396"/>
                  <a:gd name="connsiteY10" fmla="*/ 640245 h 930285"/>
                  <a:gd name="connsiteX11" fmla="*/ 492621 w 1206396"/>
                  <a:gd name="connsiteY11" fmla="*/ 649500 h 930285"/>
                  <a:gd name="connsiteX12" fmla="*/ 446014 w 1206396"/>
                  <a:gd name="connsiteY12" fmla="*/ 656441 h 930285"/>
                  <a:gd name="connsiteX13" fmla="*/ 438577 w 1206396"/>
                  <a:gd name="connsiteY13" fmla="*/ 636279 h 930285"/>
                  <a:gd name="connsiteX14" fmla="*/ 442709 w 1206396"/>
                  <a:gd name="connsiteY14" fmla="*/ 620082 h 930285"/>
                  <a:gd name="connsiteX15" fmla="*/ 446841 w 1206396"/>
                  <a:gd name="connsiteY15" fmla="*/ 588185 h 930285"/>
                  <a:gd name="connsiteX16" fmla="*/ 442544 w 1206396"/>
                  <a:gd name="connsiteY16" fmla="*/ 553644 h 930285"/>
                  <a:gd name="connsiteX17" fmla="*/ 413787 w 1206396"/>
                  <a:gd name="connsiteY17" fmla="*/ 507368 h 930285"/>
                  <a:gd name="connsiteX18" fmla="*/ 264878 w 1206396"/>
                  <a:gd name="connsiteY18" fmla="*/ 493981 h 930285"/>
                  <a:gd name="connsiteX19" fmla="*/ 231659 w 1206396"/>
                  <a:gd name="connsiteY19" fmla="*/ 501088 h 930285"/>
                  <a:gd name="connsiteX20" fmla="*/ 207695 w 1206396"/>
                  <a:gd name="connsiteY20" fmla="*/ 486709 h 930285"/>
                  <a:gd name="connsiteX21" fmla="*/ 150677 w 1206396"/>
                  <a:gd name="connsiteY21" fmla="*/ 406884 h 930285"/>
                  <a:gd name="connsiteX22" fmla="*/ 45234 w 1206396"/>
                  <a:gd name="connsiteY22" fmla="*/ 186909 h 930285"/>
                  <a:gd name="connsiteX23" fmla="*/ 115 w 1206396"/>
                  <a:gd name="connsiteY23" fmla="*/ 30398 h 930285"/>
                  <a:gd name="connsiteX24" fmla="*/ 47383 w 1206396"/>
                  <a:gd name="connsiteY24" fmla="*/ 10235 h 930285"/>
                  <a:gd name="connsiteX25" fmla="*/ 59117 w 1206396"/>
                  <a:gd name="connsiteY25" fmla="*/ 45272 h 930285"/>
                  <a:gd name="connsiteX26" fmla="*/ 134150 w 1206396"/>
                  <a:gd name="connsiteY26" fmla="*/ 257645 h 930285"/>
                  <a:gd name="connsiteX27" fmla="*/ 229510 w 1206396"/>
                  <a:gd name="connsiteY27" fmla="*/ 417791 h 930285"/>
                  <a:gd name="connsiteX28" fmla="*/ 246203 w 1206396"/>
                  <a:gd name="connsiteY28" fmla="*/ 441260 h 930285"/>
                  <a:gd name="connsiteX29" fmla="*/ 251657 w 1206396"/>
                  <a:gd name="connsiteY29" fmla="*/ 439111 h 930285"/>
                  <a:gd name="connsiteX30" fmla="*/ 363545 w 1206396"/>
                  <a:gd name="connsiteY30" fmla="*/ 424402 h 930285"/>
                  <a:gd name="connsiteX31" fmla="*/ 457583 w 1206396"/>
                  <a:gd name="connsiteY31" fmla="*/ 473983 h 930285"/>
                  <a:gd name="connsiteX32" fmla="*/ 500884 w 1206396"/>
                  <a:gd name="connsiteY32" fmla="*/ 564386 h 930285"/>
                  <a:gd name="connsiteX33" fmla="*/ 503033 w 1206396"/>
                  <a:gd name="connsiteY33" fmla="*/ 578104 h 930285"/>
                  <a:gd name="connsiteX34" fmla="*/ 514601 w 1206396"/>
                  <a:gd name="connsiteY34" fmla="*/ 576120 h 930285"/>
                  <a:gd name="connsiteX35" fmla="*/ 563687 w 1206396"/>
                  <a:gd name="connsiteY35" fmla="*/ 580913 h 930285"/>
                  <a:gd name="connsiteX36" fmla="*/ 603352 w 1206396"/>
                  <a:gd name="connsiteY36" fmla="*/ 607852 h 930285"/>
                  <a:gd name="connsiteX37" fmla="*/ 613764 w 1206396"/>
                  <a:gd name="connsiteY37" fmla="*/ 619586 h 930285"/>
                  <a:gd name="connsiteX38" fmla="*/ 626655 w 1206396"/>
                  <a:gd name="connsiteY38" fmla="*/ 607356 h 930285"/>
                  <a:gd name="connsiteX39" fmla="*/ 931083 w 1206396"/>
                  <a:gd name="connsiteY39" fmla="*/ 527200 h 930285"/>
                  <a:gd name="connsiteX40" fmla="*/ 1206092 w 1206396"/>
                  <a:gd name="connsiteY40" fmla="*/ 887655 h 930285"/>
                  <a:gd name="connsiteX41" fmla="*/ 1197663 w 1206396"/>
                  <a:gd name="connsiteY41" fmla="*/ 919882 h 930285"/>
                  <a:gd name="connsiteX42" fmla="*/ 1191383 w 1206396"/>
                  <a:gd name="connsiteY42" fmla="*/ 925336 h 930285"/>
                  <a:gd name="connsiteX43" fmla="*/ 1191383 w 1206396"/>
                  <a:gd name="connsiteY43" fmla="*/ 925336 h 93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06396" h="930285">
                    <a:moveTo>
                      <a:pt x="1191549" y="925501"/>
                    </a:moveTo>
                    <a:cubicBezTo>
                      <a:pt x="1176509" y="934261"/>
                      <a:pt x="1161635" y="930790"/>
                      <a:pt x="1154363" y="916742"/>
                    </a:cubicBezTo>
                    <a:cubicBezTo>
                      <a:pt x="1151388" y="910958"/>
                      <a:pt x="1150892" y="906826"/>
                      <a:pt x="1151553" y="894100"/>
                    </a:cubicBezTo>
                    <a:cubicBezTo>
                      <a:pt x="1157668" y="776262"/>
                      <a:pt x="1094535" y="664375"/>
                      <a:pt x="990415" y="608183"/>
                    </a:cubicBezTo>
                    <a:cubicBezTo>
                      <a:pt x="899681" y="559263"/>
                      <a:pt x="793908" y="561411"/>
                      <a:pt x="706811" y="614132"/>
                    </a:cubicBezTo>
                    <a:cubicBezTo>
                      <a:pt x="694911" y="621239"/>
                      <a:pt x="690119" y="625371"/>
                      <a:pt x="666981" y="647186"/>
                    </a:cubicBezTo>
                    <a:cubicBezTo>
                      <a:pt x="643843" y="669167"/>
                      <a:pt x="639546" y="673795"/>
                      <a:pt x="630621" y="686356"/>
                    </a:cubicBezTo>
                    <a:cubicBezTo>
                      <a:pt x="624672" y="694784"/>
                      <a:pt x="619052" y="701726"/>
                      <a:pt x="616573" y="703048"/>
                    </a:cubicBezTo>
                    <a:cubicBezTo>
                      <a:pt x="605335" y="709824"/>
                      <a:pt x="590626" y="708006"/>
                      <a:pt x="582032" y="698916"/>
                    </a:cubicBezTo>
                    <a:cubicBezTo>
                      <a:pt x="575421" y="691975"/>
                      <a:pt x="573107" y="685033"/>
                      <a:pt x="572777" y="671647"/>
                    </a:cubicBezTo>
                    <a:cubicBezTo>
                      <a:pt x="572446" y="658425"/>
                      <a:pt x="567819" y="647517"/>
                      <a:pt x="558894" y="640245"/>
                    </a:cubicBezTo>
                    <a:cubicBezTo>
                      <a:pt x="538566" y="623387"/>
                      <a:pt x="510966" y="627189"/>
                      <a:pt x="492621" y="649500"/>
                    </a:cubicBezTo>
                    <a:cubicBezTo>
                      <a:pt x="477912" y="667349"/>
                      <a:pt x="459071" y="670159"/>
                      <a:pt x="446014" y="656441"/>
                    </a:cubicBezTo>
                    <a:cubicBezTo>
                      <a:pt x="441552" y="651649"/>
                      <a:pt x="438082" y="642228"/>
                      <a:pt x="438577" y="636279"/>
                    </a:cubicBezTo>
                    <a:cubicBezTo>
                      <a:pt x="438743" y="634295"/>
                      <a:pt x="440560" y="627023"/>
                      <a:pt x="442709" y="620082"/>
                    </a:cubicBezTo>
                    <a:cubicBezTo>
                      <a:pt x="445188" y="611984"/>
                      <a:pt x="446676" y="600911"/>
                      <a:pt x="446841" y="588185"/>
                    </a:cubicBezTo>
                    <a:cubicBezTo>
                      <a:pt x="447171" y="571823"/>
                      <a:pt x="446510" y="566369"/>
                      <a:pt x="442544" y="553644"/>
                    </a:cubicBezTo>
                    <a:cubicBezTo>
                      <a:pt x="436429" y="534142"/>
                      <a:pt x="427669" y="520094"/>
                      <a:pt x="413787" y="507368"/>
                    </a:cubicBezTo>
                    <a:cubicBezTo>
                      <a:pt x="375775" y="472330"/>
                      <a:pt x="319252" y="467207"/>
                      <a:pt x="264878" y="493981"/>
                    </a:cubicBezTo>
                    <a:cubicBezTo>
                      <a:pt x="247690" y="502410"/>
                      <a:pt x="241906" y="503732"/>
                      <a:pt x="231659" y="501088"/>
                    </a:cubicBezTo>
                    <a:cubicBezTo>
                      <a:pt x="221412" y="498443"/>
                      <a:pt x="215628" y="495138"/>
                      <a:pt x="207695" y="486709"/>
                    </a:cubicBezTo>
                    <a:cubicBezTo>
                      <a:pt x="197613" y="476132"/>
                      <a:pt x="171996" y="440103"/>
                      <a:pt x="150677" y="406884"/>
                    </a:cubicBezTo>
                    <a:cubicBezTo>
                      <a:pt x="116300" y="352840"/>
                      <a:pt x="74818" y="266404"/>
                      <a:pt x="45234" y="186909"/>
                    </a:cubicBezTo>
                    <a:cubicBezTo>
                      <a:pt x="27716" y="139807"/>
                      <a:pt x="1768" y="49569"/>
                      <a:pt x="115" y="30398"/>
                    </a:cubicBezTo>
                    <a:cubicBezTo>
                      <a:pt x="-2198" y="3128"/>
                      <a:pt x="30856" y="-10920"/>
                      <a:pt x="47383" y="10235"/>
                    </a:cubicBezTo>
                    <a:cubicBezTo>
                      <a:pt x="51019" y="14863"/>
                      <a:pt x="53498" y="22134"/>
                      <a:pt x="59117" y="45272"/>
                    </a:cubicBezTo>
                    <a:cubicBezTo>
                      <a:pt x="76966" y="117330"/>
                      <a:pt x="103079" y="191536"/>
                      <a:pt x="134150" y="257645"/>
                    </a:cubicBezTo>
                    <a:cubicBezTo>
                      <a:pt x="159601" y="312018"/>
                      <a:pt x="185549" y="355485"/>
                      <a:pt x="229510" y="417791"/>
                    </a:cubicBezTo>
                    <a:lnTo>
                      <a:pt x="246203" y="441260"/>
                    </a:lnTo>
                    <a:lnTo>
                      <a:pt x="251657" y="439111"/>
                    </a:lnTo>
                    <a:cubicBezTo>
                      <a:pt x="294296" y="422584"/>
                      <a:pt x="327020" y="418287"/>
                      <a:pt x="363545" y="424402"/>
                    </a:cubicBezTo>
                    <a:cubicBezTo>
                      <a:pt x="400565" y="430683"/>
                      <a:pt x="432297" y="447375"/>
                      <a:pt x="457583" y="473983"/>
                    </a:cubicBezTo>
                    <a:cubicBezTo>
                      <a:pt x="482374" y="500096"/>
                      <a:pt x="496918" y="530506"/>
                      <a:pt x="500884" y="564386"/>
                    </a:cubicBezTo>
                    <a:cubicBezTo>
                      <a:pt x="501710" y="571989"/>
                      <a:pt x="502702" y="578104"/>
                      <a:pt x="503033" y="578104"/>
                    </a:cubicBezTo>
                    <a:cubicBezTo>
                      <a:pt x="503528" y="577938"/>
                      <a:pt x="508487" y="577277"/>
                      <a:pt x="514601" y="576120"/>
                    </a:cubicBezTo>
                    <a:cubicBezTo>
                      <a:pt x="529972" y="573476"/>
                      <a:pt x="548813" y="575294"/>
                      <a:pt x="563687" y="580913"/>
                    </a:cubicBezTo>
                    <a:cubicBezTo>
                      <a:pt x="581701" y="587524"/>
                      <a:pt x="590957" y="593804"/>
                      <a:pt x="603352" y="607852"/>
                    </a:cubicBezTo>
                    <a:lnTo>
                      <a:pt x="613764" y="619586"/>
                    </a:lnTo>
                    <a:lnTo>
                      <a:pt x="626655" y="607356"/>
                    </a:lnTo>
                    <a:cubicBezTo>
                      <a:pt x="706646" y="531332"/>
                      <a:pt x="821178" y="501253"/>
                      <a:pt x="931083" y="527200"/>
                    </a:cubicBezTo>
                    <a:cubicBezTo>
                      <a:pt x="1095196" y="566039"/>
                      <a:pt x="1213199" y="720732"/>
                      <a:pt x="1206092" y="887655"/>
                    </a:cubicBezTo>
                    <a:cubicBezTo>
                      <a:pt x="1205266" y="906330"/>
                      <a:pt x="1204109" y="911123"/>
                      <a:pt x="1197663" y="919882"/>
                    </a:cubicBezTo>
                    <a:cubicBezTo>
                      <a:pt x="1196341" y="921535"/>
                      <a:pt x="1193532" y="924014"/>
                      <a:pt x="1191383" y="925336"/>
                    </a:cubicBezTo>
                    <a:lnTo>
                      <a:pt x="1191383" y="92533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D052A297-B399-9058-B1F2-846AB47F8011}"/>
                  </a:ext>
                </a:extLst>
              </p:cNvPr>
              <p:cNvSpPr/>
              <p:nvPr/>
            </p:nvSpPr>
            <p:spPr>
              <a:xfrm>
                <a:off x="9263243" y="4301106"/>
                <a:ext cx="876635" cy="818369"/>
              </a:xfrm>
              <a:custGeom>
                <a:avLst/>
                <a:gdLst>
                  <a:gd name="connsiteX0" fmla="*/ 860109 w 876635"/>
                  <a:gd name="connsiteY0" fmla="*/ 816416 h 818369"/>
                  <a:gd name="connsiteX1" fmla="*/ 836971 w 876635"/>
                  <a:gd name="connsiteY1" fmla="*/ 815425 h 818369"/>
                  <a:gd name="connsiteX2" fmla="*/ 820444 w 876635"/>
                  <a:gd name="connsiteY2" fmla="*/ 779231 h 818369"/>
                  <a:gd name="connsiteX3" fmla="*/ 793505 w 876635"/>
                  <a:gd name="connsiteY3" fmla="*/ 705024 h 818369"/>
                  <a:gd name="connsiteX4" fmla="*/ 747890 w 876635"/>
                  <a:gd name="connsiteY4" fmla="*/ 655774 h 818369"/>
                  <a:gd name="connsiteX5" fmla="*/ 546591 w 876635"/>
                  <a:gd name="connsiteY5" fmla="*/ 654451 h 818369"/>
                  <a:gd name="connsiteX6" fmla="*/ 510397 w 876635"/>
                  <a:gd name="connsiteY6" fmla="*/ 684035 h 818369"/>
                  <a:gd name="connsiteX7" fmla="*/ 478169 w 876635"/>
                  <a:gd name="connsiteY7" fmla="*/ 719568 h 818369"/>
                  <a:gd name="connsiteX8" fmla="*/ 461146 w 876635"/>
                  <a:gd name="connsiteY8" fmla="*/ 737086 h 818369"/>
                  <a:gd name="connsiteX9" fmla="*/ 434868 w 876635"/>
                  <a:gd name="connsiteY9" fmla="*/ 735764 h 818369"/>
                  <a:gd name="connsiteX10" fmla="*/ 421647 w 876635"/>
                  <a:gd name="connsiteY10" fmla="*/ 712296 h 818369"/>
                  <a:gd name="connsiteX11" fmla="*/ 411070 w 876635"/>
                  <a:gd name="connsiteY11" fmla="*/ 692133 h 818369"/>
                  <a:gd name="connsiteX12" fmla="*/ 377354 w 876635"/>
                  <a:gd name="connsiteY12" fmla="*/ 683209 h 818369"/>
                  <a:gd name="connsiteX13" fmla="*/ 340003 w 876635"/>
                  <a:gd name="connsiteY13" fmla="*/ 664533 h 818369"/>
                  <a:gd name="connsiteX14" fmla="*/ 342152 w 876635"/>
                  <a:gd name="connsiteY14" fmla="*/ 641395 h 818369"/>
                  <a:gd name="connsiteX15" fmla="*/ 348101 w 876635"/>
                  <a:gd name="connsiteY15" fmla="*/ 627347 h 818369"/>
                  <a:gd name="connsiteX16" fmla="*/ 278357 w 876635"/>
                  <a:gd name="connsiteY16" fmla="*/ 523557 h 818369"/>
                  <a:gd name="connsiteX17" fmla="*/ 218199 w 876635"/>
                  <a:gd name="connsiteY17" fmla="*/ 543720 h 818369"/>
                  <a:gd name="connsiteX18" fmla="*/ 202829 w 876635"/>
                  <a:gd name="connsiteY18" fmla="*/ 552976 h 818369"/>
                  <a:gd name="connsiteX19" fmla="*/ 165147 w 876635"/>
                  <a:gd name="connsiteY19" fmla="*/ 541406 h 818369"/>
                  <a:gd name="connsiteX20" fmla="*/ 129118 w 876635"/>
                  <a:gd name="connsiteY20" fmla="*/ 471828 h 818369"/>
                  <a:gd name="connsiteX21" fmla="*/ 3183 w 876635"/>
                  <a:gd name="connsiteY21" fmla="*/ 65098 h 818369"/>
                  <a:gd name="connsiteX22" fmla="*/ 3513 w 876635"/>
                  <a:gd name="connsiteY22" fmla="*/ 12707 h 818369"/>
                  <a:gd name="connsiteX23" fmla="*/ 43343 w 876635"/>
                  <a:gd name="connsiteY23" fmla="*/ 6923 h 818369"/>
                  <a:gd name="connsiteX24" fmla="*/ 55408 w 876635"/>
                  <a:gd name="connsiteY24" fmla="*/ 42456 h 818369"/>
                  <a:gd name="connsiteX25" fmla="*/ 158041 w 876635"/>
                  <a:gd name="connsiteY25" fmla="*/ 402249 h 818369"/>
                  <a:gd name="connsiteX26" fmla="*/ 197540 w 876635"/>
                  <a:gd name="connsiteY26" fmla="*/ 488355 h 818369"/>
                  <a:gd name="connsiteX27" fmla="*/ 208448 w 876635"/>
                  <a:gd name="connsiteY27" fmla="*/ 484223 h 818369"/>
                  <a:gd name="connsiteX28" fmla="*/ 342152 w 876635"/>
                  <a:gd name="connsiteY28" fmla="*/ 487363 h 818369"/>
                  <a:gd name="connsiteX29" fmla="*/ 401484 w 876635"/>
                  <a:gd name="connsiteY29" fmla="*/ 562892 h 818369"/>
                  <a:gd name="connsiteX30" fmla="*/ 406938 w 876635"/>
                  <a:gd name="connsiteY30" fmla="*/ 615117 h 818369"/>
                  <a:gd name="connsiteX31" fmla="*/ 405450 w 876635"/>
                  <a:gd name="connsiteY31" fmla="*/ 627182 h 818369"/>
                  <a:gd name="connsiteX32" fmla="*/ 417515 w 876635"/>
                  <a:gd name="connsiteY32" fmla="*/ 631644 h 818369"/>
                  <a:gd name="connsiteX33" fmla="*/ 452057 w 876635"/>
                  <a:gd name="connsiteY33" fmla="*/ 653295 h 818369"/>
                  <a:gd name="connsiteX34" fmla="*/ 456684 w 876635"/>
                  <a:gd name="connsiteY34" fmla="*/ 658253 h 818369"/>
                  <a:gd name="connsiteX35" fmla="*/ 466931 w 876635"/>
                  <a:gd name="connsiteY35" fmla="*/ 647841 h 818369"/>
                  <a:gd name="connsiteX36" fmla="*/ 544773 w 876635"/>
                  <a:gd name="connsiteY36" fmla="*/ 593467 h 818369"/>
                  <a:gd name="connsiteX37" fmla="*/ 777969 w 876635"/>
                  <a:gd name="connsiteY37" fmla="*/ 609829 h 818369"/>
                  <a:gd name="connsiteX38" fmla="*/ 839119 w 876635"/>
                  <a:gd name="connsiteY38" fmla="*/ 674284 h 818369"/>
                  <a:gd name="connsiteX39" fmla="*/ 876636 w 876635"/>
                  <a:gd name="connsiteY39" fmla="*/ 788155 h 818369"/>
                  <a:gd name="connsiteX40" fmla="*/ 859943 w 876635"/>
                  <a:gd name="connsiteY40" fmla="*/ 816747 h 818369"/>
                  <a:gd name="connsiteX41" fmla="*/ 859943 w 876635"/>
                  <a:gd name="connsiteY41" fmla="*/ 816747 h 8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876635" h="818369">
                    <a:moveTo>
                      <a:pt x="860109" y="816416"/>
                    </a:moveTo>
                    <a:cubicBezTo>
                      <a:pt x="854324" y="819391"/>
                      <a:pt x="842755" y="818895"/>
                      <a:pt x="836971" y="815425"/>
                    </a:cubicBezTo>
                    <a:cubicBezTo>
                      <a:pt x="828212" y="810136"/>
                      <a:pt x="824080" y="801046"/>
                      <a:pt x="820444" y="779231"/>
                    </a:cubicBezTo>
                    <a:cubicBezTo>
                      <a:pt x="815816" y="750969"/>
                      <a:pt x="807057" y="726840"/>
                      <a:pt x="793505" y="705024"/>
                    </a:cubicBezTo>
                    <a:cubicBezTo>
                      <a:pt x="785076" y="691472"/>
                      <a:pt x="759459" y="663707"/>
                      <a:pt x="747890" y="655774"/>
                    </a:cubicBezTo>
                    <a:cubicBezTo>
                      <a:pt x="687567" y="614622"/>
                      <a:pt x="613856" y="614126"/>
                      <a:pt x="546591" y="654451"/>
                    </a:cubicBezTo>
                    <a:cubicBezTo>
                      <a:pt x="534526" y="661723"/>
                      <a:pt x="529899" y="665525"/>
                      <a:pt x="510397" y="684035"/>
                    </a:cubicBezTo>
                    <a:cubicBezTo>
                      <a:pt x="491226" y="702215"/>
                      <a:pt x="486598" y="707338"/>
                      <a:pt x="478169" y="719568"/>
                    </a:cubicBezTo>
                    <a:cubicBezTo>
                      <a:pt x="468749" y="733120"/>
                      <a:pt x="467922" y="733947"/>
                      <a:pt x="461146" y="737086"/>
                    </a:cubicBezTo>
                    <a:cubicBezTo>
                      <a:pt x="452718" y="741053"/>
                      <a:pt x="442636" y="740557"/>
                      <a:pt x="434868" y="735764"/>
                    </a:cubicBezTo>
                    <a:cubicBezTo>
                      <a:pt x="427597" y="731302"/>
                      <a:pt x="424787" y="726344"/>
                      <a:pt x="421647" y="712296"/>
                    </a:cubicBezTo>
                    <a:cubicBezTo>
                      <a:pt x="419168" y="701058"/>
                      <a:pt x="418507" y="699901"/>
                      <a:pt x="411070" y="692133"/>
                    </a:cubicBezTo>
                    <a:cubicBezTo>
                      <a:pt x="400823" y="681225"/>
                      <a:pt x="393881" y="679573"/>
                      <a:pt x="377354" y="683209"/>
                    </a:cubicBezTo>
                    <a:cubicBezTo>
                      <a:pt x="358183" y="687505"/>
                      <a:pt x="344796" y="680895"/>
                      <a:pt x="340003" y="664533"/>
                    </a:cubicBezTo>
                    <a:cubicBezTo>
                      <a:pt x="338020" y="657922"/>
                      <a:pt x="339342" y="644040"/>
                      <a:pt x="342152" y="641395"/>
                    </a:cubicBezTo>
                    <a:cubicBezTo>
                      <a:pt x="342813" y="640734"/>
                      <a:pt x="345622" y="634454"/>
                      <a:pt x="348101" y="627347"/>
                    </a:cubicBezTo>
                    <a:cubicBezTo>
                      <a:pt x="365620" y="578592"/>
                      <a:pt x="330748" y="526532"/>
                      <a:pt x="278357" y="523557"/>
                    </a:cubicBezTo>
                    <a:cubicBezTo>
                      <a:pt x="255715" y="522235"/>
                      <a:pt x="237370" y="528350"/>
                      <a:pt x="218199" y="543720"/>
                    </a:cubicBezTo>
                    <a:cubicBezTo>
                      <a:pt x="212745" y="548018"/>
                      <a:pt x="206300" y="551984"/>
                      <a:pt x="202829" y="552976"/>
                    </a:cubicBezTo>
                    <a:cubicBezTo>
                      <a:pt x="190930" y="556446"/>
                      <a:pt x="174898" y="551653"/>
                      <a:pt x="165147" y="541406"/>
                    </a:cubicBezTo>
                    <a:cubicBezTo>
                      <a:pt x="159693" y="535787"/>
                      <a:pt x="149447" y="515624"/>
                      <a:pt x="129118" y="471828"/>
                    </a:cubicBezTo>
                    <a:cubicBezTo>
                      <a:pt x="67803" y="339281"/>
                      <a:pt x="20371" y="185910"/>
                      <a:pt x="3183" y="65098"/>
                    </a:cubicBezTo>
                    <a:cubicBezTo>
                      <a:pt x="-1114" y="34357"/>
                      <a:pt x="-1114" y="20475"/>
                      <a:pt x="3513" y="12707"/>
                    </a:cubicBezTo>
                    <a:cubicBezTo>
                      <a:pt x="12272" y="-1506"/>
                      <a:pt x="30948" y="-4316"/>
                      <a:pt x="43343" y="6923"/>
                    </a:cubicBezTo>
                    <a:cubicBezTo>
                      <a:pt x="50946" y="13699"/>
                      <a:pt x="52598" y="18822"/>
                      <a:pt x="55408" y="42456"/>
                    </a:cubicBezTo>
                    <a:cubicBezTo>
                      <a:pt x="67638" y="143766"/>
                      <a:pt x="105320" y="275817"/>
                      <a:pt x="158041" y="402249"/>
                    </a:cubicBezTo>
                    <a:cubicBezTo>
                      <a:pt x="167792" y="425387"/>
                      <a:pt x="195722" y="486372"/>
                      <a:pt x="197540" y="488355"/>
                    </a:cubicBezTo>
                    <a:cubicBezTo>
                      <a:pt x="198201" y="489016"/>
                      <a:pt x="202994" y="487198"/>
                      <a:pt x="208448" y="484223"/>
                    </a:cubicBezTo>
                    <a:cubicBezTo>
                      <a:pt x="247783" y="462407"/>
                      <a:pt x="302487" y="463730"/>
                      <a:pt x="342152" y="487363"/>
                    </a:cubicBezTo>
                    <a:cubicBezTo>
                      <a:pt x="371735" y="505212"/>
                      <a:pt x="391402" y="530003"/>
                      <a:pt x="401484" y="562892"/>
                    </a:cubicBezTo>
                    <a:cubicBezTo>
                      <a:pt x="407268" y="581732"/>
                      <a:pt x="409086" y="598590"/>
                      <a:pt x="406938" y="615117"/>
                    </a:cubicBezTo>
                    <a:lnTo>
                      <a:pt x="405450" y="627182"/>
                    </a:lnTo>
                    <a:lnTo>
                      <a:pt x="417515" y="631644"/>
                    </a:lnTo>
                    <a:cubicBezTo>
                      <a:pt x="430241" y="636272"/>
                      <a:pt x="444124" y="645031"/>
                      <a:pt x="452057" y="653295"/>
                    </a:cubicBezTo>
                    <a:lnTo>
                      <a:pt x="456684" y="658253"/>
                    </a:lnTo>
                    <a:lnTo>
                      <a:pt x="466931" y="647841"/>
                    </a:lnTo>
                    <a:cubicBezTo>
                      <a:pt x="486433" y="628008"/>
                      <a:pt x="517338" y="606358"/>
                      <a:pt x="544773" y="593467"/>
                    </a:cubicBezTo>
                    <a:cubicBezTo>
                      <a:pt x="622946" y="556942"/>
                      <a:pt x="708721" y="562892"/>
                      <a:pt x="777969" y="609829"/>
                    </a:cubicBezTo>
                    <a:cubicBezTo>
                      <a:pt x="793505" y="620241"/>
                      <a:pt x="829369" y="658087"/>
                      <a:pt x="839119" y="674284"/>
                    </a:cubicBezTo>
                    <a:cubicBezTo>
                      <a:pt x="859778" y="708164"/>
                      <a:pt x="876305" y="758572"/>
                      <a:pt x="876636" y="788155"/>
                    </a:cubicBezTo>
                    <a:cubicBezTo>
                      <a:pt x="876636" y="800715"/>
                      <a:pt x="870521" y="811293"/>
                      <a:pt x="859943" y="816747"/>
                    </a:cubicBezTo>
                    <a:lnTo>
                      <a:pt x="859943" y="816747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09A3D029-844A-FA9D-DAED-B3C25E2FD422}"/>
                  </a:ext>
                </a:extLst>
              </p:cNvPr>
              <p:cNvSpPr/>
              <p:nvPr/>
            </p:nvSpPr>
            <p:spPr>
              <a:xfrm>
                <a:off x="8094383" y="4297816"/>
                <a:ext cx="893895" cy="798957"/>
              </a:xfrm>
              <a:custGeom>
                <a:avLst/>
                <a:gdLst>
                  <a:gd name="connsiteX0" fmla="*/ 708790 w 893895"/>
                  <a:gd name="connsiteY0" fmla="*/ 544201 h 798957"/>
                  <a:gd name="connsiteX1" fmla="*/ 678050 w 893895"/>
                  <a:gd name="connsiteY1" fmla="*/ 548003 h 798957"/>
                  <a:gd name="connsiteX2" fmla="*/ 661853 w 893895"/>
                  <a:gd name="connsiteY2" fmla="*/ 537260 h 798957"/>
                  <a:gd name="connsiteX3" fmla="*/ 607480 w 893895"/>
                  <a:gd name="connsiteY3" fmla="*/ 517097 h 798957"/>
                  <a:gd name="connsiteX4" fmla="*/ 549139 w 893895"/>
                  <a:gd name="connsiteY4" fmla="*/ 542383 h 798957"/>
                  <a:gd name="connsiteX5" fmla="*/ 534595 w 893895"/>
                  <a:gd name="connsiteY5" fmla="*/ 626671 h 798957"/>
                  <a:gd name="connsiteX6" fmla="*/ 529802 w 893895"/>
                  <a:gd name="connsiteY6" fmla="*/ 669972 h 798957"/>
                  <a:gd name="connsiteX7" fmla="*/ 499558 w 893895"/>
                  <a:gd name="connsiteY7" fmla="*/ 674104 h 798957"/>
                  <a:gd name="connsiteX8" fmla="*/ 467826 w 893895"/>
                  <a:gd name="connsiteY8" fmla="*/ 681376 h 798957"/>
                  <a:gd name="connsiteX9" fmla="*/ 458406 w 893895"/>
                  <a:gd name="connsiteY9" fmla="*/ 696415 h 798957"/>
                  <a:gd name="connsiteX10" fmla="*/ 445184 w 893895"/>
                  <a:gd name="connsiteY10" fmla="*/ 723189 h 798957"/>
                  <a:gd name="connsiteX11" fmla="*/ 416758 w 893895"/>
                  <a:gd name="connsiteY11" fmla="*/ 726494 h 798957"/>
                  <a:gd name="connsiteX12" fmla="*/ 400231 w 893895"/>
                  <a:gd name="connsiteY12" fmla="*/ 709141 h 798957"/>
                  <a:gd name="connsiteX13" fmla="*/ 339246 w 893895"/>
                  <a:gd name="connsiteY13" fmla="*/ 646008 h 798957"/>
                  <a:gd name="connsiteX14" fmla="*/ 231986 w 893895"/>
                  <a:gd name="connsiteY14" fmla="*/ 609814 h 798957"/>
                  <a:gd name="connsiteX15" fmla="*/ 74979 w 893895"/>
                  <a:gd name="connsiteY15" fmla="*/ 703357 h 798957"/>
                  <a:gd name="connsiteX16" fmla="*/ 56138 w 893895"/>
                  <a:gd name="connsiteY16" fmla="*/ 759879 h 798957"/>
                  <a:gd name="connsiteX17" fmla="*/ 43247 w 893895"/>
                  <a:gd name="connsiteY17" fmla="*/ 792272 h 798957"/>
                  <a:gd name="connsiteX18" fmla="*/ 1103 w 893895"/>
                  <a:gd name="connsiteY18" fmla="*/ 778224 h 798957"/>
                  <a:gd name="connsiteX19" fmla="*/ 27546 w 893895"/>
                  <a:gd name="connsiteY19" fmla="*/ 675757 h 798957"/>
                  <a:gd name="connsiteX20" fmla="*/ 73161 w 893895"/>
                  <a:gd name="connsiteY20" fmla="*/ 617085 h 798957"/>
                  <a:gd name="connsiteX21" fmla="*/ 108363 w 893895"/>
                  <a:gd name="connsiteY21" fmla="*/ 588163 h 798957"/>
                  <a:gd name="connsiteX22" fmla="*/ 248182 w 893895"/>
                  <a:gd name="connsiteY22" fmla="*/ 555605 h 798957"/>
                  <a:gd name="connsiteX23" fmla="*/ 371308 w 893895"/>
                  <a:gd name="connsiteY23" fmla="*/ 601881 h 798957"/>
                  <a:gd name="connsiteX24" fmla="*/ 418080 w 893895"/>
                  <a:gd name="connsiteY24" fmla="*/ 642537 h 798957"/>
                  <a:gd name="connsiteX25" fmla="*/ 422377 w 893895"/>
                  <a:gd name="connsiteY25" fmla="*/ 647826 h 798957"/>
                  <a:gd name="connsiteX26" fmla="*/ 428492 w 893895"/>
                  <a:gd name="connsiteY26" fmla="*/ 642041 h 798957"/>
                  <a:gd name="connsiteX27" fmla="*/ 462207 w 893895"/>
                  <a:gd name="connsiteY27" fmla="*/ 622044 h 798957"/>
                  <a:gd name="connsiteX28" fmla="*/ 474602 w 893895"/>
                  <a:gd name="connsiteY28" fmla="*/ 617912 h 798957"/>
                  <a:gd name="connsiteX29" fmla="*/ 473776 w 893895"/>
                  <a:gd name="connsiteY29" fmla="*/ 612623 h 798957"/>
                  <a:gd name="connsiteX30" fmla="*/ 477908 w 893895"/>
                  <a:gd name="connsiteY30" fmla="*/ 559406 h 798957"/>
                  <a:gd name="connsiteX31" fmla="*/ 525010 w 893895"/>
                  <a:gd name="connsiteY31" fmla="*/ 489993 h 798957"/>
                  <a:gd name="connsiteX32" fmla="*/ 655573 w 893895"/>
                  <a:gd name="connsiteY32" fmla="*/ 470987 h 798957"/>
                  <a:gd name="connsiteX33" fmla="*/ 677389 w 893895"/>
                  <a:gd name="connsiteY33" fmla="*/ 480737 h 798957"/>
                  <a:gd name="connsiteX34" fmla="*/ 684991 w 893895"/>
                  <a:gd name="connsiteY34" fmla="*/ 485200 h 798957"/>
                  <a:gd name="connsiteX35" fmla="*/ 693751 w 893895"/>
                  <a:gd name="connsiteY35" fmla="*/ 467846 h 798957"/>
                  <a:gd name="connsiteX36" fmla="*/ 772584 w 893895"/>
                  <a:gd name="connsiteY36" fmla="*/ 284397 h 798957"/>
                  <a:gd name="connsiteX37" fmla="*/ 837536 w 893895"/>
                  <a:gd name="connsiteY37" fmla="*/ 41615 h 798957"/>
                  <a:gd name="connsiteX38" fmla="*/ 842824 w 893895"/>
                  <a:gd name="connsiteY38" fmla="*/ 16163 h 798957"/>
                  <a:gd name="connsiteX39" fmla="*/ 892571 w 893895"/>
                  <a:gd name="connsiteY39" fmla="*/ 19138 h 798957"/>
                  <a:gd name="connsiteX40" fmla="*/ 888604 w 893895"/>
                  <a:gd name="connsiteY40" fmla="*/ 70537 h 798957"/>
                  <a:gd name="connsiteX41" fmla="*/ 735234 w 893895"/>
                  <a:gd name="connsiteY41" fmla="*/ 507181 h 798957"/>
                  <a:gd name="connsiteX42" fmla="*/ 708790 w 893895"/>
                  <a:gd name="connsiteY42" fmla="*/ 544201 h 798957"/>
                  <a:gd name="connsiteX43" fmla="*/ 708790 w 893895"/>
                  <a:gd name="connsiteY43" fmla="*/ 544201 h 79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893895" h="798957">
                    <a:moveTo>
                      <a:pt x="708790" y="544201"/>
                    </a:moveTo>
                    <a:cubicBezTo>
                      <a:pt x="697552" y="550316"/>
                      <a:pt x="687636" y="551473"/>
                      <a:pt x="678050" y="548003"/>
                    </a:cubicBezTo>
                    <a:cubicBezTo>
                      <a:pt x="674414" y="546680"/>
                      <a:pt x="667638" y="542218"/>
                      <a:pt x="661853" y="537260"/>
                    </a:cubicBezTo>
                    <a:cubicBezTo>
                      <a:pt x="645161" y="522882"/>
                      <a:pt x="629626" y="517097"/>
                      <a:pt x="607480" y="517097"/>
                    </a:cubicBezTo>
                    <a:cubicBezTo>
                      <a:pt x="584838" y="517097"/>
                      <a:pt x="564840" y="525691"/>
                      <a:pt x="549139" y="542383"/>
                    </a:cubicBezTo>
                    <a:cubicBezTo>
                      <a:pt x="527158" y="565687"/>
                      <a:pt x="522035" y="596096"/>
                      <a:pt x="534595" y="626671"/>
                    </a:cubicBezTo>
                    <a:cubicBezTo>
                      <a:pt x="543685" y="648322"/>
                      <a:pt x="542363" y="659560"/>
                      <a:pt x="529802" y="669972"/>
                    </a:cubicBezTo>
                    <a:cubicBezTo>
                      <a:pt x="521374" y="676913"/>
                      <a:pt x="513771" y="677905"/>
                      <a:pt x="499558" y="674104"/>
                    </a:cubicBezTo>
                    <a:cubicBezTo>
                      <a:pt x="485841" y="670302"/>
                      <a:pt x="477412" y="672286"/>
                      <a:pt x="467826" y="681376"/>
                    </a:cubicBezTo>
                    <a:cubicBezTo>
                      <a:pt x="462042" y="686829"/>
                      <a:pt x="460389" y="689639"/>
                      <a:pt x="458406" y="696415"/>
                    </a:cubicBezTo>
                    <a:cubicBezTo>
                      <a:pt x="452291" y="717239"/>
                      <a:pt x="452291" y="717405"/>
                      <a:pt x="445184" y="723189"/>
                    </a:cubicBezTo>
                    <a:cubicBezTo>
                      <a:pt x="436425" y="730296"/>
                      <a:pt x="427004" y="731453"/>
                      <a:pt x="416758" y="726494"/>
                    </a:cubicBezTo>
                    <a:cubicBezTo>
                      <a:pt x="409816" y="723189"/>
                      <a:pt x="409320" y="722693"/>
                      <a:pt x="400231" y="709141"/>
                    </a:cubicBezTo>
                    <a:cubicBezTo>
                      <a:pt x="386513" y="688648"/>
                      <a:pt x="356930" y="658238"/>
                      <a:pt x="339246" y="646008"/>
                    </a:cubicBezTo>
                    <a:cubicBezTo>
                      <a:pt x="304705" y="622374"/>
                      <a:pt x="270328" y="610805"/>
                      <a:pt x="231986" y="609814"/>
                    </a:cubicBezTo>
                    <a:cubicBezTo>
                      <a:pt x="164555" y="608161"/>
                      <a:pt x="106876" y="642372"/>
                      <a:pt x="74979" y="703357"/>
                    </a:cubicBezTo>
                    <a:cubicBezTo>
                      <a:pt x="67707" y="717239"/>
                      <a:pt x="58617" y="744344"/>
                      <a:pt x="56138" y="759879"/>
                    </a:cubicBezTo>
                    <a:cubicBezTo>
                      <a:pt x="53328" y="777067"/>
                      <a:pt x="49858" y="785826"/>
                      <a:pt x="43247" y="792272"/>
                    </a:cubicBezTo>
                    <a:cubicBezTo>
                      <a:pt x="29695" y="805493"/>
                      <a:pt x="7383" y="798221"/>
                      <a:pt x="1103" y="778224"/>
                    </a:cubicBezTo>
                    <a:cubicBezTo>
                      <a:pt x="-4020" y="762028"/>
                      <a:pt x="9367" y="709967"/>
                      <a:pt x="27546" y="675757"/>
                    </a:cubicBezTo>
                    <a:cubicBezTo>
                      <a:pt x="41264" y="649974"/>
                      <a:pt x="49031" y="639893"/>
                      <a:pt x="73161" y="617085"/>
                    </a:cubicBezTo>
                    <a:cubicBezTo>
                      <a:pt x="91671" y="599401"/>
                      <a:pt x="96960" y="595105"/>
                      <a:pt x="108363" y="588163"/>
                    </a:cubicBezTo>
                    <a:cubicBezTo>
                      <a:pt x="150838" y="562381"/>
                      <a:pt x="200584" y="550812"/>
                      <a:pt x="248182" y="555605"/>
                    </a:cubicBezTo>
                    <a:cubicBezTo>
                      <a:pt x="290822" y="559902"/>
                      <a:pt x="335445" y="576595"/>
                      <a:pt x="371308" y="601881"/>
                    </a:cubicBezTo>
                    <a:cubicBezTo>
                      <a:pt x="385687" y="611962"/>
                      <a:pt x="411634" y="634604"/>
                      <a:pt x="418080" y="642537"/>
                    </a:cubicBezTo>
                    <a:lnTo>
                      <a:pt x="422377" y="647826"/>
                    </a:lnTo>
                    <a:lnTo>
                      <a:pt x="428492" y="642041"/>
                    </a:lnTo>
                    <a:cubicBezTo>
                      <a:pt x="438078" y="632951"/>
                      <a:pt x="448820" y="626671"/>
                      <a:pt x="462207" y="622044"/>
                    </a:cubicBezTo>
                    <a:lnTo>
                      <a:pt x="474602" y="617912"/>
                    </a:lnTo>
                    <a:lnTo>
                      <a:pt x="473776" y="612623"/>
                    </a:lnTo>
                    <a:cubicBezTo>
                      <a:pt x="471958" y="601385"/>
                      <a:pt x="474272" y="572463"/>
                      <a:pt x="477908" y="559406"/>
                    </a:cubicBezTo>
                    <a:cubicBezTo>
                      <a:pt x="485675" y="532137"/>
                      <a:pt x="503194" y="506189"/>
                      <a:pt x="525010" y="489993"/>
                    </a:cubicBezTo>
                    <a:cubicBezTo>
                      <a:pt x="563518" y="461566"/>
                      <a:pt x="611611" y="454460"/>
                      <a:pt x="655573" y="470987"/>
                    </a:cubicBezTo>
                    <a:cubicBezTo>
                      <a:pt x="663341" y="473961"/>
                      <a:pt x="673092" y="478259"/>
                      <a:pt x="677389" y="480737"/>
                    </a:cubicBezTo>
                    <a:lnTo>
                      <a:pt x="684991" y="485200"/>
                    </a:lnTo>
                    <a:lnTo>
                      <a:pt x="693751" y="467846"/>
                    </a:lnTo>
                    <a:cubicBezTo>
                      <a:pt x="722673" y="410663"/>
                      <a:pt x="748455" y="351000"/>
                      <a:pt x="772584" y="284397"/>
                    </a:cubicBezTo>
                    <a:cubicBezTo>
                      <a:pt x="805969" y="192341"/>
                      <a:pt x="826628" y="115160"/>
                      <a:pt x="837536" y="41615"/>
                    </a:cubicBezTo>
                    <a:cubicBezTo>
                      <a:pt x="839188" y="30541"/>
                      <a:pt x="841667" y="18972"/>
                      <a:pt x="842824" y="16163"/>
                    </a:cubicBezTo>
                    <a:cubicBezTo>
                      <a:pt x="852906" y="-6810"/>
                      <a:pt x="884803" y="-4826"/>
                      <a:pt x="892571" y="19138"/>
                    </a:cubicBezTo>
                    <a:cubicBezTo>
                      <a:pt x="895050" y="26740"/>
                      <a:pt x="894223" y="36161"/>
                      <a:pt x="888604" y="70537"/>
                    </a:cubicBezTo>
                    <a:cubicBezTo>
                      <a:pt x="867119" y="198786"/>
                      <a:pt x="807457" y="368684"/>
                      <a:pt x="735234" y="507181"/>
                    </a:cubicBezTo>
                    <a:cubicBezTo>
                      <a:pt x="723003" y="530649"/>
                      <a:pt x="716227" y="540235"/>
                      <a:pt x="708790" y="544201"/>
                    </a:cubicBezTo>
                    <a:lnTo>
                      <a:pt x="708790" y="54420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258E8ED2-CBEA-EB51-DF46-2A8ECCB35CE9}"/>
                  </a:ext>
                </a:extLst>
              </p:cNvPr>
              <p:cNvSpPr/>
              <p:nvPr/>
            </p:nvSpPr>
            <p:spPr>
              <a:xfrm>
                <a:off x="8262097" y="467263"/>
                <a:ext cx="1759274" cy="3892558"/>
              </a:xfrm>
              <a:custGeom>
                <a:avLst/>
                <a:gdLst>
                  <a:gd name="connsiteX0" fmla="*/ 1757135 w 1759274"/>
                  <a:gd name="connsiteY0" fmla="*/ 2427871 h 3892558"/>
                  <a:gd name="connsiteX1" fmla="*/ 1702430 w 1759274"/>
                  <a:gd name="connsiteY1" fmla="*/ 2290861 h 3892558"/>
                  <a:gd name="connsiteX2" fmla="*/ 1533854 w 1759274"/>
                  <a:gd name="connsiteY2" fmla="*/ 2059648 h 3892558"/>
                  <a:gd name="connsiteX3" fmla="*/ 1429239 w 1759274"/>
                  <a:gd name="connsiteY3" fmla="*/ 1952884 h 3892558"/>
                  <a:gd name="connsiteX4" fmla="*/ 1402795 w 1759274"/>
                  <a:gd name="connsiteY4" fmla="*/ 1921978 h 3892558"/>
                  <a:gd name="connsiteX5" fmla="*/ 1406596 w 1759274"/>
                  <a:gd name="connsiteY5" fmla="*/ 1872397 h 3892558"/>
                  <a:gd name="connsiteX6" fmla="*/ 1437998 w 1759274"/>
                  <a:gd name="connsiteY6" fmla="*/ 1357250 h 3892558"/>
                  <a:gd name="connsiteX7" fmla="*/ 1053083 w 1759274"/>
                  <a:gd name="connsiteY7" fmla="*/ 106485 h 3892558"/>
                  <a:gd name="connsiteX8" fmla="*/ 952599 w 1759274"/>
                  <a:gd name="connsiteY8" fmla="*/ 10793 h 3892558"/>
                  <a:gd name="connsiteX9" fmla="*/ 847653 w 1759274"/>
                  <a:gd name="connsiteY9" fmla="*/ 17073 h 3892558"/>
                  <a:gd name="connsiteX10" fmla="*/ 769976 w 1759274"/>
                  <a:gd name="connsiteY10" fmla="*/ 90619 h 3892558"/>
                  <a:gd name="connsiteX11" fmla="*/ 535127 w 1759274"/>
                  <a:gd name="connsiteY11" fmla="*/ 492225 h 3892558"/>
                  <a:gd name="connsiteX12" fmla="*/ 343248 w 1759274"/>
                  <a:gd name="connsiteY12" fmla="*/ 1422036 h 3892558"/>
                  <a:gd name="connsiteX13" fmla="*/ 343909 w 1759274"/>
                  <a:gd name="connsiteY13" fmla="*/ 1593256 h 3892558"/>
                  <a:gd name="connsiteX14" fmla="*/ 345562 w 1759274"/>
                  <a:gd name="connsiteY14" fmla="*/ 1633416 h 3892558"/>
                  <a:gd name="connsiteX15" fmla="*/ 365394 w 1759274"/>
                  <a:gd name="connsiteY15" fmla="*/ 1859671 h 3892558"/>
                  <a:gd name="connsiteX16" fmla="*/ 367543 w 1759274"/>
                  <a:gd name="connsiteY16" fmla="*/ 1911731 h 3892558"/>
                  <a:gd name="connsiteX17" fmla="*/ 329696 w 1759274"/>
                  <a:gd name="connsiteY17" fmla="*/ 1950074 h 3892558"/>
                  <a:gd name="connsiteX18" fmla="*/ 81294 w 1759274"/>
                  <a:gd name="connsiteY18" fmla="*/ 2238967 h 3892558"/>
                  <a:gd name="connsiteX19" fmla="*/ 6592 w 1759274"/>
                  <a:gd name="connsiteY19" fmla="*/ 2383743 h 3892558"/>
                  <a:gd name="connsiteX20" fmla="*/ 2956 w 1759274"/>
                  <a:gd name="connsiteY20" fmla="*/ 2486376 h 3892558"/>
                  <a:gd name="connsiteX21" fmla="*/ 28904 w 1759274"/>
                  <a:gd name="connsiteY21" fmla="*/ 2615452 h 3892558"/>
                  <a:gd name="connsiteX22" fmla="*/ 189051 w 1759274"/>
                  <a:gd name="connsiteY22" fmla="*/ 3085150 h 3892558"/>
                  <a:gd name="connsiteX23" fmla="*/ 239789 w 1759274"/>
                  <a:gd name="connsiteY23" fmla="*/ 3134401 h 3892558"/>
                  <a:gd name="connsiteX24" fmla="*/ 314821 w 1759274"/>
                  <a:gd name="connsiteY24" fmla="*/ 3117378 h 3892558"/>
                  <a:gd name="connsiteX25" fmla="*/ 335315 w 1759274"/>
                  <a:gd name="connsiteY25" fmla="*/ 3067962 h 3892558"/>
                  <a:gd name="connsiteX26" fmla="*/ 331018 w 1759274"/>
                  <a:gd name="connsiteY26" fmla="*/ 2928639 h 3892558"/>
                  <a:gd name="connsiteX27" fmla="*/ 328043 w 1759274"/>
                  <a:gd name="connsiteY27" fmla="*/ 2853276 h 3892558"/>
                  <a:gd name="connsiteX28" fmla="*/ 324903 w 1759274"/>
                  <a:gd name="connsiteY28" fmla="*/ 2770145 h 3892558"/>
                  <a:gd name="connsiteX29" fmla="*/ 323911 w 1759274"/>
                  <a:gd name="connsiteY29" fmla="*/ 2601735 h 3892558"/>
                  <a:gd name="connsiteX30" fmla="*/ 356635 w 1759274"/>
                  <a:gd name="connsiteY30" fmla="*/ 2508192 h 3892558"/>
                  <a:gd name="connsiteX31" fmla="*/ 414314 w 1759274"/>
                  <a:gd name="connsiteY31" fmla="*/ 2456462 h 3892558"/>
                  <a:gd name="connsiteX32" fmla="*/ 467696 w 1759274"/>
                  <a:gd name="connsiteY32" fmla="*/ 2413988 h 3892558"/>
                  <a:gd name="connsiteX33" fmla="*/ 488520 w 1759274"/>
                  <a:gd name="connsiteY33" fmla="*/ 2398122 h 3892558"/>
                  <a:gd name="connsiteX34" fmla="*/ 493644 w 1759274"/>
                  <a:gd name="connsiteY34" fmla="*/ 2410517 h 3892558"/>
                  <a:gd name="connsiteX35" fmla="*/ 527028 w 1759274"/>
                  <a:gd name="connsiteY35" fmla="*/ 2500094 h 3892558"/>
                  <a:gd name="connsiteX36" fmla="*/ 557438 w 1759274"/>
                  <a:gd name="connsiteY36" fmla="*/ 2550005 h 3892558"/>
                  <a:gd name="connsiteX37" fmla="*/ 567024 w 1759274"/>
                  <a:gd name="connsiteY37" fmla="*/ 2558765 h 3892558"/>
                  <a:gd name="connsiteX38" fmla="*/ 541737 w 1759274"/>
                  <a:gd name="connsiteY38" fmla="*/ 2630161 h 3892558"/>
                  <a:gd name="connsiteX39" fmla="*/ 513311 w 1759274"/>
                  <a:gd name="connsiteY39" fmla="*/ 2736761 h 3892558"/>
                  <a:gd name="connsiteX40" fmla="*/ 553141 w 1759274"/>
                  <a:gd name="connsiteY40" fmla="*/ 2791300 h 3892558"/>
                  <a:gd name="connsiteX41" fmla="*/ 564875 w 1759274"/>
                  <a:gd name="connsiteY41" fmla="*/ 2799729 h 3892558"/>
                  <a:gd name="connsiteX42" fmla="*/ 556612 w 1759274"/>
                  <a:gd name="connsiteY42" fmla="*/ 2815925 h 3892558"/>
                  <a:gd name="connsiteX43" fmla="*/ 512154 w 1759274"/>
                  <a:gd name="connsiteY43" fmla="*/ 2964999 h 3892558"/>
                  <a:gd name="connsiteX44" fmla="*/ 510832 w 1759274"/>
                  <a:gd name="connsiteY44" fmla="*/ 3075895 h 3892558"/>
                  <a:gd name="connsiteX45" fmla="*/ 553967 w 1759274"/>
                  <a:gd name="connsiteY45" fmla="*/ 3258519 h 3892558"/>
                  <a:gd name="connsiteX46" fmla="*/ 658583 w 1759274"/>
                  <a:gd name="connsiteY46" fmla="*/ 3467751 h 3892558"/>
                  <a:gd name="connsiteX47" fmla="*/ 699736 w 1759274"/>
                  <a:gd name="connsiteY47" fmla="*/ 3543940 h 3892558"/>
                  <a:gd name="connsiteX48" fmla="*/ 820383 w 1759274"/>
                  <a:gd name="connsiteY48" fmla="*/ 3840270 h 3892558"/>
                  <a:gd name="connsiteX49" fmla="*/ 845504 w 1759274"/>
                  <a:gd name="connsiteY49" fmla="*/ 3888198 h 3892558"/>
                  <a:gd name="connsiteX50" fmla="*/ 876740 w 1759274"/>
                  <a:gd name="connsiteY50" fmla="*/ 3890182 h 3892558"/>
                  <a:gd name="connsiteX51" fmla="*/ 876740 w 1759274"/>
                  <a:gd name="connsiteY51" fmla="*/ 3890182 h 3892558"/>
                  <a:gd name="connsiteX52" fmla="*/ 906324 w 1759274"/>
                  <a:gd name="connsiteY52" fmla="*/ 3839278 h 3892558"/>
                  <a:gd name="connsiteX53" fmla="*/ 1004329 w 1759274"/>
                  <a:gd name="connsiteY53" fmla="*/ 3603272 h 3892558"/>
                  <a:gd name="connsiteX54" fmla="*/ 1071098 w 1759274"/>
                  <a:gd name="connsiteY54" fmla="*/ 3480973 h 3892558"/>
                  <a:gd name="connsiteX55" fmla="*/ 1204802 w 1759274"/>
                  <a:gd name="connsiteY55" fmla="*/ 3211251 h 3892558"/>
                  <a:gd name="connsiteX56" fmla="*/ 1235707 w 1759274"/>
                  <a:gd name="connsiteY56" fmla="*/ 3013423 h 3892558"/>
                  <a:gd name="connsiteX57" fmla="*/ 1217031 w 1759274"/>
                  <a:gd name="connsiteY57" fmla="*/ 2886330 h 3892558"/>
                  <a:gd name="connsiteX58" fmla="*/ 1193233 w 1759274"/>
                  <a:gd name="connsiteY58" fmla="*/ 2823693 h 3892558"/>
                  <a:gd name="connsiteX59" fmla="*/ 1185795 w 1759274"/>
                  <a:gd name="connsiteY59" fmla="*/ 2807331 h 3892558"/>
                  <a:gd name="connsiteX60" fmla="*/ 1198025 w 1759274"/>
                  <a:gd name="connsiteY60" fmla="*/ 2798241 h 3892558"/>
                  <a:gd name="connsiteX61" fmla="*/ 1228435 w 1759274"/>
                  <a:gd name="connsiteY61" fmla="*/ 2770476 h 3892558"/>
                  <a:gd name="connsiteX62" fmla="*/ 1237029 w 1759274"/>
                  <a:gd name="connsiteY62" fmla="*/ 2718911 h 3892558"/>
                  <a:gd name="connsiteX63" fmla="*/ 1212074 w 1759274"/>
                  <a:gd name="connsiteY63" fmla="*/ 2636772 h 3892558"/>
                  <a:gd name="connsiteX64" fmla="*/ 1189266 w 1759274"/>
                  <a:gd name="connsiteY64" fmla="*/ 2566532 h 3892558"/>
                  <a:gd name="connsiteX65" fmla="*/ 1197034 w 1759274"/>
                  <a:gd name="connsiteY65" fmla="*/ 2559591 h 3892558"/>
                  <a:gd name="connsiteX66" fmla="*/ 1222320 w 1759274"/>
                  <a:gd name="connsiteY66" fmla="*/ 2526206 h 3892558"/>
                  <a:gd name="connsiteX67" fmla="*/ 1260498 w 1759274"/>
                  <a:gd name="connsiteY67" fmla="*/ 2432994 h 3892558"/>
                  <a:gd name="connsiteX68" fmla="*/ 1271240 w 1759274"/>
                  <a:gd name="connsiteY68" fmla="*/ 2407377 h 3892558"/>
                  <a:gd name="connsiteX69" fmla="*/ 1321152 w 1759274"/>
                  <a:gd name="connsiteY69" fmla="*/ 2447868 h 3892558"/>
                  <a:gd name="connsiteX70" fmla="*/ 1430561 w 1759274"/>
                  <a:gd name="connsiteY70" fmla="*/ 2611320 h 3892558"/>
                  <a:gd name="connsiteX71" fmla="*/ 1421801 w 1759274"/>
                  <a:gd name="connsiteY71" fmla="*/ 2850797 h 3892558"/>
                  <a:gd name="connsiteX72" fmla="*/ 1415356 w 1759274"/>
                  <a:gd name="connsiteY72" fmla="*/ 2955744 h 3892558"/>
                  <a:gd name="connsiteX73" fmla="*/ 1409406 w 1759274"/>
                  <a:gd name="connsiteY73" fmla="*/ 3050443 h 3892558"/>
                  <a:gd name="connsiteX74" fmla="*/ 1429569 w 1759274"/>
                  <a:gd name="connsiteY74" fmla="*/ 3131426 h 3892558"/>
                  <a:gd name="connsiteX75" fmla="*/ 1499644 w 1759274"/>
                  <a:gd name="connsiteY75" fmla="*/ 3149936 h 3892558"/>
                  <a:gd name="connsiteX76" fmla="*/ 1555174 w 1759274"/>
                  <a:gd name="connsiteY76" fmla="*/ 3100520 h 3892558"/>
                  <a:gd name="connsiteX77" fmla="*/ 1739285 w 1759274"/>
                  <a:gd name="connsiteY77" fmla="*/ 2580250 h 3892558"/>
                  <a:gd name="connsiteX78" fmla="*/ 1757465 w 1759274"/>
                  <a:gd name="connsiteY78" fmla="*/ 2427871 h 3892558"/>
                  <a:gd name="connsiteX79" fmla="*/ 607515 w 1759274"/>
                  <a:gd name="connsiteY79" fmla="*/ 469418 h 3892558"/>
                  <a:gd name="connsiteX80" fmla="*/ 793940 w 1759274"/>
                  <a:gd name="connsiteY80" fmla="*/ 153091 h 3892558"/>
                  <a:gd name="connsiteX81" fmla="*/ 889962 w 1759274"/>
                  <a:gd name="connsiteY81" fmla="*/ 64341 h 3892558"/>
                  <a:gd name="connsiteX82" fmla="*/ 942352 w 1759274"/>
                  <a:gd name="connsiteY82" fmla="*/ 73761 h 3892558"/>
                  <a:gd name="connsiteX83" fmla="*/ 975241 w 1759274"/>
                  <a:gd name="connsiteY83" fmla="*/ 103510 h 3892558"/>
                  <a:gd name="connsiteX84" fmla="*/ 1041515 w 1759274"/>
                  <a:gd name="connsiteY84" fmla="*/ 189781 h 3892558"/>
                  <a:gd name="connsiteX85" fmla="*/ 1193894 w 1759274"/>
                  <a:gd name="connsiteY85" fmla="*/ 469583 h 3892558"/>
                  <a:gd name="connsiteX86" fmla="*/ 1193894 w 1759274"/>
                  <a:gd name="connsiteY86" fmla="*/ 469583 h 3892558"/>
                  <a:gd name="connsiteX87" fmla="*/ 1204967 w 1759274"/>
                  <a:gd name="connsiteY87" fmla="*/ 497183 h 3892558"/>
                  <a:gd name="connsiteX88" fmla="*/ 1191580 w 1759274"/>
                  <a:gd name="connsiteY88" fmla="*/ 495696 h 3892558"/>
                  <a:gd name="connsiteX89" fmla="*/ 1018211 w 1759274"/>
                  <a:gd name="connsiteY89" fmla="*/ 468096 h 3892558"/>
                  <a:gd name="connsiteX90" fmla="*/ 897234 w 1759274"/>
                  <a:gd name="connsiteY90" fmla="*/ 462146 h 3892558"/>
                  <a:gd name="connsiteX91" fmla="*/ 864180 w 1759274"/>
                  <a:gd name="connsiteY91" fmla="*/ 462807 h 3892558"/>
                  <a:gd name="connsiteX92" fmla="*/ 747829 w 1759274"/>
                  <a:gd name="connsiteY92" fmla="*/ 467931 h 3892558"/>
                  <a:gd name="connsiteX93" fmla="*/ 613961 w 1759274"/>
                  <a:gd name="connsiteY93" fmla="*/ 488589 h 3892558"/>
                  <a:gd name="connsiteX94" fmla="*/ 598921 w 1759274"/>
                  <a:gd name="connsiteY94" fmla="*/ 490242 h 3892558"/>
                  <a:gd name="connsiteX95" fmla="*/ 607680 w 1759274"/>
                  <a:gd name="connsiteY95" fmla="*/ 469749 h 3892558"/>
                  <a:gd name="connsiteX96" fmla="*/ 467366 w 1759274"/>
                  <a:gd name="connsiteY96" fmla="*/ 2340608 h 3892558"/>
                  <a:gd name="connsiteX97" fmla="*/ 418776 w 1759274"/>
                  <a:gd name="connsiteY97" fmla="*/ 2379612 h 3892558"/>
                  <a:gd name="connsiteX98" fmla="*/ 316639 w 1759274"/>
                  <a:gd name="connsiteY98" fmla="*/ 2466874 h 3892558"/>
                  <a:gd name="connsiteX99" fmla="*/ 264910 w 1759274"/>
                  <a:gd name="connsiteY99" fmla="*/ 2575126 h 3892558"/>
                  <a:gd name="connsiteX100" fmla="*/ 263092 w 1759274"/>
                  <a:gd name="connsiteY100" fmla="*/ 2654291 h 3892558"/>
                  <a:gd name="connsiteX101" fmla="*/ 268215 w 1759274"/>
                  <a:gd name="connsiteY101" fmla="*/ 2787829 h 3892558"/>
                  <a:gd name="connsiteX102" fmla="*/ 270364 w 1759274"/>
                  <a:gd name="connsiteY102" fmla="*/ 2844847 h 3892558"/>
                  <a:gd name="connsiteX103" fmla="*/ 274165 w 1759274"/>
                  <a:gd name="connsiteY103" fmla="*/ 2945166 h 3892558"/>
                  <a:gd name="connsiteX104" fmla="*/ 276148 w 1759274"/>
                  <a:gd name="connsiteY104" fmla="*/ 2994086 h 3892558"/>
                  <a:gd name="connsiteX105" fmla="*/ 277801 w 1759274"/>
                  <a:gd name="connsiteY105" fmla="*/ 3066309 h 3892558"/>
                  <a:gd name="connsiteX106" fmla="*/ 277801 w 1759274"/>
                  <a:gd name="connsiteY106" fmla="*/ 3066309 h 3892558"/>
                  <a:gd name="connsiteX107" fmla="*/ 255820 w 1759274"/>
                  <a:gd name="connsiteY107" fmla="*/ 3077052 h 3892558"/>
                  <a:gd name="connsiteX108" fmla="*/ 188059 w 1759274"/>
                  <a:gd name="connsiteY108" fmla="*/ 2947150 h 3892558"/>
                  <a:gd name="connsiteX109" fmla="*/ 70221 w 1759274"/>
                  <a:gd name="connsiteY109" fmla="*/ 2534139 h 3892558"/>
                  <a:gd name="connsiteX110" fmla="*/ 63280 w 1759274"/>
                  <a:gd name="connsiteY110" fmla="*/ 2413327 h 3892558"/>
                  <a:gd name="connsiteX111" fmla="*/ 117323 w 1759274"/>
                  <a:gd name="connsiteY111" fmla="*/ 2288713 h 3892558"/>
                  <a:gd name="connsiteX112" fmla="*/ 288709 w 1759274"/>
                  <a:gd name="connsiteY112" fmla="*/ 2069730 h 3892558"/>
                  <a:gd name="connsiteX113" fmla="*/ 361923 w 1759274"/>
                  <a:gd name="connsiteY113" fmla="*/ 1998664 h 3892558"/>
                  <a:gd name="connsiteX114" fmla="*/ 373162 w 1759274"/>
                  <a:gd name="connsiteY114" fmla="*/ 1995689 h 3892558"/>
                  <a:gd name="connsiteX115" fmla="*/ 392168 w 1759274"/>
                  <a:gd name="connsiteY115" fmla="*/ 2028578 h 3892558"/>
                  <a:gd name="connsiteX116" fmla="*/ 464556 w 1759274"/>
                  <a:gd name="connsiteY116" fmla="*/ 2321271 h 3892558"/>
                  <a:gd name="connsiteX117" fmla="*/ 467531 w 1759274"/>
                  <a:gd name="connsiteY117" fmla="*/ 2340442 h 3892558"/>
                  <a:gd name="connsiteX118" fmla="*/ 1175218 w 1759274"/>
                  <a:gd name="connsiteY118" fmla="*/ 2733620 h 3892558"/>
                  <a:gd name="connsiteX119" fmla="*/ 1116547 w 1759274"/>
                  <a:gd name="connsiteY119" fmla="*/ 2774773 h 3892558"/>
                  <a:gd name="connsiteX120" fmla="*/ 899217 w 1759274"/>
                  <a:gd name="connsiteY120" fmla="*/ 2821875 h 3892558"/>
                  <a:gd name="connsiteX121" fmla="*/ 642222 w 1759274"/>
                  <a:gd name="connsiteY121" fmla="*/ 2772459 h 3892558"/>
                  <a:gd name="connsiteX122" fmla="*/ 578923 w 1759274"/>
                  <a:gd name="connsiteY122" fmla="*/ 2699575 h 3892558"/>
                  <a:gd name="connsiteX123" fmla="*/ 619910 w 1759274"/>
                  <a:gd name="connsiteY123" fmla="*/ 2582729 h 3892558"/>
                  <a:gd name="connsiteX124" fmla="*/ 630818 w 1759274"/>
                  <a:gd name="connsiteY124" fmla="*/ 2586530 h 3892558"/>
                  <a:gd name="connsiteX125" fmla="*/ 798898 w 1759274"/>
                  <a:gd name="connsiteY125" fmla="*/ 2622724 h 3892558"/>
                  <a:gd name="connsiteX126" fmla="*/ 1110102 w 1759274"/>
                  <a:gd name="connsiteY126" fmla="*/ 2596446 h 3892558"/>
                  <a:gd name="connsiteX127" fmla="*/ 1134892 w 1759274"/>
                  <a:gd name="connsiteY127" fmla="*/ 2589174 h 3892558"/>
                  <a:gd name="connsiteX128" fmla="*/ 1140677 w 1759274"/>
                  <a:gd name="connsiteY128" fmla="*/ 2607354 h 3892558"/>
                  <a:gd name="connsiteX129" fmla="*/ 1080023 w 1759274"/>
                  <a:gd name="connsiteY129" fmla="*/ 2629335 h 3892558"/>
                  <a:gd name="connsiteX130" fmla="*/ 1046473 w 1759274"/>
                  <a:gd name="connsiteY130" fmla="*/ 2642722 h 3892558"/>
                  <a:gd name="connsiteX131" fmla="*/ 1070106 w 1759274"/>
                  <a:gd name="connsiteY131" fmla="*/ 2684700 h 3892558"/>
                  <a:gd name="connsiteX132" fmla="*/ 1147453 w 1759274"/>
                  <a:gd name="connsiteY132" fmla="*/ 2656935 h 3892558"/>
                  <a:gd name="connsiteX133" fmla="*/ 1155882 w 1759274"/>
                  <a:gd name="connsiteY133" fmla="*/ 2654291 h 3892558"/>
                  <a:gd name="connsiteX134" fmla="*/ 1161996 w 1759274"/>
                  <a:gd name="connsiteY134" fmla="*/ 2669661 h 3892558"/>
                  <a:gd name="connsiteX135" fmla="*/ 1101508 w 1759274"/>
                  <a:gd name="connsiteY135" fmla="*/ 2696765 h 3892558"/>
                  <a:gd name="connsiteX136" fmla="*/ 938055 w 1759274"/>
                  <a:gd name="connsiteY136" fmla="*/ 2737752 h 3892558"/>
                  <a:gd name="connsiteX137" fmla="*/ 915248 w 1759274"/>
                  <a:gd name="connsiteY137" fmla="*/ 2744859 h 3892558"/>
                  <a:gd name="connsiteX138" fmla="*/ 906819 w 1759274"/>
                  <a:gd name="connsiteY138" fmla="*/ 2757419 h 3892558"/>
                  <a:gd name="connsiteX139" fmla="*/ 913099 w 1759274"/>
                  <a:gd name="connsiteY139" fmla="*/ 2780722 h 3892558"/>
                  <a:gd name="connsiteX140" fmla="*/ 937394 w 1759274"/>
                  <a:gd name="connsiteY140" fmla="*/ 2788655 h 3892558"/>
                  <a:gd name="connsiteX141" fmla="*/ 1073577 w 1759274"/>
                  <a:gd name="connsiteY141" fmla="*/ 2760394 h 3892558"/>
                  <a:gd name="connsiteX142" fmla="*/ 1149932 w 1759274"/>
                  <a:gd name="connsiteY142" fmla="*/ 2729489 h 3892558"/>
                  <a:gd name="connsiteX143" fmla="*/ 1174557 w 1759274"/>
                  <a:gd name="connsiteY143" fmla="*/ 2717259 h 3892558"/>
                  <a:gd name="connsiteX144" fmla="*/ 1175053 w 1759274"/>
                  <a:gd name="connsiteY144" fmla="*/ 2733620 h 3892558"/>
                  <a:gd name="connsiteX145" fmla="*/ 1175053 w 1759274"/>
                  <a:gd name="connsiteY145" fmla="*/ 2733620 h 3892558"/>
                  <a:gd name="connsiteX146" fmla="*/ 1210751 w 1759274"/>
                  <a:gd name="connsiteY146" fmla="*/ 2402419 h 3892558"/>
                  <a:gd name="connsiteX147" fmla="*/ 1182655 w 1759274"/>
                  <a:gd name="connsiteY147" fmla="*/ 2429689 h 3892558"/>
                  <a:gd name="connsiteX148" fmla="*/ 1102830 w 1759274"/>
                  <a:gd name="connsiteY148" fmla="*/ 2459933 h 3892558"/>
                  <a:gd name="connsiteX149" fmla="*/ 957557 w 1759274"/>
                  <a:gd name="connsiteY149" fmla="*/ 2484062 h 3892558"/>
                  <a:gd name="connsiteX150" fmla="*/ 936568 w 1759274"/>
                  <a:gd name="connsiteY150" fmla="*/ 2500589 h 3892558"/>
                  <a:gd name="connsiteX151" fmla="*/ 940369 w 1759274"/>
                  <a:gd name="connsiteY151" fmla="*/ 2524223 h 3892558"/>
                  <a:gd name="connsiteX152" fmla="*/ 978547 w 1759274"/>
                  <a:gd name="connsiteY152" fmla="*/ 2533478 h 3892558"/>
                  <a:gd name="connsiteX153" fmla="*/ 1159187 w 1759274"/>
                  <a:gd name="connsiteY153" fmla="*/ 2494309 h 3892558"/>
                  <a:gd name="connsiteX154" fmla="*/ 1175714 w 1759274"/>
                  <a:gd name="connsiteY154" fmla="*/ 2489351 h 3892558"/>
                  <a:gd name="connsiteX155" fmla="*/ 1170921 w 1759274"/>
                  <a:gd name="connsiteY155" fmla="*/ 2499763 h 3892558"/>
                  <a:gd name="connsiteX156" fmla="*/ 1170921 w 1759274"/>
                  <a:gd name="connsiteY156" fmla="*/ 2499763 h 3892558"/>
                  <a:gd name="connsiteX157" fmla="*/ 1144478 w 1759274"/>
                  <a:gd name="connsiteY157" fmla="*/ 2525215 h 3892558"/>
                  <a:gd name="connsiteX158" fmla="*/ 1056554 w 1759274"/>
                  <a:gd name="connsiteY158" fmla="*/ 2551162 h 3892558"/>
                  <a:gd name="connsiteX159" fmla="*/ 652964 w 1759274"/>
                  <a:gd name="connsiteY159" fmla="*/ 2533643 h 3892558"/>
                  <a:gd name="connsiteX160" fmla="*/ 597433 w 1759274"/>
                  <a:gd name="connsiteY160" fmla="*/ 2506374 h 3892558"/>
                  <a:gd name="connsiteX161" fmla="*/ 586526 w 1759274"/>
                  <a:gd name="connsiteY161" fmla="*/ 2494970 h 3892558"/>
                  <a:gd name="connsiteX162" fmla="*/ 577601 w 1759274"/>
                  <a:gd name="connsiteY162" fmla="*/ 2472163 h 3892558"/>
                  <a:gd name="connsiteX163" fmla="*/ 544712 w 1759274"/>
                  <a:gd name="connsiteY163" fmla="*/ 2382586 h 3892558"/>
                  <a:gd name="connsiteX164" fmla="*/ 563057 w 1759274"/>
                  <a:gd name="connsiteY164" fmla="*/ 2389693 h 3892558"/>
                  <a:gd name="connsiteX165" fmla="*/ 845173 w 1759274"/>
                  <a:gd name="connsiteY165" fmla="*/ 2453653 h 3892558"/>
                  <a:gd name="connsiteX166" fmla="*/ 1195547 w 1759274"/>
                  <a:gd name="connsiteY166" fmla="*/ 2397626 h 3892558"/>
                  <a:gd name="connsiteX167" fmla="*/ 1216370 w 1759274"/>
                  <a:gd name="connsiteY167" fmla="*/ 2387875 h 3892558"/>
                  <a:gd name="connsiteX168" fmla="*/ 1210751 w 1759274"/>
                  <a:gd name="connsiteY168" fmla="*/ 2402749 h 3892558"/>
                  <a:gd name="connsiteX169" fmla="*/ 1248433 w 1759274"/>
                  <a:gd name="connsiteY169" fmla="*/ 2286564 h 3892558"/>
                  <a:gd name="connsiteX170" fmla="*/ 1248433 w 1759274"/>
                  <a:gd name="connsiteY170" fmla="*/ 2286564 h 3892558"/>
                  <a:gd name="connsiteX171" fmla="*/ 1217031 w 1759274"/>
                  <a:gd name="connsiteY171" fmla="*/ 2317140 h 3892558"/>
                  <a:gd name="connsiteX172" fmla="*/ 1168773 w 1759274"/>
                  <a:gd name="connsiteY172" fmla="*/ 2346558 h 3892558"/>
                  <a:gd name="connsiteX173" fmla="*/ 892771 w 1759274"/>
                  <a:gd name="connsiteY173" fmla="*/ 2396800 h 3892558"/>
                  <a:gd name="connsiteX174" fmla="*/ 765348 w 1759274"/>
                  <a:gd name="connsiteY174" fmla="*/ 2387875 h 3892558"/>
                  <a:gd name="connsiteX175" fmla="*/ 613961 w 1759274"/>
                  <a:gd name="connsiteY175" fmla="*/ 2349532 h 3892558"/>
                  <a:gd name="connsiteX176" fmla="*/ 527028 w 1759274"/>
                  <a:gd name="connsiteY176" fmla="*/ 2292018 h 3892558"/>
                  <a:gd name="connsiteX177" fmla="*/ 510832 w 1759274"/>
                  <a:gd name="connsiteY177" fmla="*/ 2274996 h 3892558"/>
                  <a:gd name="connsiteX178" fmla="*/ 505708 w 1759274"/>
                  <a:gd name="connsiteY178" fmla="*/ 2258303 h 3892558"/>
                  <a:gd name="connsiteX179" fmla="*/ 477943 w 1759274"/>
                  <a:gd name="connsiteY179" fmla="*/ 2154018 h 3892558"/>
                  <a:gd name="connsiteX180" fmla="*/ 482901 w 1759274"/>
                  <a:gd name="connsiteY180" fmla="*/ 824419 h 3892558"/>
                  <a:gd name="connsiteX181" fmla="*/ 515129 w 1759274"/>
                  <a:gd name="connsiteY181" fmla="*/ 712200 h 3892558"/>
                  <a:gd name="connsiteX182" fmla="*/ 525045 w 1759274"/>
                  <a:gd name="connsiteY182" fmla="*/ 680468 h 3892558"/>
                  <a:gd name="connsiteX183" fmla="*/ 539589 w 1759274"/>
                  <a:gd name="connsiteY183" fmla="*/ 676502 h 3892558"/>
                  <a:gd name="connsiteX184" fmla="*/ 661228 w 1759274"/>
                  <a:gd name="connsiteY184" fmla="*/ 650720 h 3892558"/>
                  <a:gd name="connsiteX185" fmla="*/ 911777 w 1759274"/>
                  <a:gd name="connsiteY185" fmla="*/ 633531 h 3892558"/>
                  <a:gd name="connsiteX186" fmla="*/ 1212404 w 1759274"/>
                  <a:gd name="connsiteY186" fmla="*/ 672370 h 3892558"/>
                  <a:gd name="connsiteX187" fmla="*/ 1274546 w 1759274"/>
                  <a:gd name="connsiteY187" fmla="*/ 690219 h 3892558"/>
                  <a:gd name="connsiteX188" fmla="*/ 1286610 w 1759274"/>
                  <a:gd name="connsiteY188" fmla="*/ 729553 h 3892558"/>
                  <a:gd name="connsiteX189" fmla="*/ 1354041 w 1759274"/>
                  <a:gd name="connsiteY189" fmla="*/ 1047038 h 3892558"/>
                  <a:gd name="connsiteX190" fmla="*/ 1282148 w 1759274"/>
                  <a:gd name="connsiteY190" fmla="*/ 2182940 h 3892558"/>
                  <a:gd name="connsiteX191" fmla="*/ 1248763 w 1759274"/>
                  <a:gd name="connsiteY191" fmla="*/ 2286399 h 3892558"/>
                  <a:gd name="connsiteX192" fmla="*/ 1670533 w 1759274"/>
                  <a:gd name="connsiteY192" fmla="*/ 2618923 h 3892558"/>
                  <a:gd name="connsiteX193" fmla="*/ 1512700 w 1759274"/>
                  <a:gd name="connsiteY193" fmla="*/ 3058707 h 3892558"/>
                  <a:gd name="connsiteX194" fmla="*/ 1512700 w 1759274"/>
                  <a:gd name="connsiteY194" fmla="*/ 3058707 h 3892558"/>
                  <a:gd name="connsiteX195" fmla="*/ 1476340 w 1759274"/>
                  <a:gd name="connsiteY195" fmla="*/ 3093414 h 3892558"/>
                  <a:gd name="connsiteX196" fmla="*/ 1466094 w 1759274"/>
                  <a:gd name="connsiteY196" fmla="*/ 3083498 h 3892558"/>
                  <a:gd name="connsiteX197" fmla="*/ 1471878 w 1759274"/>
                  <a:gd name="connsiteY197" fmla="*/ 2974915 h 3892558"/>
                  <a:gd name="connsiteX198" fmla="*/ 1475680 w 1759274"/>
                  <a:gd name="connsiteY198" fmla="*/ 2913104 h 3892558"/>
                  <a:gd name="connsiteX199" fmla="*/ 1479315 w 1759274"/>
                  <a:gd name="connsiteY199" fmla="*/ 2852450 h 3892558"/>
                  <a:gd name="connsiteX200" fmla="*/ 1483943 w 1759274"/>
                  <a:gd name="connsiteY200" fmla="*/ 2778409 h 3892558"/>
                  <a:gd name="connsiteX201" fmla="*/ 1489397 w 1759274"/>
                  <a:gd name="connsiteY201" fmla="*/ 2688998 h 3892558"/>
                  <a:gd name="connsiteX202" fmla="*/ 1492702 w 1759274"/>
                  <a:gd name="connsiteY202" fmla="*/ 2634954 h 3892558"/>
                  <a:gd name="connsiteX203" fmla="*/ 1487909 w 1759274"/>
                  <a:gd name="connsiteY203" fmla="*/ 2570664 h 3892558"/>
                  <a:gd name="connsiteX204" fmla="*/ 1443617 w 1759274"/>
                  <a:gd name="connsiteY204" fmla="*/ 2482244 h 3892558"/>
                  <a:gd name="connsiteX205" fmla="*/ 1347925 w 1759274"/>
                  <a:gd name="connsiteY205" fmla="*/ 2396139 h 3892558"/>
                  <a:gd name="connsiteX206" fmla="*/ 1294543 w 1759274"/>
                  <a:gd name="connsiteY206" fmla="*/ 2351350 h 3892558"/>
                  <a:gd name="connsiteX207" fmla="*/ 1311236 w 1759274"/>
                  <a:gd name="connsiteY207" fmla="*/ 2286564 h 3892558"/>
                  <a:gd name="connsiteX208" fmla="*/ 1370072 w 1759274"/>
                  <a:gd name="connsiteY208" fmla="*/ 2066920 h 3892558"/>
                  <a:gd name="connsiteX209" fmla="*/ 1382632 w 1759274"/>
                  <a:gd name="connsiteY209" fmla="*/ 2016017 h 3892558"/>
                  <a:gd name="connsiteX210" fmla="*/ 1395854 w 1759274"/>
                  <a:gd name="connsiteY210" fmla="*/ 2008084 h 3892558"/>
                  <a:gd name="connsiteX211" fmla="*/ 1458822 w 1759274"/>
                  <a:gd name="connsiteY211" fmla="*/ 2062954 h 3892558"/>
                  <a:gd name="connsiteX212" fmla="*/ 1590707 w 1759274"/>
                  <a:gd name="connsiteY212" fmla="*/ 2225249 h 3892558"/>
                  <a:gd name="connsiteX213" fmla="*/ 1667723 w 1759274"/>
                  <a:gd name="connsiteY213" fmla="*/ 2350689 h 3892558"/>
                  <a:gd name="connsiteX214" fmla="*/ 1670533 w 1759274"/>
                  <a:gd name="connsiteY214" fmla="*/ 2619088 h 3892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</a:cxnLst>
                <a:rect l="l" t="t" r="r" b="b"/>
                <a:pathLst>
                  <a:path w="1759274" h="3892558">
                    <a:moveTo>
                      <a:pt x="1757135" y="2427871"/>
                    </a:moveTo>
                    <a:cubicBezTo>
                      <a:pt x="1752672" y="2385231"/>
                      <a:pt x="1740112" y="2353334"/>
                      <a:pt x="1702430" y="2290861"/>
                    </a:cubicBezTo>
                    <a:cubicBezTo>
                      <a:pt x="1655989" y="2213515"/>
                      <a:pt x="1599632" y="2136334"/>
                      <a:pt x="1533854" y="2059648"/>
                    </a:cubicBezTo>
                    <a:cubicBezTo>
                      <a:pt x="1504436" y="2025437"/>
                      <a:pt x="1450558" y="1970402"/>
                      <a:pt x="1429239" y="1952884"/>
                    </a:cubicBezTo>
                    <a:cubicBezTo>
                      <a:pt x="1412050" y="1938670"/>
                      <a:pt x="1405440" y="1931068"/>
                      <a:pt x="1402795" y="1921978"/>
                    </a:cubicBezTo>
                    <a:cubicBezTo>
                      <a:pt x="1400647" y="1914376"/>
                      <a:pt x="1400977" y="1908591"/>
                      <a:pt x="1406596" y="1872397"/>
                    </a:cubicBezTo>
                    <a:cubicBezTo>
                      <a:pt x="1431718" y="1709771"/>
                      <a:pt x="1443121" y="1523677"/>
                      <a:pt x="1437998" y="1357250"/>
                    </a:cubicBezTo>
                    <a:cubicBezTo>
                      <a:pt x="1422793" y="865075"/>
                      <a:pt x="1286941" y="423638"/>
                      <a:pt x="1053083" y="106485"/>
                    </a:cubicBezTo>
                    <a:cubicBezTo>
                      <a:pt x="1009617" y="47483"/>
                      <a:pt x="988132" y="26990"/>
                      <a:pt x="952599" y="10793"/>
                    </a:cubicBezTo>
                    <a:cubicBezTo>
                      <a:pt x="917397" y="-5403"/>
                      <a:pt x="884838" y="-3420"/>
                      <a:pt x="847653" y="17073"/>
                    </a:cubicBezTo>
                    <a:cubicBezTo>
                      <a:pt x="821044" y="31782"/>
                      <a:pt x="803360" y="48475"/>
                      <a:pt x="769976" y="90619"/>
                    </a:cubicBezTo>
                    <a:cubicBezTo>
                      <a:pt x="677424" y="207630"/>
                      <a:pt x="600243" y="339681"/>
                      <a:pt x="535127" y="492225"/>
                    </a:cubicBezTo>
                    <a:cubicBezTo>
                      <a:pt x="417785" y="767070"/>
                      <a:pt x="352338" y="1084223"/>
                      <a:pt x="343248" y="1422036"/>
                    </a:cubicBezTo>
                    <a:cubicBezTo>
                      <a:pt x="341926" y="1472113"/>
                      <a:pt x="342256" y="1555739"/>
                      <a:pt x="343909" y="1593256"/>
                    </a:cubicBezTo>
                    <a:cubicBezTo>
                      <a:pt x="344239" y="1600362"/>
                      <a:pt x="345066" y="1618377"/>
                      <a:pt x="345562" y="1633416"/>
                    </a:cubicBezTo>
                    <a:cubicBezTo>
                      <a:pt x="348206" y="1694897"/>
                      <a:pt x="355808" y="1782160"/>
                      <a:pt x="365394" y="1859671"/>
                    </a:cubicBezTo>
                    <a:cubicBezTo>
                      <a:pt x="370683" y="1902146"/>
                      <a:pt x="370683" y="1902311"/>
                      <a:pt x="367543" y="1911731"/>
                    </a:cubicBezTo>
                    <a:cubicBezTo>
                      <a:pt x="364898" y="1919665"/>
                      <a:pt x="357131" y="1927432"/>
                      <a:pt x="329696" y="1950074"/>
                    </a:cubicBezTo>
                    <a:cubicBezTo>
                      <a:pt x="262100" y="2005440"/>
                      <a:pt x="150212" y="2135507"/>
                      <a:pt x="81294" y="2238967"/>
                    </a:cubicBezTo>
                    <a:cubicBezTo>
                      <a:pt x="34854" y="2308545"/>
                      <a:pt x="14691" y="2347880"/>
                      <a:pt x="6592" y="2383743"/>
                    </a:cubicBezTo>
                    <a:cubicBezTo>
                      <a:pt x="-680" y="2416302"/>
                      <a:pt x="-2002" y="2452991"/>
                      <a:pt x="2956" y="2486376"/>
                    </a:cubicBezTo>
                    <a:cubicBezTo>
                      <a:pt x="6427" y="2509679"/>
                      <a:pt x="19483" y="2574630"/>
                      <a:pt x="28904" y="2615452"/>
                    </a:cubicBezTo>
                    <a:cubicBezTo>
                      <a:pt x="74684" y="2813776"/>
                      <a:pt x="140461" y="3006812"/>
                      <a:pt x="189051" y="3085150"/>
                    </a:cubicBezTo>
                    <a:cubicBezTo>
                      <a:pt x="207891" y="3115560"/>
                      <a:pt x="219791" y="3127129"/>
                      <a:pt x="239789" y="3134401"/>
                    </a:cubicBezTo>
                    <a:cubicBezTo>
                      <a:pt x="267554" y="3144647"/>
                      <a:pt x="295154" y="3138367"/>
                      <a:pt x="314821" y="3117378"/>
                    </a:cubicBezTo>
                    <a:cubicBezTo>
                      <a:pt x="327382" y="3103991"/>
                      <a:pt x="333166" y="3090108"/>
                      <a:pt x="335315" y="3067962"/>
                    </a:cubicBezTo>
                    <a:cubicBezTo>
                      <a:pt x="336141" y="3060690"/>
                      <a:pt x="333993" y="2993590"/>
                      <a:pt x="331018" y="2928639"/>
                    </a:cubicBezTo>
                    <a:cubicBezTo>
                      <a:pt x="330522" y="2918558"/>
                      <a:pt x="329200" y="2884677"/>
                      <a:pt x="328043" y="2853276"/>
                    </a:cubicBezTo>
                    <a:cubicBezTo>
                      <a:pt x="326886" y="2822040"/>
                      <a:pt x="325564" y="2784524"/>
                      <a:pt x="324903" y="2770145"/>
                    </a:cubicBezTo>
                    <a:cubicBezTo>
                      <a:pt x="320275" y="2651151"/>
                      <a:pt x="320275" y="2640408"/>
                      <a:pt x="323911" y="2601735"/>
                    </a:cubicBezTo>
                    <a:cubicBezTo>
                      <a:pt x="328869" y="2551162"/>
                      <a:pt x="334488" y="2534966"/>
                      <a:pt x="356635" y="2508192"/>
                    </a:cubicBezTo>
                    <a:cubicBezTo>
                      <a:pt x="368699" y="2493648"/>
                      <a:pt x="377293" y="2485880"/>
                      <a:pt x="414314" y="2456462"/>
                    </a:cubicBezTo>
                    <a:cubicBezTo>
                      <a:pt x="432659" y="2441918"/>
                      <a:pt x="456623" y="2422747"/>
                      <a:pt x="467696" y="2413988"/>
                    </a:cubicBezTo>
                    <a:cubicBezTo>
                      <a:pt x="478604" y="2405228"/>
                      <a:pt x="487859" y="2398122"/>
                      <a:pt x="488520" y="2398122"/>
                    </a:cubicBezTo>
                    <a:cubicBezTo>
                      <a:pt x="489016" y="2398122"/>
                      <a:pt x="491330" y="2403741"/>
                      <a:pt x="493644" y="2410517"/>
                    </a:cubicBezTo>
                    <a:cubicBezTo>
                      <a:pt x="500254" y="2429854"/>
                      <a:pt x="516947" y="2474311"/>
                      <a:pt x="527028" y="2500094"/>
                    </a:cubicBezTo>
                    <a:cubicBezTo>
                      <a:pt x="537936" y="2527859"/>
                      <a:pt x="544051" y="2537775"/>
                      <a:pt x="557438" y="2550005"/>
                    </a:cubicBezTo>
                    <a:lnTo>
                      <a:pt x="567024" y="2558765"/>
                    </a:lnTo>
                    <a:lnTo>
                      <a:pt x="541737" y="2630161"/>
                    </a:lnTo>
                    <a:cubicBezTo>
                      <a:pt x="515129" y="2705359"/>
                      <a:pt x="511328" y="2719407"/>
                      <a:pt x="513311" y="2736761"/>
                    </a:cubicBezTo>
                    <a:cubicBezTo>
                      <a:pt x="515625" y="2756593"/>
                      <a:pt x="529507" y="2775599"/>
                      <a:pt x="553141" y="2791300"/>
                    </a:cubicBezTo>
                    <a:cubicBezTo>
                      <a:pt x="559586" y="2795597"/>
                      <a:pt x="565040" y="2799233"/>
                      <a:pt x="564875" y="2799729"/>
                    </a:cubicBezTo>
                    <a:cubicBezTo>
                      <a:pt x="564875" y="2800059"/>
                      <a:pt x="561074" y="2807331"/>
                      <a:pt x="556612" y="2815925"/>
                    </a:cubicBezTo>
                    <a:cubicBezTo>
                      <a:pt x="536284" y="2854598"/>
                      <a:pt x="517608" y="2917236"/>
                      <a:pt x="512154" y="2964999"/>
                    </a:cubicBezTo>
                    <a:cubicBezTo>
                      <a:pt x="509344" y="2989789"/>
                      <a:pt x="508518" y="3049782"/>
                      <a:pt x="510832" y="3075895"/>
                    </a:cubicBezTo>
                    <a:cubicBezTo>
                      <a:pt x="515294" y="3128451"/>
                      <a:pt x="532813" y="3202823"/>
                      <a:pt x="553967" y="3258519"/>
                    </a:cubicBezTo>
                    <a:cubicBezTo>
                      <a:pt x="570825" y="3302976"/>
                      <a:pt x="605532" y="3372555"/>
                      <a:pt x="658583" y="3467751"/>
                    </a:cubicBezTo>
                    <a:cubicBezTo>
                      <a:pt x="673953" y="3495351"/>
                      <a:pt x="692464" y="3529727"/>
                      <a:pt x="699736" y="3543940"/>
                    </a:cubicBezTo>
                    <a:cubicBezTo>
                      <a:pt x="747333" y="3637318"/>
                      <a:pt x="790304" y="3742926"/>
                      <a:pt x="820383" y="3840270"/>
                    </a:cubicBezTo>
                    <a:cubicBezTo>
                      <a:pt x="830795" y="3874150"/>
                      <a:pt x="834927" y="3882083"/>
                      <a:pt x="845504" y="3888198"/>
                    </a:cubicBezTo>
                    <a:cubicBezTo>
                      <a:pt x="853933" y="3893157"/>
                      <a:pt x="867650" y="3893983"/>
                      <a:pt x="876740" y="3890182"/>
                    </a:cubicBezTo>
                    <a:lnTo>
                      <a:pt x="876740" y="3890182"/>
                    </a:lnTo>
                    <a:cubicBezTo>
                      <a:pt x="888970" y="3885058"/>
                      <a:pt x="894754" y="3875142"/>
                      <a:pt x="906324" y="3839278"/>
                    </a:cubicBezTo>
                    <a:cubicBezTo>
                      <a:pt x="928966" y="3769369"/>
                      <a:pt x="967474" y="3676652"/>
                      <a:pt x="1004329" y="3603272"/>
                    </a:cubicBezTo>
                    <a:cubicBezTo>
                      <a:pt x="1026805" y="3558319"/>
                      <a:pt x="1043002" y="3528736"/>
                      <a:pt x="1071098" y="3480973"/>
                    </a:cubicBezTo>
                    <a:cubicBezTo>
                      <a:pt x="1156708" y="3335204"/>
                      <a:pt x="1182325" y="3283640"/>
                      <a:pt x="1204802" y="3211251"/>
                    </a:cubicBezTo>
                    <a:cubicBezTo>
                      <a:pt x="1228766" y="3134401"/>
                      <a:pt x="1236533" y="3083993"/>
                      <a:pt x="1235707" y="3013423"/>
                    </a:cubicBezTo>
                    <a:cubicBezTo>
                      <a:pt x="1235046" y="2965329"/>
                      <a:pt x="1230419" y="2933102"/>
                      <a:pt x="1217031" y="2886330"/>
                    </a:cubicBezTo>
                    <a:cubicBezTo>
                      <a:pt x="1210421" y="2863192"/>
                      <a:pt x="1202818" y="2843194"/>
                      <a:pt x="1193233" y="2823693"/>
                    </a:cubicBezTo>
                    <a:cubicBezTo>
                      <a:pt x="1189101" y="2815594"/>
                      <a:pt x="1185795" y="2808157"/>
                      <a:pt x="1185795" y="2807331"/>
                    </a:cubicBezTo>
                    <a:cubicBezTo>
                      <a:pt x="1185795" y="2806505"/>
                      <a:pt x="1191249" y="2802373"/>
                      <a:pt x="1198025" y="2798241"/>
                    </a:cubicBezTo>
                    <a:cubicBezTo>
                      <a:pt x="1212735" y="2789151"/>
                      <a:pt x="1220337" y="2782210"/>
                      <a:pt x="1228435" y="2770476"/>
                    </a:cubicBezTo>
                    <a:cubicBezTo>
                      <a:pt x="1238517" y="2755767"/>
                      <a:pt x="1240996" y="2741058"/>
                      <a:pt x="1237029" y="2718911"/>
                    </a:cubicBezTo>
                    <a:cubicBezTo>
                      <a:pt x="1235872" y="2712300"/>
                      <a:pt x="1224634" y="2675445"/>
                      <a:pt x="1212074" y="2636772"/>
                    </a:cubicBezTo>
                    <a:lnTo>
                      <a:pt x="1189266" y="2566532"/>
                    </a:lnTo>
                    <a:lnTo>
                      <a:pt x="1197034" y="2559591"/>
                    </a:lnTo>
                    <a:cubicBezTo>
                      <a:pt x="1207281" y="2550666"/>
                      <a:pt x="1216701" y="2538106"/>
                      <a:pt x="1222320" y="2526206"/>
                    </a:cubicBezTo>
                    <a:cubicBezTo>
                      <a:pt x="1229096" y="2511828"/>
                      <a:pt x="1249425" y="2461916"/>
                      <a:pt x="1260498" y="2432994"/>
                    </a:cubicBezTo>
                    <a:cubicBezTo>
                      <a:pt x="1265786" y="2418946"/>
                      <a:pt x="1270579" y="2407377"/>
                      <a:pt x="1271240" y="2407377"/>
                    </a:cubicBezTo>
                    <a:cubicBezTo>
                      <a:pt x="1271736" y="2407377"/>
                      <a:pt x="1294213" y="2425557"/>
                      <a:pt x="1321152" y="2447868"/>
                    </a:cubicBezTo>
                    <a:cubicBezTo>
                      <a:pt x="1415852" y="2526206"/>
                      <a:pt x="1425272" y="2540254"/>
                      <a:pt x="1430561" y="2611320"/>
                    </a:cubicBezTo>
                    <a:cubicBezTo>
                      <a:pt x="1433866" y="2654787"/>
                      <a:pt x="1433370" y="2668339"/>
                      <a:pt x="1421801" y="2850797"/>
                    </a:cubicBezTo>
                    <a:cubicBezTo>
                      <a:pt x="1420644" y="2868977"/>
                      <a:pt x="1417669" y="2916244"/>
                      <a:pt x="1415356" y="2955744"/>
                    </a:cubicBezTo>
                    <a:cubicBezTo>
                      <a:pt x="1413042" y="2995243"/>
                      <a:pt x="1410232" y="3037883"/>
                      <a:pt x="1409406" y="3050443"/>
                    </a:cubicBezTo>
                    <a:cubicBezTo>
                      <a:pt x="1406596" y="3092422"/>
                      <a:pt x="1411555" y="3112585"/>
                      <a:pt x="1429569" y="3131426"/>
                    </a:cubicBezTo>
                    <a:cubicBezTo>
                      <a:pt x="1448410" y="3151258"/>
                      <a:pt x="1473200" y="3157869"/>
                      <a:pt x="1499644" y="3149936"/>
                    </a:cubicBezTo>
                    <a:cubicBezTo>
                      <a:pt x="1522451" y="3143160"/>
                      <a:pt x="1534185" y="3132583"/>
                      <a:pt x="1555174" y="3100520"/>
                    </a:cubicBezTo>
                    <a:cubicBezTo>
                      <a:pt x="1610870" y="3014910"/>
                      <a:pt x="1689870" y="2791630"/>
                      <a:pt x="1739285" y="2580250"/>
                    </a:cubicBezTo>
                    <a:cubicBezTo>
                      <a:pt x="1758953" y="2496292"/>
                      <a:pt x="1761927" y="2471171"/>
                      <a:pt x="1757465" y="2427871"/>
                    </a:cubicBezTo>
                    <a:close/>
                    <a:moveTo>
                      <a:pt x="607515" y="469418"/>
                    </a:moveTo>
                    <a:cubicBezTo>
                      <a:pt x="662550" y="350258"/>
                      <a:pt x="724526" y="244816"/>
                      <a:pt x="793940" y="153091"/>
                    </a:cubicBezTo>
                    <a:cubicBezTo>
                      <a:pt x="834100" y="99874"/>
                      <a:pt x="862196" y="73761"/>
                      <a:pt x="889962" y="64341"/>
                    </a:cubicBezTo>
                    <a:cubicBezTo>
                      <a:pt x="906819" y="58556"/>
                      <a:pt x="920867" y="61035"/>
                      <a:pt x="942352" y="73761"/>
                    </a:cubicBezTo>
                    <a:cubicBezTo>
                      <a:pt x="951773" y="79546"/>
                      <a:pt x="955078" y="82190"/>
                      <a:pt x="975241" y="103510"/>
                    </a:cubicBezTo>
                    <a:cubicBezTo>
                      <a:pt x="998710" y="128466"/>
                      <a:pt x="1007634" y="140034"/>
                      <a:pt x="1041515" y="189781"/>
                    </a:cubicBezTo>
                    <a:cubicBezTo>
                      <a:pt x="1097211" y="271590"/>
                      <a:pt x="1151089" y="370586"/>
                      <a:pt x="1193894" y="469583"/>
                    </a:cubicBezTo>
                    <a:lnTo>
                      <a:pt x="1193894" y="469583"/>
                    </a:lnTo>
                    <a:cubicBezTo>
                      <a:pt x="1200009" y="483797"/>
                      <a:pt x="1204967" y="496192"/>
                      <a:pt x="1204967" y="497183"/>
                    </a:cubicBezTo>
                    <a:cubicBezTo>
                      <a:pt x="1204967" y="498175"/>
                      <a:pt x="1199017" y="497514"/>
                      <a:pt x="1191580" y="495696"/>
                    </a:cubicBezTo>
                    <a:cubicBezTo>
                      <a:pt x="1142495" y="483136"/>
                      <a:pt x="1077048" y="472723"/>
                      <a:pt x="1018211" y="468096"/>
                    </a:cubicBezTo>
                    <a:cubicBezTo>
                      <a:pt x="986975" y="465617"/>
                      <a:pt x="902357" y="461485"/>
                      <a:pt x="897234" y="462146"/>
                    </a:cubicBezTo>
                    <a:cubicBezTo>
                      <a:pt x="895250" y="462477"/>
                      <a:pt x="880376" y="462807"/>
                      <a:pt x="864180" y="462807"/>
                    </a:cubicBezTo>
                    <a:cubicBezTo>
                      <a:pt x="831952" y="463138"/>
                      <a:pt x="778404" y="465452"/>
                      <a:pt x="747829" y="467931"/>
                    </a:cubicBezTo>
                    <a:cubicBezTo>
                      <a:pt x="713288" y="470740"/>
                      <a:pt x="649824" y="480491"/>
                      <a:pt x="613961" y="488589"/>
                    </a:cubicBezTo>
                    <a:cubicBezTo>
                      <a:pt x="605697" y="490407"/>
                      <a:pt x="598921" y="491234"/>
                      <a:pt x="598921" y="490242"/>
                    </a:cubicBezTo>
                    <a:cubicBezTo>
                      <a:pt x="598921" y="489251"/>
                      <a:pt x="602887" y="479995"/>
                      <a:pt x="607680" y="469749"/>
                    </a:cubicBezTo>
                    <a:close/>
                    <a:moveTo>
                      <a:pt x="467366" y="2340608"/>
                    </a:moveTo>
                    <a:cubicBezTo>
                      <a:pt x="466044" y="2341930"/>
                      <a:pt x="444228" y="2359449"/>
                      <a:pt x="418776" y="2379612"/>
                    </a:cubicBezTo>
                    <a:cubicBezTo>
                      <a:pt x="343744" y="2439274"/>
                      <a:pt x="336141" y="2445720"/>
                      <a:pt x="316639" y="2466874"/>
                    </a:cubicBezTo>
                    <a:cubicBezTo>
                      <a:pt x="283420" y="2502738"/>
                      <a:pt x="270859" y="2529181"/>
                      <a:pt x="264910" y="2575126"/>
                    </a:cubicBezTo>
                    <a:cubicBezTo>
                      <a:pt x="261770" y="2600082"/>
                      <a:pt x="261439" y="2613138"/>
                      <a:pt x="263092" y="2654291"/>
                    </a:cubicBezTo>
                    <a:cubicBezTo>
                      <a:pt x="265901" y="2723208"/>
                      <a:pt x="267223" y="2759568"/>
                      <a:pt x="268215" y="2787829"/>
                    </a:cubicBezTo>
                    <a:cubicBezTo>
                      <a:pt x="268711" y="2802869"/>
                      <a:pt x="269703" y="2828485"/>
                      <a:pt x="270364" y="2844847"/>
                    </a:cubicBezTo>
                    <a:cubicBezTo>
                      <a:pt x="271686" y="2877901"/>
                      <a:pt x="272512" y="2898064"/>
                      <a:pt x="274165" y="2945166"/>
                    </a:cubicBezTo>
                    <a:cubicBezTo>
                      <a:pt x="274826" y="2962685"/>
                      <a:pt x="275652" y="2984666"/>
                      <a:pt x="276148" y="2994086"/>
                    </a:cubicBezTo>
                    <a:cubicBezTo>
                      <a:pt x="277635" y="3025488"/>
                      <a:pt x="278462" y="3060360"/>
                      <a:pt x="277801" y="3066309"/>
                    </a:cubicBezTo>
                    <a:lnTo>
                      <a:pt x="277801" y="3066309"/>
                    </a:lnTo>
                    <a:cubicBezTo>
                      <a:pt x="276644" y="3077217"/>
                      <a:pt x="265075" y="3082836"/>
                      <a:pt x="255820" y="3077052"/>
                    </a:cubicBezTo>
                    <a:cubicBezTo>
                      <a:pt x="242763" y="3068788"/>
                      <a:pt x="213511" y="3012927"/>
                      <a:pt x="188059" y="2947150"/>
                    </a:cubicBezTo>
                    <a:cubicBezTo>
                      <a:pt x="143271" y="2831956"/>
                      <a:pt x="96004" y="2666190"/>
                      <a:pt x="70221" y="2534139"/>
                    </a:cubicBezTo>
                    <a:cubicBezTo>
                      <a:pt x="60966" y="2486376"/>
                      <a:pt x="58322" y="2440762"/>
                      <a:pt x="63280" y="2413327"/>
                    </a:cubicBezTo>
                    <a:cubicBezTo>
                      <a:pt x="69230" y="2381099"/>
                      <a:pt x="91541" y="2329535"/>
                      <a:pt x="117323" y="2288713"/>
                    </a:cubicBezTo>
                    <a:cubicBezTo>
                      <a:pt x="157484" y="2225084"/>
                      <a:pt x="227559" y="2135507"/>
                      <a:pt x="288709" y="2069730"/>
                    </a:cubicBezTo>
                    <a:cubicBezTo>
                      <a:pt x="311351" y="2045435"/>
                      <a:pt x="355313" y="2002795"/>
                      <a:pt x="361923" y="1998664"/>
                    </a:cubicBezTo>
                    <a:cubicBezTo>
                      <a:pt x="364568" y="1997011"/>
                      <a:pt x="369526" y="1995689"/>
                      <a:pt x="373162" y="1995689"/>
                    </a:cubicBezTo>
                    <a:cubicBezTo>
                      <a:pt x="383904" y="1995689"/>
                      <a:pt x="387706" y="2002134"/>
                      <a:pt x="392168" y="2028578"/>
                    </a:cubicBezTo>
                    <a:cubicBezTo>
                      <a:pt x="404728" y="2101627"/>
                      <a:pt x="439435" y="2241611"/>
                      <a:pt x="464556" y="2321271"/>
                    </a:cubicBezTo>
                    <a:cubicBezTo>
                      <a:pt x="469018" y="2335154"/>
                      <a:pt x="469514" y="2338624"/>
                      <a:pt x="467531" y="2340442"/>
                    </a:cubicBezTo>
                    <a:close/>
                    <a:moveTo>
                      <a:pt x="1175218" y="2733620"/>
                    </a:moveTo>
                    <a:cubicBezTo>
                      <a:pt x="1170756" y="2749156"/>
                      <a:pt x="1157039" y="2758741"/>
                      <a:pt x="1116547" y="2774773"/>
                    </a:cubicBezTo>
                    <a:cubicBezTo>
                      <a:pt x="1048125" y="2801877"/>
                      <a:pt x="971936" y="2818404"/>
                      <a:pt x="899217" y="2821875"/>
                    </a:cubicBezTo>
                    <a:cubicBezTo>
                      <a:pt x="824349" y="2825511"/>
                      <a:pt x="722047" y="2805843"/>
                      <a:pt x="642222" y="2772459"/>
                    </a:cubicBezTo>
                    <a:cubicBezTo>
                      <a:pt x="579254" y="2746181"/>
                      <a:pt x="569503" y="2734943"/>
                      <a:pt x="578923" y="2699575"/>
                    </a:cubicBezTo>
                    <a:cubicBezTo>
                      <a:pt x="582559" y="2686353"/>
                      <a:pt x="618919" y="2582729"/>
                      <a:pt x="619910" y="2582729"/>
                    </a:cubicBezTo>
                    <a:cubicBezTo>
                      <a:pt x="620241" y="2582729"/>
                      <a:pt x="625199" y="2584381"/>
                      <a:pt x="630818" y="2586530"/>
                    </a:cubicBezTo>
                    <a:cubicBezTo>
                      <a:pt x="671474" y="2601239"/>
                      <a:pt x="737748" y="2615452"/>
                      <a:pt x="798898" y="2622724"/>
                    </a:cubicBezTo>
                    <a:cubicBezTo>
                      <a:pt x="897895" y="2634293"/>
                      <a:pt x="1014906" y="2624377"/>
                      <a:pt x="1110102" y="2596446"/>
                    </a:cubicBezTo>
                    <a:cubicBezTo>
                      <a:pt x="1122993" y="2592645"/>
                      <a:pt x="1134231" y="2589339"/>
                      <a:pt x="1134892" y="2589174"/>
                    </a:cubicBezTo>
                    <a:cubicBezTo>
                      <a:pt x="1136380" y="2588844"/>
                      <a:pt x="1141999" y="2606032"/>
                      <a:pt x="1140677" y="2607354"/>
                    </a:cubicBezTo>
                    <a:cubicBezTo>
                      <a:pt x="1137702" y="2610164"/>
                      <a:pt x="1104482" y="2622228"/>
                      <a:pt x="1080023" y="2629335"/>
                    </a:cubicBezTo>
                    <a:cubicBezTo>
                      <a:pt x="1055728" y="2636441"/>
                      <a:pt x="1051265" y="2638259"/>
                      <a:pt x="1046473" y="2642722"/>
                    </a:cubicBezTo>
                    <a:cubicBezTo>
                      <a:pt x="1028128" y="2660075"/>
                      <a:pt x="1044324" y="2688832"/>
                      <a:pt x="1070106" y="2684700"/>
                    </a:cubicBezTo>
                    <a:cubicBezTo>
                      <a:pt x="1086303" y="2682221"/>
                      <a:pt x="1129438" y="2666686"/>
                      <a:pt x="1147453" y="2656935"/>
                    </a:cubicBezTo>
                    <a:cubicBezTo>
                      <a:pt x="1151089" y="2654952"/>
                      <a:pt x="1154890" y="2653795"/>
                      <a:pt x="1155882" y="2654291"/>
                    </a:cubicBezTo>
                    <a:cubicBezTo>
                      <a:pt x="1157204" y="2654952"/>
                      <a:pt x="1161831" y="2666355"/>
                      <a:pt x="1161996" y="2669661"/>
                    </a:cubicBezTo>
                    <a:cubicBezTo>
                      <a:pt x="1161996" y="2670487"/>
                      <a:pt x="1120183" y="2689163"/>
                      <a:pt x="1101508" y="2696765"/>
                    </a:cubicBezTo>
                    <a:cubicBezTo>
                      <a:pt x="1058207" y="2714449"/>
                      <a:pt x="991603" y="2731141"/>
                      <a:pt x="938055" y="2737752"/>
                    </a:cubicBezTo>
                    <a:cubicBezTo>
                      <a:pt x="923677" y="2739570"/>
                      <a:pt x="920867" y="2740397"/>
                      <a:pt x="915248" y="2744859"/>
                    </a:cubicBezTo>
                    <a:cubicBezTo>
                      <a:pt x="909959" y="2748990"/>
                      <a:pt x="908637" y="2751139"/>
                      <a:pt x="906819" y="2757419"/>
                    </a:cubicBezTo>
                    <a:cubicBezTo>
                      <a:pt x="904340" y="2766179"/>
                      <a:pt x="906324" y="2773616"/>
                      <a:pt x="913099" y="2780722"/>
                    </a:cubicBezTo>
                    <a:cubicBezTo>
                      <a:pt x="919380" y="2787333"/>
                      <a:pt x="924669" y="2788986"/>
                      <a:pt x="937394" y="2788655"/>
                    </a:cubicBezTo>
                    <a:cubicBezTo>
                      <a:pt x="961358" y="2787994"/>
                      <a:pt x="1032425" y="2773285"/>
                      <a:pt x="1073577" y="2760394"/>
                    </a:cubicBezTo>
                    <a:cubicBezTo>
                      <a:pt x="1107788" y="2749652"/>
                      <a:pt x="1122001" y="2744032"/>
                      <a:pt x="1149932" y="2729489"/>
                    </a:cubicBezTo>
                    <a:cubicBezTo>
                      <a:pt x="1162823" y="2722713"/>
                      <a:pt x="1173896" y="2717259"/>
                      <a:pt x="1174557" y="2717259"/>
                    </a:cubicBezTo>
                    <a:cubicBezTo>
                      <a:pt x="1176871" y="2717259"/>
                      <a:pt x="1177202" y="2726349"/>
                      <a:pt x="1175053" y="2733620"/>
                    </a:cubicBezTo>
                    <a:lnTo>
                      <a:pt x="1175053" y="2733620"/>
                    </a:lnTo>
                    <a:close/>
                    <a:moveTo>
                      <a:pt x="1210751" y="2402419"/>
                    </a:moveTo>
                    <a:cubicBezTo>
                      <a:pt x="1204471" y="2419442"/>
                      <a:pt x="1204802" y="2419111"/>
                      <a:pt x="1182655" y="2429689"/>
                    </a:cubicBezTo>
                    <a:cubicBezTo>
                      <a:pt x="1167616" y="2436960"/>
                      <a:pt x="1123489" y="2453653"/>
                      <a:pt x="1102830" y="2459933"/>
                    </a:cubicBezTo>
                    <a:cubicBezTo>
                      <a:pt x="1064652" y="2471502"/>
                      <a:pt x="1015567" y="2479600"/>
                      <a:pt x="957557" y="2484062"/>
                    </a:cubicBezTo>
                    <a:cubicBezTo>
                      <a:pt x="949955" y="2484558"/>
                      <a:pt x="939212" y="2493152"/>
                      <a:pt x="936568" y="2500589"/>
                    </a:cubicBezTo>
                    <a:cubicBezTo>
                      <a:pt x="934089" y="2507861"/>
                      <a:pt x="935576" y="2517943"/>
                      <a:pt x="940369" y="2524223"/>
                    </a:cubicBezTo>
                    <a:cubicBezTo>
                      <a:pt x="947145" y="2533148"/>
                      <a:pt x="955574" y="2535296"/>
                      <a:pt x="978547" y="2533478"/>
                    </a:cubicBezTo>
                    <a:cubicBezTo>
                      <a:pt x="1043332" y="2528685"/>
                      <a:pt x="1107292" y="2514803"/>
                      <a:pt x="1159187" y="2494309"/>
                    </a:cubicBezTo>
                    <a:cubicBezTo>
                      <a:pt x="1168112" y="2490838"/>
                      <a:pt x="1175549" y="2488525"/>
                      <a:pt x="1175714" y="2489351"/>
                    </a:cubicBezTo>
                    <a:cubicBezTo>
                      <a:pt x="1175714" y="2490177"/>
                      <a:pt x="1173731" y="2494805"/>
                      <a:pt x="1170921" y="2499763"/>
                    </a:cubicBezTo>
                    <a:lnTo>
                      <a:pt x="1170921" y="2499763"/>
                    </a:lnTo>
                    <a:cubicBezTo>
                      <a:pt x="1164806" y="2510836"/>
                      <a:pt x="1155055" y="2520091"/>
                      <a:pt x="1144478" y="2525215"/>
                    </a:cubicBezTo>
                    <a:cubicBezTo>
                      <a:pt x="1133240" y="2530503"/>
                      <a:pt x="1085642" y="2544551"/>
                      <a:pt x="1056554" y="2551162"/>
                    </a:cubicBezTo>
                    <a:cubicBezTo>
                      <a:pt x="922355" y="2581076"/>
                      <a:pt x="780883" y="2574961"/>
                      <a:pt x="652964" y="2533643"/>
                    </a:cubicBezTo>
                    <a:cubicBezTo>
                      <a:pt x="611316" y="2520257"/>
                      <a:pt x="609994" y="2519430"/>
                      <a:pt x="597433" y="2506374"/>
                    </a:cubicBezTo>
                    <a:lnTo>
                      <a:pt x="586526" y="2494970"/>
                    </a:lnTo>
                    <a:lnTo>
                      <a:pt x="577601" y="2472163"/>
                    </a:lnTo>
                    <a:cubicBezTo>
                      <a:pt x="568842" y="2449852"/>
                      <a:pt x="546034" y="2387545"/>
                      <a:pt x="544712" y="2382586"/>
                    </a:cubicBezTo>
                    <a:cubicBezTo>
                      <a:pt x="544216" y="2380768"/>
                      <a:pt x="549836" y="2382917"/>
                      <a:pt x="563057" y="2389693"/>
                    </a:cubicBezTo>
                    <a:cubicBezTo>
                      <a:pt x="632140" y="2424400"/>
                      <a:pt x="736426" y="2448034"/>
                      <a:pt x="845173" y="2453653"/>
                    </a:cubicBezTo>
                    <a:cubicBezTo>
                      <a:pt x="971275" y="2460263"/>
                      <a:pt x="1109771" y="2437952"/>
                      <a:pt x="1195547" y="2397626"/>
                    </a:cubicBezTo>
                    <a:lnTo>
                      <a:pt x="1216370" y="2387875"/>
                    </a:lnTo>
                    <a:lnTo>
                      <a:pt x="1210751" y="2402749"/>
                    </a:lnTo>
                    <a:close/>
                    <a:moveTo>
                      <a:pt x="1248433" y="2286564"/>
                    </a:moveTo>
                    <a:lnTo>
                      <a:pt x="1248433" y="2286564"/>
                    </a:lnTo>
                    <a:cubicBezTo>
                      <a:pt x="1243805" y="2293010"/>
                      <a:pt x="1223642" y="2312677"/>
                      <a:pt x="1217031" y="2317140"/>
                    </a:cubicBezTo>
                    <a:cubicBezTo>
                      <a:pt x="1189762" y="2335650"/>
                      <a:pt x="1181333" y="2340773"/>
                      <a:pt x="1168773" y="2346558"/>
                    </a:cubicBezTo>
                    <a:cubicBezTo>
                      <a:pt x="1102004" y="2377132"/>
                      <a:pt x="997222" y="2396304"/>
                      <a:pt x="892771" y="2396800"/>
                    </a:cubicBezTo>
                    <a:cubicBezTo>
                      <a:pt x="844843" y="2396965"/>
                      <a:pt x="816912" y="2395147"/>
                      <a:pt x="765348" y="2387875"/>
                    </a:cubicBezTo>
                    <a:cubicBezTo>
                      <a:pt x="709982" y="2380107"/>
                      <a:pt x="652799" y="2365729"/>
                      <a:pt x="613961" y="2349532"/>
                    </a:cubicBezTo>
                    <a:cubicBezTo>
                      <a:pt x="575948" y="2333832"/>
                      <a:pt x="551323" y="2317635"/>
                      <a:pt x="527028" y="2292018"/>
                    </a:cubicBezTo>
                    <a:lnTo>
                      <a:pt x="510832" y="2274996"/>
                    </a:lnTo>
                    <a:lnTo>
                      <a:pt x="505708" y="2258303"/>
                    </a:lnTo>
                    <a:cubicBezTo>
                      <a:pt x="499594" y="2238306"/>
                      <a:pt x="485545" y="2185749"/>
                      <a:pt x="477943" y="2154018"/>
                    </a:cubicBezTo>
                    <a:cubicBezTo>
                      <a:pt x="372170" y="1718035"/>
                      <a:pt x="373988" y="1245197"/>
                      <a:pt x="482901" y="824419"/>
                    </a:cubicBezTo>
                    <a:cubicBezTo>
                      <a:pt x="492487" y="787398"/>
                      <a:pt x="501412" y="756492"/>
                      <a:pt x="515129" y="712200"/>
                    </a:cubicBezTo>
                    <a:lnTo>
                      <a:pt x="525045" y="680468"/>
                    </a:lnTo>
                    <a:lnTo>
                      <a:pt x="539589" y="676502"/>
                    </a:lnTo>
                    <a:cubicBezTo>
                      <a:pt x="566363" y="669395"/>
                      <a:pt x="627678" y="656339"/>
                      <a:pt x="661228" y="650720"/>
                    </a:cubicBezTo>
                    <a:cubicBezTo>
                      <a:pt x="744359" y="636672"/>
                      <a:pt x="816086" y="631879"/>
                      <a:pt x="911777" y="633531"/>
                    </a:cubicBezTo>
                    <a:cubicBezTo>
                      <a:pt x="1022343" y="635515"/>
                      <a:pt x="1107623" y="646588"/>
                      <a:pt x="1212404" y="672370"/>
                    </a:cubicBezTo>
                    <a:cubicBezTo>
                      <a:pt x="1251408" y="681956"/>
                      <a:pt x="1272562" y="688071"/>
                      <a:pt x="1274546" y="690219"/>
                    </a:cubicBezTo>
                    <a:cubicBezTo>
                      <a:pt x="1275372" y="691045"/>
                      <a:pt x="1280661" y="708729"/>
                      <a:pt x="1286610" y="729553"/>
                    </a:cubicBezTo>
                    <a:cubicBezTo>
                      <a:pt x="1316194" y="834335"/>
                      <a:pt x="1338505" y="939116"/>
                      <a:pt x="1354041" y="1047038"/>
                    </a:cubicBezTo>
                    <a:cubicBezTo>
                      <a:pt x="1408249" y="1421375"/>
                      <a:pt x="1382963" y="1819180"/>
                      <a:pt x="1282148" y="2182940"/>
                    </a:cubicBezTo>
                    <a:cubicBezTo>
                      <a:pt x="1263307" y="2250701"/>
                      <a:pt x="1254383" y="2278632"/>
                      <a:pt x="1248763" y="2286399"/>
                    </a:cubicBezTo>
                    <a:close/>
                    <a:moveTo>
                      <a:pt x="1670533" y="2618923"/>
                    </a:moveTo>
                    <a:cubicBezTo>
                      <a:pt x="1626075" y="2794936"/>
                      <a:pt x="1561785" y="2974089"/>
                      <a:pt x="1512700" y="3058707"/>
                    </a:cubicBezTo>
                    <a:lnTo>
                      <a:pt x="1512700" y="3058707"/>
                    </a:lnTo>
                    <a:cubicBezTo>
                      <a:pt x="1496173" y="3087134"/>
                      <a:pt x="1486257" y="3096554"/>
                      <a:pt x="1476340" y="3093414"/>
                    </a:cubicBezTo>
                    <a:cubicBezTo>
                      <a:pt x="1472870" y="3092257"/>
                      <a:pt x="1467581" y="3087134"/>
                      <a:pt x="1466094" y="3083498"/>
                    </a:cubicBezTo>
                    <a:cubicBezTo>
                      <a:pt x="1465267" y="3081349"/>
                      <a:pt x="1467416" y="3040693"/>
                      <a:pt x="1471878" y="2974915"/>
                    </a:cubicBezTo>
                    <a:cubicBezTo>
                      <a:pt x="1472870" y="2959710"/>
                      <a:pt x="1474522" y="2931945"/>
                      <a:pt x="1475680" y="2913104"/>
                    </a:cubicBezTo>
                    <a:cubicBezTo>
                      <a:pt x="1476671" y="2894263"/>
                      <a:pt x="1478324" y="2866993"/>
                      <a:pt x="1479315" y="2852450"/>
                    </a:cubicBezTo>
                    <a:cubicBezTo>
                      <a:pt x="1480307" y="2837906"/>
                      <a:pt x="1482290" y="2804521"/>
                      <a:pt x="1483943" y="2778409"/>
                    </a:cubicBezTo>
                    <a:cubicBezTo>
                      <a:pt x="1485596" y="2752296"/>
                      <a:pt x="1488075" y="2712135"/>
                      <a:pt x="1489397" y="2688998"/>
                    </a:cubicBezTo>
                    <a:cubicBezTo>
                      <a:pt x="1490884" y="2665860"/>
                      <a:pt x="1492372" y="2641565"/>
                      <a:pt x="1492702" y="2634954"/>
                    </a:cubicBezTo>
                    <a:cubicBezTo>
                      <a:pt x="1493529" y="2621402"/>
                      <a:pt x="1491050" y="2588513"/>
                      <a:pt x="1487909" y="2570664"/>
                    </a:cubicBezTo>
                    <a:cubicBezTo>
                      <a:pt x="1481960" y="2536618"/>
                      <a:pt x="1470060" y="2512819"/>
                      <a:pt x="1443617" y="2482244"/>
                    </a:cubicBezTo>
                    <a:cubicBezTo>
                      <a:pt x="1428082" y="2464230"/>
                      <a:pt x="1411720" y="2449521"/>
                      <a:pt x="1347925" y="2396139"/>
                    </a:cubicBezTo>
                    <a:cubicBezTo>
                      <a:pt x="1320160" y="2372836"/>
                      <a:pt x="1295865" y="2352838"/>
                      <a:pt x="1294543" y="2351350"/>
                    </a:cubicBezTo>
                    <a:cubicBezTo>
                      <a:pt x="1291403" y="2348541"/>
                      <a:pt x="1290081" y="2353664"/>
                      <a:pt x="1311236" y="2286564"/>
                    </a:cubicBezTo>
                    <a:cubicBezTo>
                      <a:pt x="1333878" y="2215168"/>
                      <a:pt x="1351396" y="2150051"/>
                      <a:pt x="1370072" y="2066920"/>
                    </a:cubicBezTo>
                    <a:cubicBezTo>
                      <a:pt x="1375856" y="2040973"/>
                      <a:pt x="1381641" y="2018166"/>
                      <a:pt x="1382632" y="2016017"/>
                    </a:cubicBezTo>
                    <a:cubicBezTo>
                      <a:pt x="1385772" y="2009571"/>
                      <a:pt x="1388582" y="2007919"/>
                      <a:pt x="1395854" y="2008084"/>
                    </a:cubicBezTo>
                    <a:cubicBezTo>
                      <a:pt x="1407092" y="2008415"/>
                      <a:pt x="1414530" y="2014695"/>
                      <a:pt x="1458822" y="2062954"/>
                    </a:cubicBezTo>
                    <a:cubicBezTo>
                      <a:pt x="1508899" y="2117328"/>
                      <a:pt x="1547242" y="2164430"/>
                      <a:pt x="1590707" y="2225249"/>
                    </a:cubicBezTo>
                    <a:cubicBezTo>
                      <a:pt x="1628389" y="2277970"/>
                      <a:pt x="1650535" y="2313834"/>
                      <a:pt x="1667723" y="2350689"/>
                    </a:cubicBezTo>
                    <a:cubicBezTo>
                      <a:pt x="1707223" y="2435142"/>
                      <a:pt x="1707554" y="2471832"/>
                      <a:pt x="1670533" y="261908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B727BE72-9906-F5FE-4228-08CF19961320}"/>
                  </a:ext>
                </a:extLst>
              </p:cNvPr>
              <p:cNvSpPr/>
              <p:nvPr/>
            </p:nvSpPr>
            <p:spPr>
              <a:xfrm>
                <a:off x="8829340" y="3293111"/>
                <a:ext cx="610954" cy="963419"/>
              </a:xfrm>
              <a:custGeom>
                <a:avLst/>
                <a:gdLst>
                  <a:gd name="connsiteX0" fmla="*/ 310654 w 610954"/>
                  <a:gd name="connsiteY0" fmla="*/ 926003 h 963419"/>
                  <a:gd name="connsiteX1" fmla="*/ 374613 w 610954"/>
                  <a:gd name="connsiteY1" fmla="*/ 773789 h 963419"/>
                  <a:gd name="connsiteX2" fmla="*/ 458405 w 610954"/>
                  <a:gd name="connsiteY2" fmla="*/ 619261 h 963419"/>
                  <a:gd name="connsiteX3" fmla="*/ 560707 w 610954"/>
                  <a:gd name="connsiteY3" fmla="*/ 429200 h 963419"/>
                  <a:gd name="connsiteX4" fmla="*/ 605000 w 610954"/>
                  <a:gd name="connsiteY4" fmla="*/ 278309 h 963419"/>
                  <a:gd name="connsiteX5" fmla="*/ 608801 w 610954"/>
                  <a:gd name="connsiteY5" fmla="*/ 143779 h 963419"/>
                  <a:gd name="connsiteX6" fmla="*/ 591447 w 610954"/>
                  <a:gd name="connsiteY6" fmla="*/ 66597 h 963419"/>
                  <a:gd name="connsiteX7" fmla="*/ 566988 w 610954"/>
                  <a:gd name="connsiteY7" fmla="*/ 5943 h 963419"/>
                  <a:gd name="connsiteX8" fmla="*/ 552774 w 610954"/>
                  <a:gd name="connsiteY8" fmla="*/ 8918 h 963419"/>
                  <a:gd name="connsiteX9" fmla="*/ 469313 w 610954"/>
                  <a:gd name="connsiteY9" fmla="*/ 34204 h 963419"/>
                  <a:gd name="connsiteX10" fmla="*/ 451629 w 610954"/>
                  <a:gd name="connsiteY10" fmla="*/ 38997 h 963419"/>
                  <a:gd name="connsiteX11" fmla="*/ 460719 w 610954"/>
                  <a:gd name="connsiteY11" fmla="*/ 57012 h 963419"/>
                  <a:gd name="connsiteX12" fmla="*/ 498566 w 610954"/>
                  <a:gd name="connsiteY12" fmla="*/ 221621 h 963419"/>
                  <a:gd name="connsiteX13" fmla="*/ 422541 w 610954"/>
                  <a:gd name="connsiteY13" fmla="*/ 446719 h 963419"/>
                  <a:gd name="connsiteX14" fmla="*/ 329494 w 610954"/>
                  <a:gd name="connsiteY14" fmla="*/ 642564 h 963419"/>
                  <a:gd name="connsiteX15" fmla="*/ 308505 w 610954"/>
                  <a:gd name="connsiteY15" fmla="*/ 669338 h 963419"/>
                  <a:gd name="connsiteX16" fmla="*/ 281731 w 610954"/>
                  <a:gd name="connsiteY16" fmla="*/ 663719 h 963419"/>
                  <a:gd name="connsiteX17" fmla="*/ 269171 w 610954"/>
                  <a:gd name="connsiteY17" fmla="*/ 637771 h 963419"/>
                  <a:gd name="connsiteX18" fmla="*/ 179098 w 610954"/>
                  <a:gd name="connsiteY18" fmla="*/ 437960 h 963419"/>
                  <a:gd name="connsiteX19" fmla="*/ 119436 w 610954"/>
                  <a:gd name="connsiteY19" fmla="*/ 290373 h 963419"/>
                  <a:gd name="connsiteX20" fmla="*/ 129517 w 610954"/>
                  <a:gd name="connsiteY20" fmla="*/ 104610 h 963419"/>
                  <a:gd name="connsiteX21" fmla="*/ 157448 w 610954"/>
                  <a:gd name="connsiteY21" fmla="*/ 45939 h 963419"/>
                  <a:gd name="connsiteX22" fmla="*/ 162571 w 610954"/>
                  <a:gd name="connsiteY22" fmla="*/ 35527 h 963419"/>
                  <a:gd name="connsiteX23" fmla="*/ 144391 w 610954"/>
                  <a:gd name="connsiteY23" fmla="*/ 30568 h 963419"/>
                  <a:gd name="connsiteX24" fmla="*/ 67541 w 610954"/>
                  <a:gd name="connsiteY24" fmla="*/ 5778 h 963419"/>
                  <a:gd name="connsiteX25" fmla="*/ 48204 w 610954"/>
                  <a:gd name="connsiteY25" fmla="*/ 159 h 963419"/>
                  <a:gd name="connsiteX26" fmla="*/ 22257 w 610954"/>
                  <a:gd name="connsiteY26" fmla="*/ 59821 h 963419"/>
                  <a:gd name="connsiteX27" fmla="*/ 276 w 610954"/>
                  <a:gd name="connsiteY27" fmla="*/ 187741 h 963419"/>
                  <a:gd name="connsiteX28" fmla="*/ 25232 w 610954"/>
                  <a:gd name="connsiteY28" fmla="*/ 365902 h 963419"/>
                  <a:gd name="connsiteX29" fmla="*/ 143070 w 610954"/>
                  <a:gd name="connsiteY29" fmla="*/ 616782 h 963419"/>
                  <a:gd name="connsiteX30" fmla="*/ 210996 w 610954"/>
                  <a:gd name="connsiteY30" fmla="*/ 747676 h 963419"/>
                  <a:gd name="connsiteX31" fmla="*/ 281401 w 610954"/>
                  <a:gd name="connsiteY31" fmla="*/ 920879 h 963419"/>
                  <a:gd name="connsiteX32" fmla="*/ 296771 w 610954"/>
                  <a:gd name="connsiteY32" fmla="*/ 963354 h 963419"/>
                  <a:gd name="connsiteX33" fmla="*/ 310654 w 610954"/>
                  <a:gd name="connsiteY33" fmla="*/ 926003 h 963419"/>
                  <a:gd name="connsiteX34" fmla="*/ 310654 w 610954"/>
                  <a:gd name="connsiteY34" fmla="*/ 926003 h 96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10954" h="963419">
                    <a:moveTo>
                      <a:pt x="310654" y="926003"/>
                    </a:moveTo>
                    <a:cubicBezTo>
                      <a:pt x="328007" y="878074"/>
                      <a:pt x="355772" y="812131"/>
                      <a:pt x="374613" y="773789"/>
                    </a:cubicBezTo>
                    <a:cubicBezTo>
                      <a:pt x="403205" y="716110"/>
                      <a:pt x="424194" y="677271"/>
                      <a:pt x="458405" y="619261"/>
                    </a:cubicBezTo>
                    <a:cubicBezTo>
                      <a:pt x="511787" y="528528"/>
                      <a:pt x="542858" y="470848"/>
                      <a:pt x="560707" y="429200"/>
                    </a:cubicBezTo>
                    <a:cubicBezTo>
                      <a:pt x="578722" y="387387"/>
                      <a:pt x="597728" y="322766"/>
                      <a:pt x="605000" y="278309"/>
                    </a:cubicBezTo>
                    <a:cubicBezTo>
                      <a:pt x="611115" y="241949"/>
                      <a:pt x="612767" y="181130"/>
                      <a:pt x="608801" y="143779"/>
                    </a:cubicBezTo>
                    <a:cubicBezTo>
                      <a:pt x="606818" y="124607"/>
                      <a:pt x="599381" y="91388"/>
                      <a:pt x="591447" y="66597"/>
                    </a:cubicBezTo>
                    <a:cubicBezTo>
                      <a:pt x="585167" y="46600"/>
                      <a:pt x="569962" y="9083"/>
                      <a:pt x="566988" y="5943"/>
                    </a:cubicBezTo>
                    <a:cubicBezTo>
                      <a:pt x="565831" y="4786"/>
                      <a:pt x="561203" y="5613"/>
                      <a:pt x="552774" y="8918"/>
                    </a:cubicBezTo>
                    <a:cubicBezTo>
                      <a:pt x="534429" y="16025"/>
                      <a:pt x="489641" y="29577"/>
                      <a:pt x="469313" y="34204"/>
                    </a:cubicBezTo>
                    <a:cubicBezTo>
                      <a:pt x="459562" y="36353"/>
                      <a:pt x="451629" y="38502"/>
                      <a:pt x="451629" y="38997"/>
                    </a:cubicBezTo>
                    <a:cubicBezTo>
                      <a:pt x="451629" y="39493"/>
                      <a:pt x="455761" y="47426"/>
                      <a:pt x="460719" y="57012"/>
                    </a:cubicBezTo>
                    <a:cubicBezTo>
                      <a:pt x="489311" y="111881"/>
                      <a:pt x="500053" y="158653"/>
                      <a:pt x="498566" y="221621"/>
                    </a:cubicBezTo>
                    <a:cubicBezTo>
                      <a:pt x="496913" y="292852"/>
                      <a:pt x="479064" y="345573"/>
                      <a:pt x="422541" y="446719"/>
                    </a:cubicBezTo>
                    <a:cubicBezTo>
                      <a:pt x="386017" y="512166"/>
                      <a:pt x="344534" y="599594"/>
                      <a:pt x="329494" y="642564"/>
                    </a:cubicBezTo>
                    <a:cubicBezTo>
                      <a:pt x="323545" y="659917"/>
                      <a:pt x="318752" y="666032"/>
                      <a:pt x="308505" y="669338"/>
                    </a:cubicBezTo>
                    <a:cubicBezTo>
                      <a:pt x="299084" y="672313"/>
                      <a:pt x="289334" y="670164"/>
                      <a:pt x="281731" y="663719"/>
                    </a:cubicBezTo>
                    <a:cubicBezTo>
                      <a:pt x="276608" y="659257"/>
                      <a:pt x="275616" y="656612"/>
                      <a:pt x="269171" y="637771"/>
                    </a:cubicBezTo>
                    <a:cubicBezTo>
                      <a:pt x="253470" y="590339"/>
                      <a:pt x="219094" y="514314"/>
                      <a:pt x="179098" y="437960"/>
                    </a:cubicBezTo>
                    <a:cubicBezTo>
                      <a:pt x="145053" y="373008"/>
                      <a:pt x="130013" y="335823"/>
                      <a:pt x="119436" y="290373"/>
                    </a:cubicBezTo>
                    <a:cubicBezTo>
                      <a:pt x="105884" y="231868"/>
                      <a:pt x="109685" y="160636"/>
                      <a:pt x="129517" y="104610"/>
                    </a:cubicBezTo>
                    <a:cubicBezTo>
                      <a:pt x="135302" y="88413"/>
                      <a:pt x="147036" y="63788"/>
                      <a:pt x="157448" y="45939"/>
                    </a:cubicBezTo>
                    <a:cubicBezTo>
                      <a:pt x="160588" y="40485"/>
                      <a:pt x="162902" y="35857"/>
                      <a:pt x="162571" y="35527"/>
                    </a:cubicBezTo>
                    <a:cubicBezTo>
                      <a:pt x="162241" y="35196"/>
                      <a:pt x="154143" y="32882"/>
                      <a:pt x="144391" y="30568"/>
                    </a:cubicBezTo>
                    <a:cubicBezTo>
                      <a:pt x="121915" y="24949"/>
                      <a:pt x="90348" y="14703"/>
                      <a:pt x="67541" y="5778"/>
                    </a:cubicBezTo>
                    <a:cubicBezTo>
                      <a:pt x="57459" y="1812"/>
                      <a:pt x="49031" y="-668"/>
                      <a:pt x="48204" y="159"/>
                    </a:cubicBezTo>
                    <a:cubicBezTo>
                      <a:pt x="45395" y="2803"/>
                      <a:pt x="28372" y="42137"/>
                      <a:pt x="22257" y="59821"/>
                    </a:cubicBezTo>
                    <a:cubicBezTo>
                      <a:pt x="6556" y="105932"/>
                      <a:pt x="1598" y="135350"/>
                      <a:pt x="276" y="187741"/>
                    </a:cubicBezTo>
                    <a:cubicBezTo>
                      <a:pt x="-1377" y="254179"/>
                      <a:pt x="4077" y="293679"/>
                      <a:pt x="25232" y="365902"/>
                    </a:cubicBezTo>
                    <a:cubicBezTo>
                      <a:pt x="44073" y="430853"/>
                      <a:pt x="68863" y="483409"/>
                      <a:pt x="143070" y="616782"/>
                    </a:cubicBezTo>
                    <a:cubicBezTo>
                      <a:pt x="174471" y="673304"/>
                      <a:pt x="188519" y="700243"/>
                      <a:pt x="210996" y="747676"/>
                    </a:cubicBezTo>
                    <a:cubicBezTo>
                      <a:pt x="238596" y="806182"/>
                      <a:pt x="262395" y="864522"/>
                      <a:pt x="281401" y="920879"/>
                    </a:cubicBezTo>
                    <a:cubicBezTo>
                      <a:pt x="294787" y="960379"/>
                      <a:pt x="296110" y="964015"/>
                      <a:pt x="296771" y="963354"/>
                    </a:cubicBezTo>
                    <a:cubicBezTo>
                      <a:pt x="297101" y="963023"/>
                      <a:pt x="303382" y="946166"/>
                      <a:pt x="310654" y="926003"/>
                    </a:cubicBezTo>
                    <a:lnTo>
                      <a:pt x="310654" y="926003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AB5E85E2-7A36-63DF-DEAD-DEF310F6C08F}"/>
                  </a:ext>
                </a:extLst>
              </p:cNvPr>
              <p:cNvSpPr/>
              <p:nvPr/>
            </p:nvSpPr>
            <p:spPr>
              <a:xfrm>
                <a:off x="8998464" y="3339876"/>
                <a:ext cx="272718" cy="512689"/>
              </a:xfrm>
              <a:custGeom>
                <a:avLst/>
                <a:gdLst>
                  <a:gd name="connsiteX0" fmla="*/ 144009 w 272718"/>
                  <a:gd name="connsiteY0" fmla="*/ 487382 h 512689"/>
                  <a:gd name="connsiteX1" fmla="*/ 206316 w 272718"/>
                  <a:gd name="connsiteY1" fmla="*/ 366900 h 512689"/>
                  <a:gd name="connsiteX2" fmla="*/ 245650 w 272718"/>
                  <a:gd name="connsiteY2" fmla="*/ 290049 h 512689"/>
                  <a:gd name="connsiteX3" fmla="*/ 266804 w 272718"/>
                  <a:gd name="connsiteY3" fmla="*/ 106434 h 512689"/>
                  <a:gd name="connsiteX4" fmla="*/ 232924 w 272718"/>
                  <a:gd name="connsiteY4" fmla="*/ 22642 h 512689"/>
                  <a:gd name="connsiteX5" fmla="*/ 194581 w 272718"/>
                  <a:gd name="connsiteY5" fmla="*/ 4958 h 512689"/>
                  <a:gd name="connsiteX6" fmla="*/ 80214 w 272718"/>
                  <a:gd name="connsiteY6" fmla="*/ 3471 h 512689"/>
                  <a:gd name="connsiteX7" fmla="*/ 57407 w 272718"/>
                  <a:gd name="connsiteY7" fmla="*/ 0 h 512689"/>
                  <a:gd name="connsiteX8" fmla="*/ 52779 w 272718"/>
                  <a:gd name="connsiteY8" fmla="*/ 5619 h 512689"/>
                  <a:gd name="connsiteX9" fmla="*/ 21874 w 272718"/>
                  <a:gd name="connsiteY9" fmla="*/ 59167 h 512689"/>
                  <a:gd name="connsiteX10" fmla="*/ 389 w 272718"/>
                  <a:gd name="connsiteY10" fmla="*/ 156180 h 512689"/>
                  <a:gd name="connsiteX11" fmla="*/ 60051 w 272718"/>
                  <a:gd name="connsiteY11" fmla="*/ 362603 h 512689"/>
                  <a:gd name="connsiteX12" fmla="*/ 125168 w 272718"/>
                  <a:gd name="connsiteY12" fmla="*/ 496967 h 512689"/>
                  <a:gd name="connsiteX13" fmla="*/ 132109 w 272718"/>
                  <a:gd name="connsiteY13" fmla="*/ 512668 h 512689"/>
                  <a:gd name="connsiteX14" fmla="*/ 144339 w 272718"/>
                  <a:gd name="connsiteY14" fmla="*/ 487217 h 512689"/>
                  <a:gd name="connsiteX15" fmla="*/ 144339 w 272718"/>
                  <a:gd name="connsiteY15" fmla="*/ 487217 h 512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2718" h="512689">
                    <a:moveTo>
                      <a:pt x="144009" y="487382"/>
                    </a:moveTo>
                    <a:cubicBezTo>
                      <a:pt x="152437" y="469037"/>
                      <a:pt x="171278" y="432512"/>
                      <a:pt x="206316" y="366900"/>
                    </a:cubicBezTo>
                    <a:cubicBezTo>
                      <a:pt x="223999" y="333680"/>
                      <a:pt x="241683" y="299139"/>
                      <a:pt x="245650" y="290049"/>
                    </a:cubicBezTo>
                    <a:cubicBezTo>
                      <a:pt x="272093" y="228569"/>
                      <a:pt x="279200" y="166592"/>
                      <a:pt x="266804" y="106434"/>
                    </a:cubicBezTo>
                    <a:cubicBezTo>
                      <a:pt x="260855" y="77512"/>
                      <a:pt x="250773" y="52721"/>
                      <a:pt x="232924" y="22642"/>
                    </a:cubicBezTo>
                    <a:cubicBezTo>
                      <a:pt x="219868" y="496"/>
                      <a:pt x="222181" y="1653"/>
                      <a:pt x="194581" y="4958"/>
                    </a:cubicBezTo>
                    <a:cubicBezTo>
                      <a:pt x="164337" y="8594"/>
                      <a:pt x="110294" y="7933"/>
                      <a:pt x="80214" y="3471"/>
                    </a:cubicBezTo>
                    <a:lnTo>
                      <a:pt x="57407" y="0"/>
                    </a:lnTo>
                    <a:lnTo>
                      <a:pt x="52779" y="5619"/>
                    </a:lnTo>
                    <a:cubicBezTo>
                      <a:pt x="46003" y="13883"/>
                      <a:pt x="29972" y="41648"/>
                      <a:pt x="21874" y="59167"/>
                    </a:cubicBezTo>
                    <a:cubicBezTo>
                      <a:pt x="8983" y="87097"/>
                      <a:pt x="2042" y="118168"/>
                      <a:pt x="389" y="156180"/>
                    </a:cubicBezTo>
                    <a:cubicBezTo>
                      <a:pt x="-2586" y="221793"/>
                      <a:pt x="10966" y="268729"/>
                      <a:pt x="60051" y="362603"/>
                    </a:cubicBezTo>
                    <a:cubicBezTo>
                      <a:pt x="83685" y="407887"/>
                      <a:pt x="112773" y="468045"/>
                      <a:pt x="125168" y="496967"/>
                    </a:cubicBezTo>
                    <a:cubicBezTo>
                      <a:pt x="128804" y="505396"/>
                      <a:pt x="131778" y="512503"/>
                      <a:pt x="132109" y="512668"/>
                    </a:cubicBezTo>
                    <a:cubicBezTo>
                      <a:pt x="132440" y="512999"/>
                      <a:pt x="134092" y="509693"/>
                      <a:pt x="144339" y="487217"/>
                    </a:cubicBezTo>
                    <a:lnTo>
                      <a:pt x="144339" y="487217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AD00AF0-F317-4FA3-98C3-EDEFE19323A7}"/>
                  </a:ext>
                </a:extLst>
              </p:cNvPr>
              <p:cNvSpPr/>
              <p:nvPr/>
            </p:nvSpPr>
            <p:spPr>
              <a:xfrm>
                <a:off x="9408026" y="2413541"/>
                <a:ext cx="117288" cy="339581"/>
              </a:xfrm>
              <a:custGeom>
                <a:avLst/>
                <a:gdLst>
                  <a:gd name="connsiteX0" fmla="*/ 40032 w 117288"/>
                  <a:gd name="connsiteY0" fmla="*/ 336981 h 339581"/>
                  <a:gd name="connsiteX1" fmla="*/ 532 w 117288"/>
                  <a:gd name="connsiteY1" fmla="*/ 316653 h 339581"/>
                  <a:gd name="connsiteX2" fmla="*/ 6647 w 117288"/>
                  <a:gd name="connsiteY2" fmla="*/ 285252 h 339581"/>
                  <a:gd name="connsiteX3" fmla="*/ 47965 w 117288"/>
                  <a:gd name="connsiteY3" fmla="*/ 118494 h 339581"/>
                  <a:gd name="connsiteX4" fmla="*/ 66971 w 117288"/>
                  <a:gd name="connsiteY4" fmla="*/ 21480 h 339581"/>
                  <a:gd name="connsiteX5" fmla="*/ 114238 w 117288"/>
                  <a:gd name="connsiteY5" fmla="*/ 13547 h 339581"/>
                  <a:gd name="connsiteX6" fmla="*/ 113246 w 117288"/>
                  <a:gd name="connsiteY6" fmla="*/ 71557 h 339581"/>
                  <a:gd name="connsiteX7" fmla="*/ 66144 w 117288"/>
                  <a:gd name="connsiteY7" fmla="*/ 287896 h 339581"/>
                  <a:gd name="connsiteX8" fmla="*/ 40197 w 117288"/>
                  <a:gd name="connsiteY8" fmla="*/ 337147 h 33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288" h="339581">
                    <a:moveTo>
                      <a:pt x="40032" y="336981"/>
                    </a:moveTo>
                    <a:cubicBezTo>
                      <a:pt x="23009" y="344584"/>
                      <a:pt x="4168" y="334833"/>
                      <a:pt x="532" y="316653"/>
                    </a:cubicBezTo>
                    <a:cubicBezTo>
                      <a:pt x="-790" y="309877"/>
                      <a:pt x="36" y="305580"/>
                      <a:pt x="6647" y="285252"/>
                    </a:cubicBezTo>
                    <a:cubicBezTo>
                      <a:pt x="23339" y="233357"/>
                      <a:pt x="37387" y="176173"/>
                      <a:pt x="47965" y="118494"/>
                    </a:cubicBezTo>
                    <a:cubicBezTo>
                      <a:pt x="52096" y="95522"/>
                      <a:pt x="55567" y="77672"/>
                      <a:pt x="66971" y="21480"/>
                    </a:cubicBezTo>
                    <a:cubicBezTo>
                      <a:pt x="71929" y="-2814"/>
                      <a:pt x="102669" y="-7938"/>
                      <a:pt x="114238" y="13547"/>
                    </a:cubicBezTo>
                    <a:cubicBezTo>
                      <a:pt x="118535" y="21480"/>
                      <a:pt x="118370" y="34041"/>
                      <a:pt x="113246" y="71557"/>
                    </a:cubicBezTo>
                    <a:cubicBezTo>
                      <a:pt x="103000" y="147251"/>
                      <a:pt x="87299" y="219144"/>
                      <a:pt x="66144" y="287896"/>
                    </a:cubicBezTo>
                    <a:cubicBezTo>
                      <a:pt x="54741" y="324751"/>
                      <a:pt x="50774" y="332519"/>
                      <a:pt x="40197" y="33714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ABA45AFC-364B-3D7D-B5E2-63488861F2AF}"/>
                  </a:ext>
                </a:extLst>
              </p:cNvPr>
              <p:cNvSpPr/>
              <p:nvPr/>
            </p:nvSpPr>
            <p:spPr>
              <a:xfrm>
                <a:off x="9285294" y="2599115"/>
                <a:ext cx="86070" cy="200458"/>
              </a:xfrm>
              <a:custGeom>
                <a:avLst/>
                <a:gdLst>
                  <a:gd name="connsiteX0" fmla="*/ 37158 w 86070"/>
                  <a:gd name="connsiteY0" fmla="*/ 198840 h 200458"/>
                  <a:gd name="connsiteX1" fmla="*/ 13690 w 86070"/>
                  <a:gd name="connsiteY1" fmla="*/ 196195 h 200458"/>
                  <a:gd name="connsiteX2" fmla="*/ 1459 w 86070"/>
                  <a:gd name="connsiteY2" fmla="*/ 162150 h 200458"/>
                  <a:gd name="connsiteX3" fmla="*/ 23275 w 86070"/>
                  <a:gd name="connsiteY3" fmla="*/ 79184 h 200458"/>
                  <a:gd name="connsiteX4" fmla="*/ 31208 w 86070"/>
                  <a:gd name="connsiteY4" fmla="*/ 43320 h 200458"/>
                  <a:gd name="connsiteX5" fmla="*/ 44265 w 86070"/>
                  <a:gd name="connsiteY5" fmla="*/ 6961 h 200458"/>
                  <a:gd name="connsiteX6" fmla="*/ 83103 w 86070"/>
                  <a:gd name="connsiteY6" fmla="*/ 12911 h 200458"/>
                  <a:gd name="connsiteX7" fmla="*/ 65419 w 86070"/>
                  <a:gd name="connsiteY7" fmla="*/ 145457 h 200458"/>
                  <a:gd name="connsiteX8" fmla="*/ 55833 w 86070"/>
                  <a:gd name="connsiteY8" fmla="*/ 179999 h 200458"/>
                  <a:gd name="connsiteX9" fmla="*/ 37323 w 86070"/>
                  <a:gd name="connsiteY9" fmla="*/ 199170 h 200458"/>
                  <a:gd name="connsiteX10" fmla="*/ 37323 w 86070"/>
                  <a:gd name="connsiteY10" fmla="*/ 199170 h 20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6070" h="200458">
                    <a:moveTo>
                      <a:pt x="37158" y="198840"/>
                    </a:moveTo>
                    <a:cubicBezTo>
                      <a:pt x="28399" y="201649"/>
                      <a:pt x="21292" y="200823"/>
                      <a:pt x="13690" y="196195"/>
                    </a:cubicBezTo>
                    <a:cubicBezTo>
                      <a:pt x="1625" y="188593"/>
                      <a:pt x="-2507" y="177189"/>
                      <a:pt x="1459" y="162150"/>
                    </a:cubicBezTo>
                    <a:cubicBezTo>
                      <a:pt x="6418" y="143639"/>
                      <a:pt x="19143" y="94885"/>
                      <a:pt x="23275" y="79184"/>
                    </a:cubicBezTo>
                    <a:cubicBezTo>
                      <a:pt x="25424" y="70755"/>
                      <a:pt x="29060" y="54559"/>
                      <a:pt x="31208" y="43320"/>
                    </a:cubicBezTo>
                    <a:cubicBezTo>
                      <a:pt x="36331" y="16712"/>
                      <a:pt x="37488" y="13241"/>
                      <a:pt x="44265" y="6961"/>
                    </a:cubicBezTo>
                    <a:cubicBezTo>
                      <a:pt x="56164" y="-4277"/>
                      <a:pt x="73683" y="-1633"/>
                      <a:pt x="83103" y="12911"/>
                    </a:cubicBezTo>
                    <a:cubicBezTo>
                      <a:pt x="90540" y="24479"/>
                      <a:pt x="83764" y="76209"/>
                      <a:pt x="65419" y="145457"/>
                    </a:cubicBezTo>
                    <a:cubicBezTo>
                      <a:pt x="61122" y="161489"/>
                      <a:pt x="56825" y="177024"/>
                      <a:pt x="55833" y="179999"/>
                    </a:cubicBezTo>
                    <a:cubicBezTo>
                      <a:pt x="52858" y="188427"/>
                      <a:pt x="44760" y="196691"/>
                      <a:pt x="37323" y="199170"/>
                    </a:cubicBezTo>
                    <a:lnTo>
                      <a:pt x="37323" y="199170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F895BE0-42FC-3C20-6917-38DC563073AF}"/>
                  </a:ext>
                </a:extLst>
              </p:cNvPr>
              <p:cNvSpPr/>
              <p:nvPr/>
            </p:nvSpPr>
            <p:spPr>
              <a:xfrm>
                <a:off x="9186914" y="2744573"/>
                <a:ext cx="57415" cy="71418"/>
              </a:xfrm>
              <a:custGeom>
                <a:avLst/>
                <a:gdLst>
                  <a:gd name="connsiteX0" fmla="*/ 36707 w 57415"/>
                  <a:gd name="connsiteY0" fmla="*/ 69082 h 71418"/>
                  <a:gd name="connsiteX1" fmla="*/ 17 w 57415"/>
                  <a:gd name="connsiteY1" fmla="*/ 43796 h 71418"/>
                  <a:gd name="connsiteX2" fmla="*/ 14561 w 57415"/>
                  <a:gd name="connsiteY2" fmla="*/ 5784 h 71418"/>
                  <a:gd name="connsiteX3" fmla="*/ 50259 w 57415"/>
                  <a:gd name="connsiteY3" fmla="*/ 8098 h 71418"/>
                  <a:gd name="connsiteX4" fmla="*/ 53564 w 57415"/>
                  <a:gd name="connsiteY4" fmla="*/ 46606 h 71418"/>
                  <a:gd name="connsiteX5" fmla="*/ 36872 w 57415"/>
                  <a:gd name="connsiteY5" fmla="*/ 69082 h 7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415" h="71418">
                    <a:moveTo>
                      <a:pt x="36707" y="69082"/>
                    </a:moveTo>
                    <a:cubicBezTo>
                      <a:pt x="18362" y="77016"/>
                      <a:pt x="-644" y="63794"/>
                      <a:pt x="17" y="43796"/>
                    </a:cubicBezTo>
                    <a:cubicBezTo>
                      <a:pt x="182" y="35533"/>
                      <a:pt x="9933" y="10081"/>
                      <a:pt x="14561" y="5784"/>
                    </a:cubicBezTo>
                    <a:cubicBezTo>
                      <a:pt x="23650" y="-2810"/>
                      <a:pt x="41004" y="-1653"/>
                      <a:pt x="50259" y="8098"/>
                    </a:cubicBezTo>
                    <a:cubicBezTo>
                      <a:pt x="58688" y="17022"/>
                      <a:pt x="59514" y="27765"/>
                      <a:pt x="53564" y="46606"/>
                    </a:cubicBezTo>
                    <a:cubicBezTo>
                      <a:pt x="49433" y="59331"/>
                      <a:pt x="44640" y="65777"/>
                      <a:pt x="36872" y="6908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3A589944-7BEB-9952-F04D-E22A1F34DD78}"/>
                  </a:ext>
                </a:extLst>
              </p:cNvPr>
              <p:cNvSpPr/>
              <p:nvPr/>
            </p:nvSpPr>
            <p:spPr>
              <a:xfrm>
                <a:off x="9041702" y="2742651"/>
                <a:ext cx="56769" cy="71811"/>
              </a:xfrm>
              <a:custGeom>
                <a:avLst/>
                <a:gdLst>
                  <a:gd name="connsiteX0" fmla="*/ 39125 w 56769"/>
                  <a:gd name="connsiteY0" fmla="*/ 70509 h 71811"/>
                  <a:gd name="connsiteX1" fmla="*/ 12682 w 56769"/>
                  <a:gd name="connsiteY1" fmla="*/ 63732 h 71811"/>
                  <a:gd name="connsiteX2" fmla="*/ 1113 w 56769"/>
                  <a:gd name="connsiteY2" fmla="*/ 17953 h 71811"/>
                  <a:gd name="connsiteX3" fmla="*/ 19458 w 56769"/>
                  <a:gd name="connsiteY3" fmla="*/ 930 h 71811"/>
                  <a:gd name="connsiteX4" fmla="*/ 43422 w 56769"/>
                  <a:gd name="connsiteY4" fmla="*/ 6880 h 71811"/>
                  <a:gd name="connsiteX5" fmla="*/ 56479 w 56769"/>
                  <a:gd name="connsiteY5" fmla="*/ 51337 h 71811"/>
                  <a:gd name="connsiteX6" fmla="*/ 38960 w 56769"/>
                  <a:gd name="connsiteY6" fmla="*/ 70509 h 71811"/>
                  <a:gd name="connsiteX7" fmla="*/ 38960 w 56769"/>
                  <a:gd name="connsiteY7" fmla="*/ 70509 h 71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769" h="71811">
                    <a:moveTo>
                      <a:pt x="39125" y="70509"/>
                    </a:moveTo>
                    <a:cubicBezTo>
                      <a:pt x="29705" y="73649"/>
                      <a:pt x="19623" y="71004"/>
                      <a:pt x="12682" y="63732"/>
                    </a:cubicBezTo>
                    <a:cubicBezTo>
                      <a:pt x="3758" y="54312"/>
                      <a:pt x="-2688" y="28860"/>
                      <a:pt x="1113" y="17953"/>
                    </a:cubicBezTo>
                    <a:cubicBezTo>
                      <a:pt x="3262" y="11838"/>
                      <a:pt x="12682" y="3078"/>
                      <a:pt x="19458" y="930"/>
                    </a:cubicBezTo>
                    <a:cubicBezTo>
                      <a:pt x="27061" y="-1549"/>
                      <a:pt x="37968" y="1095"/>
                      <a:pt x="43422" y="6880"/>
                    </a:cubicBezTo>
                    <a:cubicBezTo>
                      <a:pt x="49868" y="13656"/>
                      <a:pt x="58462" y="42743"/>
                      <a:pt x="56479" y="51337"/>
                    </a:cubicBezTo>
                    <a:cubicBezTo>
                      <a:pt x="54495" y="59931"/>
                      <a:pt x="47554" y="67699"/>
                      <a:pt x="38960" y="70509"/>
                    </a:cubicBezTo>
                    <a:lnTo>
                      <a:pt x="38960" y="70509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8F2E0452-8B27-3080-D812-9BD26B5A5FB3}"/>
                  </a:ext>
                </a:extLst>
              </p:cNvPr>
              <p:cNvSpPr/>
              <p:nvPr/>
            </p:nvSpPr>
            <p:spPr>
              <a:xfrm>
                <a:off x="8918030" y="2593921"/>
                <a:ext cx="82836" cy="201113"/>
              </a:xfrm>
              <a:custGeom>
                <a:avLst/>
                <a:gdLst>
                  <a:gd name="connsiteX0" fmla="*/ 64130 w 82836"/>
                  <a:gd name="connsiteY0" fmla="*/ 200232 h 201113"/>
                  <a:gd name="connsiteX1" fmla="*/ 44794 w 82836"/>
                  <a:gd name="connsiteY1" fmla="*/ 199736 h 201113"/>
                  <a:gd name="connsiteX2" fmla="*/ 26779 w 82836"/>
                  <a:gd name="connsiteY2" fmla="*/ 179243 h 201113"/>
                  <a:gd name="connsiteX3" fmla="*/ 7112 w 82836"/>
                  <a:gd name="connsiteY3" fmla="*/ 94624 h 201113"/>
                  <a:gd name="connsiteX4" fmla="*/ 5 w 82836"/>
                  <a:gd name="connsiteY4" fmla="*/ 28681 h 201113"/>
                  <a:gd name="connsiteX5" fmla="*/ 38844 w 82836"/>
                  <a:gd name="connsiteY5" fmla="*/ 3891 h 201113"/>
                  <a:gd name="connsiteX6" fmla="*/ 53718 w 82836"/>
                  <a:gd name="connsiteY6" fmla="*/ 38598 h 201113"/>
                  <a:gd name="connsiteX7" fmla="*/ 69254 w 82836"/>
                  <a:gd name="connsiteY7" fmla="*/ 110490 h 201113"/>
                  <a:gd name="connsiteX8" fmla="*/ 81649 w 82836"/>
                  <a:gd name="connsiteY8" fmla="*/ 182383 h 201113"/>
                  <a:gd name="connsiteX9" fmla="*/ 64296 w 82836"/>
                  <a:gd name="connsiteY9" fmla="*/ 200067 h 201113"/>
                  <a:gd name="connsiteX10" fmla="*/ 64296 w 82836"/>
                  <a:gd name="connsiteY10" fmla="*/ 200067 h 20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2836" h="201113">
                    <a:moveTo>
                      <a:pt x="64130" y="200232"/>
                    </a:moveTo>
                    <a:cubicBezTo>
                      <a:pt x="58842" y="201554"/>
                      <a:pt x="49586" y="201389"/>
                      <a:pt x="44794" y="199736"/>
                    </a:cubicBezTo>
                    <a:cubicBezTo>
                      <a:pt x="38183" y="197423"/>
                      <a:pt x="29258" y="187341"/>
                      <a:pt x="26779" y="179243"/>
                    </a:cubicBezTo>
                    <a:cubicBezTo>
                      <a:pt x="22978" y="166682"/>
                      <a:pt x="9426" y="108176"/>
                      <a:pt x="7112" y="94624"/>
                    </a:cubicBezTo>
                    <a:cubicBezTo>
                      <a:pt x="3476" y="73470"/>
                      <a:pt x="-160" y="39424"/>
                      <a:pt x="5" y="28681"/>
                    </a:cubicBezTo>
                    <a:cubicBezTo>
                      <a:pt x="336" y="6205"/>
                      <a:pt x="20995" y="-7017"/>
                      <a:pt x="38844" y="3891"/>
                    </a:cubicBezTo>
                    <a:cubicBezTo>
                      <a:pt x="47108" y="9014"/>
                      <a:pt x="49917" y="15625"/>
                      <a:pt x="53718" y="38598"/>
                    </a:cubicBezTo>
                    <a:cubicBezTo>
                      <a:pt x="55536" y="49671"/>
                      <a:pt x="62478" y="82064"/>
                      <a:pt x="69254" y="110490"/>
                    </a:cubicBezTo>
                    <a:cubicBezTo>
                      <a:pt x="83467" y="169988"/>
                      <a:pt x="84293" y="174946"/>
                      <a:pt x="81649" y="182383"/>
                    </a:cubicBezTo>
                    <a:cubicBezTo>
                      <a:pt x="79335" y="188663"/>
                      <a:pt x="69419" y="198745"/>
                      <a:pt x="64296" y="200067"/>
                    </a:cubicBezTo>
                    <a:lnTo>
                      <a:pt x="64296" y="200067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0D5B5113-FF41-757A-4BA3-57E348683BA3}"/>
                  </a:ext>
                </a:extLst>
              </p:cNvPr>
              <p:cNvSpPr/>
              <p:nvPr/>
            </p:nvSpPr>
            <p:spPr>
              <a:xfrm>
                <a:off x="8768968" y="2405202"/>
                <a:ext cx="111073" cy="340976"/>
              </a:xfrm>
              <a:custGeom>
                <a:avLst/>
                <a:gdLst>
                  <a:gd name="connsiteX0" fmla="*/ 91553 w 111073"/>
                  <a:gd name="connsiteY0" fmla="*/ 339701 h 340976"/>
                  <a:gd name="connsiteX1" fmla="*/ 70895 w 111073"/>
                  <a:gd name="connsiteY1" fmla="*/ 338710 h 340976"/>
                  <a:gd name="connsiteX2" fmla="*/ 61309 w 111073"/>
                  <a:gd name="connsiteY2" fmla="*/ 330777 h 340976"/>
                  <a:gd name="connsiteX3" fmla="*/ 47757 w 111073"/>
                  <a:gd name="connsiteY3" fmla="*/ 297723 h 340976"/>
                  <a:gd name="connsiteX4" fmla="*/ 3795 w 111073"/>
                  <a:gd name="connsiteY4" fmla="*/ 78905 h 340976"/>
                  <a:gd name="connsiteX5" fmla="*/ 2803 w 111073"/>
                  <a:gd name="connsiteY5" fmla="*/ 14119 h 340976"/>
                  <a:gd name="connsiteX6" fmla="*/ 43790 w 111073"/>
                  <a:gd name="connsiteY6" fmla="*/ 8004 h 340976"/>
                  <a:gd name="connsiteX7" fmla="*/ 65606 w 111073"/>
                  <a:gd name="connsiteY7" fmla="*/ 109645 h 340976"/>
                  <a:gd name="connsiteX8" fmla="*/ 73208 w 111073"/>
                  <a:gd name="connsiteY8" fmla="*/ 154433 h 340976"/>
                  <a:gd name="connsiteX9" fmla="*/ 100974 w 111073"/>
                  <a:gd name="connsiteY9" fmla="*/ 274089 h 340976"/>
                  <a:gd name="connsiteX10" fmla="*/ 111055 w 111073"/>
                  <a:gd name="connsiteY10" fmla="*/ 312597 h 340976"/>
                  <a:gd name="connsiteX11" fmla="*/ 91884 w 111073"/>
                  <a:gd name="connsiteY11" fmla="*/ 339701 h 340976"/>
                  <a:gd name="connsiteX12" fmla="*/ 91884 w 111073"/>
                  <a:gd name="connsiteY12" fmla="*/ 339701 h 340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73" h="340976">
                    <a:moveTo>
                      <a:pt x="91553" y="339701"/>
                    </a:moveTo>
                    <a:cubicBezTo>
                      <a:pt x="85769" y="341685"/>
                      <a:pt x="76349" y="341354"/>
                      <a:pt x="70895" y="338710"/>
                    </a:cubicBezTo>
                    <a:cubicBezTo>
                      <a:pt x="68581" y="337718"/>
                      <a:pt x="64284" y="334082"/>
                      <a:pt x="61309" y="330777"/>
                    </a:cubicBezTo>
                    <a:cubicBezTo>
                      <a:pt x="56351" y="325488"/>
                      <a:pt x="54863" y="321852"/>
                      <a:pt x="47757" y="297723"/>
                    </a:cubicBezTo>
                    <a:cubicBezTo>
                      <a:pt x="27759" y="229962"/>
                      <a:pt x="12224" y="152450"/>
                      <a:pt x="3795" y="78905"/>
                    </a:cubicBezTo>
                    <a:cubicBezTo>
                      <a:pt x="-998" y="37753"/>
                      <a:pt x="-1163" y="22548"/>
                      <a:pt x="2803" y="14119"/>
                    </a:cubicBezTo>
                    <a:cubicBezTo>
                      <a:pt x="10406" y="-1747"/>
                      <a:pt x="31560" y="-4887"/>
                      <a:pt x="43790" y="8004"/>
                    </a:cubicBezTo>
                    <a:cubicBezTo>
                      <a:pt x="49409" y="13954"/>
                      <a:pt x="50071" y="16929"/>
                      <a:pt x="65606" y="109645"/>
                    </a:cubicBezTo>
                    <a:cubicBezTo>
                      <a:pt x="67754" y="122040"/>
                      <a:pt x="71060" y="142203"/>
                      <a:pt x="73208" y="154433"/>
                    </a:cubicBezTo>
                    <a:cubicBezTo>
                      <a:pt x="78662" y="187157"/>
                      <a:pt x="89570" y="234424"/>
                      <a:pt x="100974" y="274089"/>
                    </a:cubicBezTo>
                    <a:cubicBezTo>
                      <a:pt x="106428" y="293260"/>
                      <a:pt x="110890" y="310614"/>
                      <a:pt x="111055" y="312597"/>
                    </a:cubicBezTo>
                    <a:cubicBezTo>
                      <a:pt x="111551" y="322678"/>
                      <a:pt x="102131" y="336065"/>
                      <a:pt x="91884" y="339701"/>
                    </a:cubicBezTo>
                    <a:lnTo>
                      <a:pt x="91884" y="339701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6ED023CF-2CB2-CCB3-58AD-2208C4986E63}"/>
                  </a:ext>
                </a:extLst>
              </p:cNvPr>
              <p:cNvSpPr/>
              <p:nvPr/>
            </p:nvSpPr>
            <p:spPr>
              <a:xfrm>
                <a:off x="8811061" y="987682"/>
                <a:ext cx="704465" cy="104527"/>
              </a:xfrm>
              <a:custGeom>
                <a:avLst/>
                <a:gdLst>
                  <a:gd name="connsiteX0" fmla="*/ 700626 w 704465"/>
                  <a:gd name="connsiteY0" fmla="*/ 92123 h 104527"/>
                  <a:gd name="connsiteX1" fmla="*/ 689552 w 704465"/>
                  <a:gd name="connsiteY1" fmla="*/ 60887 h 104527"/>
                  <a:gd name="connsiteX2" fmla="*/ 682611 w 704465"/>
                  <a:gd name="connsiteY2" fmla="*/ 41715 h 104527"/>
                  <a:gd name="connsiteX3" fmla="*/ 675505 w 704465"/>
                  <a:gd name="connsiteY3" fmla="*/ 39567 h 104527"/>
                  <a:gd name="connsiteX4" fmla="*/ 639641 w 704465"/>
                  <a:gd name="connsiteY4" fmla="*/ 31964 h 104527"/>
                  <a:gd name="connsiteX5" fmla="*/ 582788 w 704465"/>
                  <a:gd name="connsiteY5" fmla="*/ 20891 h 104527"/>
                  <a:gd name="connsiteX6" fmla="*/ 313728 w 704465"/>
                  <a:gd name="connsiteY6" fmla="*/ 67 h 104527"/>
                  <a:gd name="connsiteX7" fmla="*/ 91274 w 704465"/>
                  <a:gd name="connsiteY7" fmla="*/ 20891 h 104527"/>
                  <a:gd name="connsiteX8" fmla="*/ 22852 w 704465"/>
                  <a:gd name="connsiteY8" fmla="*/ 35105 h 104527"/>
                  <a:gd name="connsiteX9" fmla="*/ 45 w 704465"/>
                  <a:gd name="connsiteY9" fmla="*/ 95593 h 104527"/>
                  <a:gd name="connsiteX10" fmla="*/ 11779 w 704465"/>
                  <a:gd name="connsiteY10" fmla="*/ 93114 h 104527"/>
                  <a:gd name="connsiteX11" fmla="*/ 141021 w 704465"/>
                  <a:gd name="connsiteY11" fmla="*/ 67828 h 104527"/>
                  <a:gd name="connsiteX12" fmla="*/ 516515 w 704465"/>
                  <a:gd name="connsiteY12" fmla="*/ 65845 h 104527"/>
                  <a:gd name="connsiteX13" fmla="*/ 688726 w 704465"/>
                  <a:gd name="connsiteY13" fmla="*/ 100056 h 104527"/>
                  <a:gd name="connsiteX14" fmla="*/ 704427 w 704465"/>
                  <a:gd name="connsiteY14" fmla="*/ 104518 h 104527"/>
                  <a:gd name="connsiteX15" fmla="*/ 700626 w 704465"/>
                  <a:gd name="connsiteY15" fmla="*/ 91958 h 104527"/>
                  <a:gd name="connsiteX16" fmla="*/ 700626 w 704465"/>
                  <a:gd name="connsiteY16" fmla="*/ 91958 h 10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04465" h="104527">
                    <a:moveTo>
                      <a:pt x="700626" y="92123"/>
                    </a:moveTo>
                    <a:cubicBezTo>
                      <a:pt x="698312" y="85512"/>
                      <a:pt x="693354" y="71299"/>
                      <a:pt x="689552" y="60887"/>
                    </a:cubicBezTo>
                    <a:lnTo>
                      <a:pt x="682611" y="41715"/>
                    </a:lnTo>
                    <a:lnTo>
                      <a:pt x="675505" y="39567"/>
                    </a:lnTo>
                    <a:cubicBezTo>
                      <a:pt x="671538" y="38410"/>
                      <a:pt x="655342" y="34939"/>
                      <a:pt x="639641" y="31964"/>
                    </a:cubicBezTo>
                    <a:cubicBezTo>
                      <a:pt x="623775" y="28990"/>
                      <a:pt x="598323" y="23866"/>
                      <a:pt x="582788" y="20891"/>
                    </a:cubicBezTo>
                    <a:cubicBezTo>
                      <a:pt x="507921" y="6017"/>
                      <a:pt x="420658" y="-759"/>
                      <a:pt x="313728" y="67"/>
                    </a:cubicBezTo>
                    <a:cubicBezTo>
                      <a:pt x="227126" y="728"/>
                      <a:pt x="183991" y="4695"/>
                      <a:pt x="91274" y="20891"/>
                    </a:cubicBezTo>
                    <a:cubicBezTo>
                      <a:pt x="34421" y="30808"/>
                      <a:pt x="25662" y="32626"/>
                      <a:pt x="22852" y="35105"/>
                    </a:cubicBezTo>
                    <a:cubicBezTo>
                      <a:pt x="20373" y="37418"/>
                      <a:pt x="-1112" y="94437"/>
                      <a:pt x="45" y="95593"/>
                    </a:cubicBezTo>
                    <a:cubicBezTo>
                      <a:pt x="541" y="96089"/>
                      <a:pt x="5830" y="94932"/>
                      <a:pt x="11779" y="93114"/>
                    </a:cubicBezTo>
                    <a:cubicBezTo>
                      <a:pt x="34917" y="85843"/>
                      <a:pt x="92101" y="74769"/>
                      <a:pt x="141021" y="67828"/>
                    </a:cubicBezTo>
                    <a:cubicBezTo>
                      <a:pt x="257205" y="51466"/>
                      <a:pt x="391735" y="50805"/>
                      <a:pt x="516515" y="65845"/>
                    </a:cubicBezTo>
                    <a:cubicBezTo>
                      <a:pt x="566591" y="71795"/>
                      <a:pt x="654185" y="89313"/>
                      <a:pt x="688726" y="100056"/>
                    </a:cubicBezTo>
                    <a:cubicBezTo>
                      <a:pt x="697155" y="102700"/>
                      <a:pt x="704262" y="104683"/>
                      <a:pt x="704427" y="104518"/>
                    </a:cubicBezTo>
                    <a:cubicBezTo>
                      <a:pt x="704757" y="104188"/>
                      <a:pt x="702939" y="98734"/>
                      <a:pt x="700626" y="91958"/>
                    </a:cubicBezTo>
                    <a:lnTo>
                      <a:pt x="700626" y="91958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DD790236-F7EC-61F8-8B9D-598CD6D2339D}"/>
                  </a:ext>
                </a:extLst>
              </p:cNvPr>
              <p:cNvSpPr/>
              <p:nvPr/>
            </p:nvSpPr>
            <p:spPr>
              <a:xfrm>
                <a:off x="7596585" y="3884235"/>
                <a:ext cx="1225543" cy="903351"/>
              </a:xfrm>
              <a:custGeom>
                <a:avLst/>
                <a:gdLst>
                  <a:gd name="connsiteX0" fmla="*/ 988761 w 1225543"/>
                  <a:gd name="connsiteY0" fmla="*/ 494529 h 903351"/>
                  <a:gd name="connsiteX1" fmla="*/ 950915 w 1225543"/>
                  <a:gd name="connsiteY1" fmla="*/ 488580 h 903351"/>
                  <a:gd name="connsiteX2" fmla="*/ 911250 w 1225543"/>
                  <a:gd name="connsiteY2" fmla="*/ 473209 h 903351"/>
                  <a:gd name="connsiteX3" fmla="*/ 852579 w 1225543"/>
                  <a:gd name="connsiteY3" fmla="*/ 472053 h 903351"/>
                  <a:gd name="connsiteX4" fmla="*/ 777546 w 1225543"/>
                  <a:gd name="connsiteY4" fmla="*/ 527418 h 903351"/>
                  <a:gd name="connsiteX5" fmla="*/ 768291 w 1225543"/>
                  <a:gd name="connsiteY5" fmla="*/ 604930 h 903351"/>
                  <a:gd name="connsiteX6" fmla="*/ 771266 w 1225543"/>
                  <a:gd name="connsiteY6" fmla="*/ 637488 h 903351"/>
                  <a:gd name="connsiteX7" fmla="*/ 754904 w 1225543"/>
                  <a:gd name="connsiteY7" fmla="*/ 653354 h 903351"/>
                  <a:gd name="connsiteX8" fmla="*/ 718379 w 1225543"/>
                  <a:gd name="connsiteY8" fmla="*/ 638149 h 903351"/>
                  <a:gd name="connsiteX9" fmla="*/ 685160 w 1225543"/>
                  <a:gd name="connsiteY9" fmla="*/ 618647 h 903351"/>
                  <a:gd name="connsiteX10" fmla="*/ 650949 w 1225543"/>
                  <a:gd name="connsiteY10" fmla="*/ 630381 h 903351"/>
                  <a:gd name="connsiteX11" fmla="*/ 638389 w 1225543"/>
                  <a:gd name="connsiteY11" fmla="*/ 660295 h 903351"/>
                  <a:gd name="connsiteX12" fmla="*/ 628142 w 1225543"/>
                  <a:gd name="connsiteY12" fmla="*/ 686243 h 903351"/>
                  <a:gd name="connsiteX13" fmla="*/ 592774 w 1225543"/>
                  <a:gd name="connsiteY13" fmla="*/ 688391 h 903351"/>
                  <a:gd name="connsiteX14" fmla="*/ 580048 w 1225543"/>
                  <a:gd name="connsiteY14" fmla="*/ 672525 h 903351"/>
                  <a:gd name="connsiteX15" fmla="*/ 517907 w 1225543"/>
                  <a:gd name="connsiteY15" fmla="*/ 607078 h 903351"/>
                  <a:gd name="connsiteX16" fmla="*/ 247359 w 1225543"/>
                  <a:gd name="connsiteY16" fmla="*/ 574520 h 903351"/>
                  <a:gd name="connsiteX17" fmla="*/ 109193 w 1225543"/>
                  <a:gd name="connsiteY17" fmla="*/ 684755 h 903351"/>
                  <a:gd name="connsiteX18" fmla="*/ 54819 w 1225543"/>
                  <a:gd name="connsiteY18" fmla="*/ 861760 h 903351"/>
                  <a:gd name="connsiteX19" fmla="*/ 48539 w 1225543"/>
                  <a:gd name="connsiteY19" fmla="*/ 895144 h 903351"/>
                  <a:gd name="connsiteX20" fmla="*/ 5404 w 1225543"/>
                  <a:gd name="connsiteY20" fmla="*/ 889194 h 903351"/>
                  <a:gd name="connsiteX21" fmla="*/ 115 w 1225543"/>
                  <a:gd name="connsiteY21" fmla="*/ 849860 h 903351"/>
                  <a:gd name="connsiteX22" fmla="*/ 56307 w 1225543"/>
                  <a:gd name="connsiteY22" fmla="*/ 665253 h 903351"/>
                  <a:gd name="connsiteX23" fmla="*/ 313633 w 1225543"/>
                  <a:gd name="connsiteY23" fmla="*/ 501305 h 903351"/>
                  <a:gd name="connsiteX24" fmla="*/ 400069 w 1225543"/>
                  <a:gd name="connsiteY24" fmla="*/ 501801 h 903351"/>
                  <a:gd name="connsiteX25" fmla="*/ 585006 w 1225543"/>
                  <a:gd name="connsiteY25" fmla="*/ 592369 h 903351"/>
                  <a:gd name="connsiteX26" fmla="*/ 598724 w 1225543"/>
                  <a:gd name="connsiteY26" fmla="*/ 605426 h 903351"/>
                  <a:gd name="connsiteX27" fmla="*/ 609631 w 1225543"/>
                  <a:gd name="connsiteY27" fmla="*/ 594352 h 903351"/>
                  <a:gd name="connsiteX28" fmla="*/ 630456 w 1225543"/>
                  <a:gd name="connsiteY28" fmla="*/ 577164 h 903351"/>
                  <a:gd name="connsiteX29" fmla="*/ 698051 w 1225543"/>
                  <a:gd name="connsiteY29" fmla="*/ 564934 h 903351"/>
                  <a:gd name="connsiteX30" fmla="*/ 710612 w 1225543"/>
                  <a:gd name="connsiteY30" fmla="*/ 566422 h 903351"/>
                  <a:gd name="connsiteX31" fmla="*/ 711273 w 1225543"/>
                  <a:gd name="connsiteY31" fmla="*/ 561629 h 903351"/>
                  <a:gd name="connsiteX32" fmla="*/ 713917 w 1225543"/>
                  <a:gd name="connsiteY32" fmla="*/ 544441 h 903351"/>
                  <a:gd name="connsiteX33" fmla="*/ 884972 w 1225543"/>
                  <a:gd name="connsiteY33" fmla="*/ 415200 h 903351"/>
                  <a:gd name="connsiteX34" fmla="*/ 965458 w 1225543"/>
                  <a:gd name="connsiteY34" fmla="*/ 434536 h 903351"/>
                  <a:gd name="connsiteX35" fmla="*/ 971739 w 1225543"/>
                  <a:gd name="connsiteY35" fmla="*/ 433875 h 903351"/>
                  <a:gd name="connsiteX36" fmla="*/ 992397 w 1225543"/>
                  <a:gd name="connsiteY36" fmla="*/ 405779 h 903351"/>
                  <a:gd name="connsiteX37" fmla="*/ 1056522 w 1225543"/>
                  <a:gd name="connsiteY37" fmla="*/ 310253 h 903351"/>
                  <a:gd name="connsiteX38" fmla="*/ 1163452 w 1225543"/>
                  <a:gd name="connsiteY38" fmla="*/ 52266 h 903351"/>
                  <a:gd name="connsiteX39" fmla="*/ 1179814 w 1225543"/>
                  <a:gd name="connsiteY39" fmla="*/ 8965 h 903351"/>
                  <a:gd name="connsiteX40" fmla="*/ 1192705 w 1225543"/>
                  <a:gd name="connsiteY40" fmla="*/ 702 h 903351"/>
                  <a:gd name="connsiteX41" fmla="*/ 1225098 w 1225543"/>
                  <a:gd name="connsiteY41" fmla="*/ 33425 h 903351"/>
                  <a:gd name="connsiteX42" fmla="*/ 1203943 w 1225543"/>
                  <a:gd name="connsiteY42" fmla="*/ 109119 h 903351"/>
                  <a:gd name="connsiteX43" fmla="*/ 1061976 w 1225543"/>
                  <a:gd name="connsiteY43" fmla="*/ 410076 h 903351"/>
                  <a:gd name="connsiteX44" fmla="*/ 1008759 w 1225543"/>
                  <a:gd name="connsiteY44" fmla="*/ 479820 h 903351"/>
                  <a:gd name="connsiteX45" fmla="*/ 988761 w 1225543"/>
                  <a:gd name="connsiteY45" fmla="*/ 494860 h 903351"/>
                  <a:gd name="connsiteX46" fmla="*/ 988761 w 1225543"/>
                  <a:gd name="connsiteY46" fmla="*/ 494860 h 903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225543" h="903351">
                    <a:moveTo>
                      <a:pt x="988761" y="494529"/>
                    </a:moveTo>
                    <a:cubicBezTo>
                      <a:pt x="974714" y="498991"/>
                      <a:pt x="968433" y="498000"/>
                      <a:pt x="950915" y="488580"/>
                    </a:cubicBezTo>
                    <a:cubicBezTo>
                      <a:pt x="936536" y="480812"/>
                      <a:pt x="926455" y="476845"/>
                      <a:pt x="911250" y="473209"/>
                    </a:cubicBezTo>
                    <a:cubicBezTo>
                      <a:pt x="895384" y="469243"/>
                      <a:pt x="867784" y="468747"/>
                      <a:pt x="852579" y="472053"/>
                    </a:cubicBezTo>
                    <a:cubicBezTo>
                      <a:pt x="820847" y="478994"/>
                      <a:pt x="792090" y="500148"/>
                      <a:pt x="777546" y="527418"/>
                    </a:cubicBezTo>
                    <a:cubicBezTo>
                      <a:pt x="766142" y="548738"/>
                      <a:pt x="762341" y="580470"/>
                      <a:pt x="768291" y="604930"/>
                    </a:cubicBezTo>
                    <a:cubicBezTo>
                      <a:pt x="773414" y="626084"/>
                      <a:pt x="773745" y="630547"/>
                      <a:pt x="771266" y="637488"/>
                    </a:cubicBezTo>
                    <a:cubicBezTo>
                      <a:pt x="768291" y="645586"/>
                      <a:pt x="763168" y="650544"/>
                      <a:pt x="754904" y="653354"/>
                    </a:cubicBezTo>
                    <a:cubicBezTo>
                      <a:pt x="741683" y="657816"/>
                      <a:pt x="733088" y="654180"/>
                      <a:pt x="718379" y="638149"/>
                    </a:cubicBezTo>
                    <a:cubicBezTo>
                      <a:pt x="705488" y="623936"/>
                      <a:pt x="698216" y="619804"/>
                      <a:pt x="685160" y="618647"/>
                    </a:cubicBezTo>
                    <a:cubicBezTo>
                      <a:pt x="671112" y="617325"/>
                      <a:pt x="661031" y="620796"/>
                      <a:pt x="650949" y="630381"/>
                    </a:cubicBezTo>
                    <a:cubicBezTo>
                      <a:pt x="641198" y="639471"/>
                      <a:pt x="639215" y="644429"/>
                      <a:pt x="638389" y="660295"/>
                    </a:cubicBezTo>
                    <a:cubicBezTo>
                      <a:pt x="637728" y="673021"/>
                      <a:pt x="635083" y="679797"/>
                      <a:pt x="628142" y="686243"/>
                    </a:cubicBezTo>
                    <a:cubicBezTo>
                      <a:pt x="618556" y="695333"/>
                      <a:pt x="603517" y="696324"/>
                      <a:pt x="592774" y="688391"/>
                    </a:cubicBezTo>
                    <a:cubicBezTo>
                      <a:pt x="590130" y="686408"/>
                      <a:pt x="584676" y="679962"/>
                      <a:pt x="580048" y="672525"/>
                    </a:cubicBezTo>
                    <a:cubicBezTo>
                      <a:pt x="568479" y="654676"/>
                      <a:pt x="535095" y="619804"/>
                      <a:pt x="517907" y="607078"/>
                    </a:cubicBezTo>
                    <a:cubicBezTo>
                      <a:pt x="440064" y="550060"/>
                      <a:pt x="338919" y="537995"/>
                      <a:pt x="247359" y="574520"/>
                    </a:cubicBezTo>
                    <a:cubicBezTo>
                      <a:pt x="192324" y="596501"/>
                      <a:pt x="144065" y="635009"/>
                      <a:pt x="109193" y="684755"/>
                    </a:cubicBezTo>
                    <a:cubicBezTo>
                      <a:pt x="73825" y="734997"/>
                      <a:pt x="53828" y="800114"/>
                      <a:pt x="54819" y="861760"/>
                    </a:cubicBezTo>
                    <a:cubicBezTo>
                      <a:pt x="55150" y="883080"/>
                      <a:pt x="54324" y="887542"/>
                      <a:pt x="48539" y="895144"/>
                    </a:cubicBezTo>
                    <a:cubicBezTo>
                      <a:pt x="38458" y="908366"/>
                      <a:pt x="14824" y="905060"/>
                      <a:pt x="5404" y="889194"/>
                    </a:cubicBezTo>
                    <a:cubicBezTo>
                      <a:pt x="611" y="881261"/>
                      <a:pt x="-381" y="873163"/>
                      <a:pt x="115" y="849860"/>
                    </a:cubicBezTo>
                    <a:cubicBezTo>
                      <a:pt x="1602" y="784909"/>
                      <a:pt x="21104" y="720784"/>
                      <a:pt x="56307" y="665253"/>
                    </a:cubicBezTo>
                    <a:cubicBezTo>
                      <a:pt x="113325" y="575181"/>
                      <a:pt x="209016" y="514196"/>
                      <a:pt x="313633" y="501305"/>
                    </a:cubicBezTo>
                    <a:cubicBezTo>
                      <a:pt x="337431" y="498330"/>
                      <a:pt x="377262" y="498661"/>
                      <a:pt x="400069" y="501801"/>
                    </a:cubicBezTo>
                    <a:cubicBezTo>
                      <a:pt x="469813" y="511387"/>
                      <a:pt x="531128" y="541466"/>
                      <a:pt x="585006" y="592369"/>
                    </a:cubicBezTo>
                    <a:lnTo>
                      <a:pt x="598724" y="605426"/>
                    </a:lnTo>
                    <a:lnTo>
                      <a:pt x="609631" y="594352"/>
                    </a:lnTo>
                    <a:cubicBezTo>
                      <a:pt x="617234" y="586585"/>
                      <a:pt x="623514" y="581461"/>
                      <a:pt x="630456" y="577164"/>
                    </a:cubicBezTo>
                    <a:cubicBezTo>
                      <a:pt x="649957" y="565430"/>
                      <a:pt x="676070" y="560803"/>
                      <a:pt x="698051" y="564934"/>
                    </a:cubicBezTo>
                    <a:cubicBezTo>
                      <a:pt x="704497" y="566257"/>
                      <a:pt x="710281" y="566918"/>
                      <a:pt x="710612" y="566422"/>
                    </a:cubicBezTo>
                    <a:cubicBezTo>
                      <a:pt x="710942" y="565926"/>
                      <a:pt x="711438" y="563777"/>
                      <a:pt x="711273" y="561629"/>
                    </a:cubicBezTo>
                    <a:cubicBezTo>
                      <a:pt x="711273" y="559480"/>
                      <a:pt x="712430" y="551713"/>
                      <a:pt x="713917" y="544441"/>
                    </a:cubicBezTo>
                    <a:cubicBezTo>
                      <a:pt x="730279" y="465937"/>
                      <a:pt x="800684" y="412720"/>
                      <a:pt x="884972" y="415200"/>
                    </a:cubicBezTo>
                    <a:cubicBezTo>
                      <a:pt x="912241" y="416026"/>
                      <a:pt x="944469" y="423628"/>
                      <a:pt x="965458" y="434536"/>
                    </a:cubicBezTo>
                    <a:cubicBezTo>
                      <a:pt x="968929" y="436354"/>
                      <a:pt x="970086" y="436189"/>
                      <a:pt x="971739" y="433875"/>
                    </a:cubicBezTo>
                    <a:cubicBezTo>
                      <a:pt x="972896" y="432222"/>
                      <a:pt x="982151" y="419662"/>
                      <a:pt x="992397" y="405779"/>
                    </a:cubicBezTo>
                    <a:cubicBezTo>
                      <a:pt x="1012560" y="378675"/>
                      <a:pt x="1042309" y="334217"/>
                      <a:pt x="1056522" y="310253"/>
                    </a:cubicBezTo>
                    <a:cubicBezTo>
                      <a:pt x="1097014" y="241996"/>
                      <a:pt x="1138992" y="140851"/>
                      <a:pt x="1163452" y="52266"/>
                    </a:cubicBezTo>
                    <a:cubicBezTo>
                      <a:pt x="1173038" y="17725"/>
                      <a:pt x="1173864" y="15245"/>
                      <a:pt x="1179814" y="8965"/>
                    </a:cubicBezTo>
                    <a:cubicBezTo>
                      <a:pt x="1184772" y="3511"/>
                      <a:pt x="1187251" y="2024"/>
                      <a:pt x="1192705" y="702"/>
                    </a:cubicBezTo>
                    <a:cubicBezTo>
                      <a:pt x="1211215" y="-3761"/>
                      <a:pt x="1228569" y="13758"/>
                      <a:pt x="1225098" y="33425"/>
                    </a:cubicBezTo>
                    <a:cubicBezTo>
                      <a:pt x="1223445" y="42680"/>
                      <a:pt x="1211711" y="84824"/>
                      <a:pt x="1203943" y="109119"/>
                    </a:cubicBezTo>
                    <a:cubicBezTo>
                      <a:pt x="1171220" y="212413"/>
                      <a:pt x="1115028" y="331242"/>
                      <a:pt x="1061976" y="410076"/>
                    </a:cubicBezTo>
                    <a:cubicBezTo>
                      <a:pt x="1040326" y="442138"/>
                      <a:pt x="1021981" y="466433"/>
                      <a:pt x="1008759" y="479820"/>
                    </a:cubicBezTo>
                    <a:cubicBezTo>
                      <a:pt x="997521" y="491389"/>
                      <a:pt x="996033" y="492546"/>
                      <a:pt x="988761" y="494860"/>
                    </a:cubicBezTo>
                    <a:lnTo>
                      <a:pt x="988761" y="49486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E74C006A-521A-54C7-D324-360BD5D38C32}"/>
                  </a:ext>
                </a:extLst>
              </p:cNvPr>
              <p:cNvSpPr/>
              <p:nvPr/>
            </p:nvSpPr>
            <p:spPr>
              <a:xfrm>
                <a:off x="8818213" y="1211856"/>
                <a:ext cx="644553" cy="644553"/>
              </a:xfrm>
              <a:custGeom>
                <a:avLst/>
                <a:gdLst>
                  <a:gd name="connsiteX0" fmla="*/ 322277 w 644553"/>
                  <a:gd name="connsiteY0" fmla="*/ 0 h 644553"/>
                  <a:gd name="connsiteX1" fmla="*/ 322277 w 644553"/>
                  <a:gd name="connsiteY1" fmla="*/ 0 h 644553"/>
                  <a:gd name="connsiteX2" fmla="*/ 0 w 644553"/>
                  <a:gd name="connsiteY2" fmla="*/ 322277 h 644553"/>
                  <a:gd name="connsiteX3" fmla="*/ 322277 w 644553"/>
                  <a:gd name="connsiteY3" fmla="*/ 644554 h 644553"/>
                  <a:gd name="connsiteX4" fmla="*/ 322277 w 644553"/>
                  <a:gd name="connsiteY4" fmla="*/ 644554 h 644553"/>
                  <a:gd name="connsiteX5" fmla="*/ 644554 w 644553"/>
                  <a:gd name="connsiteY5" fmla="*/ 322277 h 644553"/>
                  <a:gd name="connsiteX6" fmla="*/ 322277 w 644553"/>
                  <a:gd name="connsiteY6" fmla="*/ 0 h 644553"/>
                  <a:gd name="connsiteX7" fmla="*/ 617945 w 644553"/>
                  <a:gd name="connsiteY7" fmla="*/ 322442 h 644553"/>
                  <a:gd name="connsiteX8" fmla="*/ 506057 w 644553"/>
                  <a:gd name="connsiteY8" fmla="*/ 345249 h 644553"/>
                  <a:gd name="connsiteX9" fmla="*/ 538120 w 644553"/>
                  <a:gd name="connsiteY9" fmla="*/ 302445 h 644553"/>
                  <a:gd name="connsiteX10" fmla="*/ 617945 w 644553"/>
                  <a:gd name="connsiteY10" fmla="*/ 322442 h 644553"/>
                  <a:gd name="connsiteX11" fmla="*/ 557126 w 644553"/>
                  <a:gd name="connsiteY11" fmla="*/ 272531 h 644553"/>
                  <a:gd name="connsiteX12" fmla="*/ 588693 w 644553"/>
                  <a:gd name="connsiteY12" fmla="*/ 193862 h 644553"/>
                  <a:gd name="connsiteX13" fmla="*/ 616293 w 644553"/>
                  <a:gd name="connsiteY13" fmla="*/ 289553 h 644553"/>
                  <a:gd name="connsiteX14" fmla="*/ 600923 w 644553"/>
                  <a:gd name="connsiteY14" fmla="*/ 285256 h 644553"/>
                  <a:gd name="connsiteX15" fmla="*/ 554151 w 644553"/>
                  <a:gd name="connsiteY15" fmla="*/ 277654 h 644553"/>
                  <a:gd name="connsiteX16" fmla="*/ 557126 w 644553"/>
                  <a:gd name="connsiteY16" fmla="*/ 272696 h 644553"/>
                  <a:gd name="connsiteX17" fmla="*/ 548036 w 644553"/>
                  <a:gd name="connsiteY17" fmla="*/ 131720 h 644553"/>
                  <a:gd name="connsiteX18" fmla="*/ 549193 w 644553"/>
                  <a:gd name="connsiteY18" fmla="*/ 133043 h 644553"/>
                  <a:gd name="connsiteX19" fmla="*/ 502752 w 644553"/>
                  <a:gd name="connsiteY19" fmla="*/ 261623 h 644553"/>
                  <a:gd name="connsiteX20" fmla="*/ 471681 w 644553"/>
                  <a:gd name="connsiteY20" fmla="*/ 133043 h 644553"/>
                  <a:gd name="connsiteX21" fmla="*/ 548036 w 644553"/>
                  <a:gd name="connsiteY21" fmla="*/ 131886 h 644553"/>
                  <a:gd name="connsiteX22" fmla="*/ 322277 w 644553"/>
                  <a:gd name="connsiteY22" fmla="*/ 351530 h 644553"/>
                  <a:gd name="connsiteX23" fmla="*/ 168576 w 644553"/>
                  <a:gd name="connsiteY23" fmla="*/ 347233 h 644553"/>
                  <a:gd name="connsiteX24" fmla="*/ 215843 w 644553"/>
                  <a:gd name="connsiteY24" fmla="*/ 295007 h 644553"/>
                  <a:gd name="connsiteX25" fmla="*/ 322277 w 644553"/>
                  <a:gd name="connsiteY25" fmla="*/ 293024 h 644553"/>
                  <a:gd name="connsiteX26" fmla="*/ 475978 w 644553"/>
                  <a:gd name="connsiteY26" fmla="*/ 297321 h 644553"/>
                  <a:gd name="connsiteX27" fmla="*/ 428711 w 644553"/>
                  <a:gd name="connsiteY27" fmla="*/ 349547 h 644553"/>
                  <a:gd name="connsiteX28" fmla="*/ 322277 w 644553"/>
                  <a:gd name="connsiteY28" fmla="*/ 351530 h 644553"/>
                  <a:gd name="connsiteX29" fmla="*/ 399954 w 644553"/>
                  <a:gd name="connsiteY29" fmla="*/ 377147 h 644553"/>
                  <a:gd name="connsiteX30" fmla="*/ 381774 w 644553"/>
                  <a:gd name="connsiteY30" fmla="*/ 393178 h 644553"/>
                  <a:gd name="connsiteX31" fmla="*/ 261292 w 644553"/>
                  <a:gd name="connsiteY31" fmla="*/ 474987 h 644553"/>
                  <a:gd name="connsiteX32" fmla="*/ 198159 w 644553"/>
                  <a:gd name="connsiteY32" fmla="*/ 503248 h 644553"/>
                  <a:gd name="connsiteX33" fmla="*/ 167749 w 644553"/>
                  <a:gd name="connsiteY33" fmla="*/ 374007 h 644553"/>
                  <a:gd name="connsiteX34" fmla="*/ 322442 w 644553"/>
                  <a:gd name="connsiteY34" fmla="*/ 378304 h 644553"/>
                  <a:gd name="connsiteX35" fmla="*/ 400119 w 644553"/>
                  <a:gd name="connsiteY35" fmla="*/ 377312 h 644553"/>
                  <a:gd name="connsiteX36" fmla="*/ 322277 w 644553"/>
                  <a:gd name="connsiteY36" fmla="*/ 266581 h 644553"/>
                  <a:gd name="connsiteX37" fmla="*/ 244600 w 644553"/>
                  <a:gd name="connsiteY37" fmla="*/ 267573 h 644553"/>
                  <a:gd name="connsiteX38" fmla="*/ 262780 w 644553"/>
                  <a:gd name="connsiteY38" fmla="*/ 251541 h 644553"/>
                  <a:gd name="connsiteX39" fmla="*/ 383262 w 644553"/>
                  <a:gd name="connsiteY39" fmla="*/ 169733 h 644553"/>
                  <a:gd name="connsiteX40" fmla="*/ 446395 w 644553"/>
                  <a:gd name="connsiteY40" fmla="*/ 141471 h 644553"/>
                  <a:gd name="connsiteX41" fmla="*/ 476804 w 644553"/>
                  <a:gd name="connsiteY41" fmla="*/ 270713 h 644553"/>
                  <a:gd name="connsiteX42" fmla="*/ 322112 w 644553"/>
                  <a:gd name="connsiteY42" fmla="*/ 266416 h 644553"/>
                  <a:gd name="connsiteX43" fmla="*/ 494819 w 644553"/>
                  <a:gd name="connsiteY43" fmla="*/ 82305 h 644553"/>
                  <a:gd name="connsiteX44" fmla="*/ 449535 w 644553"/>
                  <a:gd name="connsiteY44" fmla="*/ 88089 h 644553"/>
                  <a:gd name="connsiteX45" fmla="*/ 413010 w 644553"/>
                  <a:gd name="connsiteY45" fmla="*/ 40822 h 644553"/>
                  <a:gd name="connsiteX46" fmla="*/ 494819 w 644553"/>
                  <a:gd name="connsiteY46" fmla="*/ 82305 h 644553"/>
                  <a:gd name="connsiteX47" fmla="*/ 322277 w 644553"/>
                  <a:gd name="connsiteY47" fmla="*/ 26608 h 644553"/>
                  <a:gd name="connsiteX48" fmla="*/ 322277 w 644553"/>
                  <a:gd name="connsiteY48" fmla="*/ 26608 h 644553"/>
                  <a:gd name="connsiteX49" fmla="*/ 423257 w 644553"/>
                  <a:gd name="connsiteY49" fmla="*/ 95857 h 644553"/>
                  <a:gd name="connsiteX50" fmla="*/ 412184 w 644553"/>
                  <a:gd name="connsiteY50" fmla="*/ 99823 h 644553"/>
                  <a:gd name="connsiteX51" fmla="*/ 227742 w 644553"/>
                  <a:gd name="connsiteY51" fmla="*/ 209728 h 644553"/>
                  <a:gd name="connsiteX52" fmla="*/ 168080 w 644553"/>
                  <a:gd name="connsiteY52" fmla="*/ 265920 h 644553"/>
                  <a:gd name="connsiteX53" fmla="*/ 322277 w 644553"/>
                  <a:gd name="connsiteY53" fmla="*/ 26608 h 644553"/>
                  <a:gd name="connsiteX54" fmla="*/ 231544 w 644553"/>
                  <a:gd name="connsiteY54" fmla="*/ 40822 h 644553"/>
                  <a:gd name="connsiteX55" fmla="*/ 140645 w 644553"/>
                  <a:gd name="connsiteY55" fmla="*/ 272696 h 644553"/>
                  <a:gd name="connsiteX56" fmla="*/ 110566 w 644553"/>
                  <a:gd name="connsiteY56" fmla="*/ 275340 h 644553"/>
                  <a:gd name="connsiteX57" fmla="*/ 43797 w 644553"/>
                  <a:gd name="connsiteY57" fmla="*/ 285256 h 644553"/>
                  <a:gd name="connsiteX58" fmla="*/ 28427 w 644553"/>
                  <a:gd name="connsiteY58" fmla="*/ 289553 h 644553"/>
                  <a:gd name="connsiteX59" fmla="*/ 231544 w 644553"/>
                  <a:gd name="connsiteY59" fmla="*/ 40987 h 644553"/>
                  <a:gd name="connsiteX60" fmla="*/ 26609 w 644553"/>
                  <a:gd name="connsiteY60" fmla="*/ 322442 h 644553"/>
                  <a:gd name="connsiteX61" fmla="*/ 138496 w 644553"/>
                  <a:gd name="connsiteY61" fmla="*/ 299635 h 644553"/>
                  <a:gd name="connsiteX62" fmla="*/ 106434 w 644553"/>
                  <a:gd name="connsiteY62" fmla="*/ 342440 h 644553"/>
                  <a:gd name="connsiteX63" fmla="*/ 26609 w 644553"/>
                  <a:gd name="connsiteY63" fmla="*/ 322442 h 644553"/>
                  <a:gd name="connsiteX64" fmla="*/ 87428 w 644553"/>
                  <a:gd name="connsiteY64" fmla="*/ 372189 h 644553"/>
                  <a:gd name="connsiteX65" fmla="*/ 55861 w 644553"/>
                  <a:gd name="connsiteY65" fmla="*/ 450857 h 644553"/>
                  <a:gd name="connsiteX66" fmla="*/ 28261 w 644553"/>
                  <a:gd name="connsiteY66" fmla="*/ 355166 h 644553"/>
                  <a:gd name="connsiteX67" fmla="*/ 43631 w 644553"/>
                  <a:gd name="connsiteY67" fmla="*/ 359463 h 644553"/>
                  <a:gd name="connsiteX68" fmla="*/ 90403 w 644553"/>
                  <a:gd name="connsiteY68" fmla="*/ 367065 h 644553"/>
                  <a:gd name="connsiteX69" fmla="*/ 87428 w 644553"/>
                  <a:gd name="connsiteY69" fmla="*/ 372023 h 644553"/>
                  <a:gd name="connsiteX70" fmla="*/ 96353 w 644553"/>
                  <a:gd name="connsiteY70" fmla="*/ 513164 h 644553"/>
                  <a:gd name="connsiteX71" fmla="*/ 95196 w 644553"/>
                  <a:gd name="connsiteY71" fmla="*/ 511842 h 644553"/>
                  <a:gd name="connsiteX72" fmla="*/ 141636 w 644553"/>
                  <a:gd name="connsiteY72" fmla="*/ 383262 h 644553"/>
                  <a:gd name="connsiteX73" fmla="*/ 172707 w 644553"/>
                  <a:gd name="connsiteY73" fmla="*/ 511842 h 644553"/>
                  <a:gd name="connsiteX74" fmla="*/ 96353 w 644553"/>
                  <a:gd name="connsiteY74" fmla="*/ 512999 h 644553"/>
                  <a:gd name="connsiteX75" fmla="*/ 149735 w 644553"/>
                  <a:gd name="connsiteY75" fmla="*/ 562415 h 644553"/>
                  <a:gd name="connsiteX76" fmla="*/ 195019 w 644553"/>
                  <a:gd name="connsiteY76" fmla="*/ 556630 h 644553"/>
                  <a:gd name="connsiteX77" fmla="*/ 231544 w 644553"/>
                  <a:gd name="connsiteY77" fmla="*/ 603897 h 644553"/>
                  <a:gd name="connsiteX78" fmla="*/ 149735 w 644553"/>
                  <a:gd name="connsiteY78" fmla="*/ 562415 h 644553"/>
                  <a:gd name="connsiteX79" fmla="*/ 322277 w 644553"/>
                  <a:gd name="connsiteY79" fmla="*/ 618111 h 644553"/>
                  <a:gd name="connsiteX80" fmla="*/ 221297 w 644553"/>
                  <a:gd name="connsiteY80" fmla="*/ 548862 h 644553"/>
                  <a:gd name="connsiteX81" fmla="*/ 232370 w 644553"/>
                  <a:gd name="connsiteY81" fmla="*/ 544896 h 644553"/>
                  <a:gd name="connsiteX82" fmla="*/ 416812 w 644553"/>
                  <a:gd name="connsiteY82" fmla="*/ 434991 h 644553"/>
                  <a:gd name="connsiteX83" fmla="*/ 476474 w 644553"/>
                  <a:gd name="connsiteY83" fmla="*/ 378799 h 644553"/>
                  <a:gd name="connsiteX84" fmla="*/ 322277 w 644553"/>
                  <a:gd name="connsiteY84" fmla="*/ 618111 h 644553"/>
                  <a:gd name="connsiteX85" fmla="*/ 413010 w 644553"/>
                  <a:gd name="connsiteY85" fmla="*/ 603897 h 644553"/>
                  <a:gd name="connsiteX86" fmla="*/ 503909 w 644553"/>
                  <a:gd name="connsiteY86" fmla="*/ 372023 h 644553"/>
                  <a:gd name="connsiteX87" fmla="*/ 533988 w 644553"/>
                  <a:gd name="connsiteY87" fmla="*/ 369379 h 644553"/>
                  <a:gd name="connsiteX88" fmla="*/ 600757 w 644553"/>
                  <a:gd name="connsiteY88" fmla="*/ 359463 h 644553"/>
                  <a:gd name="connsiteX89" fmla="*/ 616127 w 644553"/>
                  <a:gd name="connsiteY89" fmla="*/ 355166 h 644553"/>
                  <a:gd name="connsiteX90" fmla="*/ 413010 w 644553"/>
                  <a:gd name="connsiteY90" fmla="*/ 603732 h 644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44553" h="644553">
                    <a:moveTo>
                      <a:pt x="322277" y="0"/>
                    </a:moveTo>
                    <a:lnTo>
                      <a:pt x="322277" y="0"/>
                    </a:lnTo>
                    <a:cubicBezTo>
                      <a:pt x="144611" y="0"/>
                      <a:pt x="0" y="144611"/>
                      <a:pt x="0" y="322277"/>
                    </a:cubicBezTo>
                    <a:cubicBezTo>
                      <a:pt x="0" y="499942"/>
                      <a:pt x="144611" y="644554"/>
                      <a:pt x="322277" y="644554"/>
                    </a:cubicBezTo>
                    <a:lnTo>
                      <a:pt x="322277" y="644554"/>
                    </a:lnTo>
                    <a:cubicBezTo>
                      <a:pt x="499942" y="644554"/>
                      <a:pt x="644554" y="499942"/>
                      <a:pt x="644554" y="322277"/>
                    </a:cubicBezTo>
                    <a:cubicBezTo>
                      <a:pt x="644554" y="144611"/>
                      <a:pt x="499942" y="0"/>
                      <a:pt x="322277" y="0"/>
                    </a:cubicBezTo>
                    <a:close/>
                    <a:moveTo>
                      <a:pt x="617945" y="322442"/>
                    </a:moveTo>
                    <a:cubicBezTo>
                      <a:pt x="617945" y="331697"/>
                      <a:pt x="574149" y="339961"/>
                      <a:pt x="506057" y="345249"/>
                    </a:cubicBezTo>
                    <a:cubicBezTo>
                      <a:pt x="517461" y="331367"/>
                      <a:pt x="528204" y="317154"/>
                      <a:pt x="538120" y="302445"/>
                    </a:cubicBezTo>
                    <a:cubicBezTo>
                      <a:pt x="587701" y="307733"/>
                      <a:pt x="617945" y="314674"/>
                      <a:pt x="617945" y="322442"/>
                    </a:cubicBezTo>
                    <a:close/>
                    <a:moveTo>
                      <a:pt x="557126" y="272531"/>
                    </a:moveTo>
                    <a:cubicBezTo>
                      <a:pt x="570678" y="249393"/>
                      <a:pt x="584230" y="221958"/>
                      <a:pt x="588693" y="193862"/>
                    </a:cubicBezTo>
                    <a:cubicBezTo>
                      <a:pt x="602906" y="223280"/>
                      <a:pt x="612491" y="255508"/>
                      <a:pt x="616293" y="289553"/>
                    </a:cubicBezTo>
                    <a:cubicBezTo>
                      <a:pt x="610508" y="287405"/>
                      <a:pt x="604889" y="286083"/>
                      <a:pt x="600923" y="285256"/>
                    </a:cubicBezTo>
                    <a:cubicBezTo>
                      <a:pt x="588858" y="282447"/>
                      <a:pt x="573157" y="279803"/>
                      <a:pt x="554151" y="277654"/>
                    </a:cubicBezTo>
                    <a:cubicBezTo>
                      <a:pt x="555143" y="276001"/>
                      <a:pt x="556134" y="274349"/>
                      <a:pt x="557126" y="272696"/>
                    </a:cubicBezTo>
                    <a:close/>
                    <a:moveTo>
                      <a:pt x="548036" y="131720"/>
                    </a:moveTo>
                    <a:cubicBezTo>
                      <a:pt x="548036" y="131720"/>
                      <a:pt x="548697" y="132547"/>
                      <a:pt x="549193" y="133043"/>
                    </a:cubicBezTo>
                    <a:cubicBezTo>
                      <a:pt x="567373" y="157337"/>
                      <a:pt x="529030" y="222784"/>
                      <a:pt x="502752" y="261623"/>
                    </a:cubicBezTo>
                    <a:cubicBezTo>
                      <a:pt x="497794" y="214025"/>
                      <a:pt x="487051" y="170394"/>
                      <a:pt x="471681" y="133043"/>
                    </a:cubicBezTo>
                    <a:cubicBezTo>
                      <a:pt x="503909" y="123126"/>
                      <a:pt x="535310" y="118499"/>
                      <a:pt x="548036" y="131886"/>
                    </a:cubicBezTo>
                    <a:close/>
                    <a:moveTo>
                      <a:pt x="322277" y="351530"/>
                    </a:moveTo>
                    <a:cubicBezTo>
                      <a:pt x="265920" y="351530"/>
                      <a:pt x="213364" y="350042"/>
                      <a:pt x="168576" y="347233"/>
                    </a:cubicBezTo>
                    <a:cubicBezTo>
                      <a:pt x="183285" y="329218"/>
                      <a:pt x="199151" y="311865"/>
                      <a:pt x="215843" y="295007"/>
                    </a:cubicBezTo>
                    <a:cubicBezTo>
                      <a:pt x="248897" y="293685"/>
                      <a:pt x="284761" y="293024"/>
                      <a:pt x="322277" y="293024"/>
                    </a:cubicBezTo>
                    <a:cubicBezTo>
                      <a:pt x="378634" y="293024"/>
                      <a:pt x="431190" y="294512"/>
                      <a:pt x="475978" y="297321"/>
                    </a:cubicBezTo>
                    <a:cubicBezTo>
                      <a:pt x="461269" y="315336"/>
                      <a:pt x="445403" y="332689"/>
                      <a:pt x="428711" y="349547"/>
                    </a:cubicBezTo>
                    <a:cubicBezTo>
                      <a:pt x="395657" y="350869"/>
                      <a:pt x="359793" y="351530"/>
                      <a:pt x="322277" y="351530"/>
                    </a:cubicBezTo>
                    <a:close/>
                    <a:moveTo>
                      <a:pt x="399954" y="377147"/>
                    </a:moveTo>
                    <a:cubicBezTo>
                      <a:pt x="394004" y="382601"/>
                      <a:pt x="387889" y="387889"/>
                      <a:pt x="381774" y="393178"/>
                    </a:cubicBezTo>
                    <a:cubicBezTo>
                      <a:pt x="344093" y="424579"/>
                      <a:pt x="303271" y="452014"/>
                      <a:pt x="261292" y="474987"/>
                    </a:cubicBezTo>
                    <a:cubicBezTo>
                      <a:pt x="252864" y="479614"/>
                      <a:pt x="227081" y="492340"/>
                      <a:pt x="198159" y="503248"/>
                    </a:cubicBezTo>
                    <a:cubicBezTo>
                      <a:pt x="182954" y="466062"/>
                      <a:pt x="172212" y="422100"/>
                      <a:pt x="167749" y="374007"/>
                    </a:cubicBezTo>
                    <a:cubicBezTo>
                      <a:pt x="214025" y="376816"/>
                      <a:pt x="267077" y="378304"/>
                      <a:pt x="322442" y="378304"/>
                    </a:cubicBezTo>
                    <a:cubicBezTo>
                      <a:pt x="349051" y="378304"/>
                      <a:pt x="374998" y="377973"/>
                      <a:pt x="400119" y="377312"/>
                    </a:cubicBezTo>
                    <a:close/>
                    <a:moveTo>
                      <a:pt x="322277" y="266581"/>
                    </a:moveTo>
                    <a:cubicBezTo>
                      <a:pt x="295668" y="266581"/>
                      <a:pt x="269721" y="266911"/>
                      <a:pt x="244600" y="267573"/>
                    </a:cubicBezTo>
                    <a:cubicBezTo>
                      <a:pt x="250549" y="262119"/>
                      <a:pt x="256665" y="256830"/>
                      <a:pt x="262780" y="251541"/>
                    </a:cubicBezTo>
                    <a:cubicBezTo>
                      <a:pt x="300461" y="220140"/>
                      <a:pt x="341283" y="192705"/>
                      <a:pt x="383262" y="169733"/>
                    </a:cubicBezTo>
                    <a:cubicBezTo>
                      <a:pt x="391690" y="165105"/>
                      <a:pt x="417473" y="152379"/>
                      <a:pt x="446395" y="141471"/>
                    </a:cubicBezTo>
                    <a:cubicBezTo>
                      <a:pt x="461600" y="178657"/>
                      <a:pt x="472342" y="222619"/>
                      <a:pt x="476804" y="270713"/>
                    </a:cubicBezTo>
                    <a:cubicBezTo>
                      <a:pt x="430529" y="267903"/>
                      <a:pt x="377477" y="266416"/>
                      <a:pt x="322112" y="266416"/>
                    </a:cubicBezTo>
                    <a:close/>
                    <a:moveTo>
                      <a:pt x="494819" y="82305"/>
                    </a:moveTo>
                    <a:cubicBezTo>
                      <a:pt x="479779" y="82139"/>
                      <a:pt x="464409" y="84453"/>
                      <a:pt x="449535" y="88089"/>
                    </a:cubicBezTo>
                    <a:cubicBezTo>
                      <a:pt x="438627" y="69744"/>
                      <a:pt x="426397" y="53878"/>
                      <a:pt x="413010" y="40822"/>
                    </a:cubicBezTo>
                    <a:cubicBezTo>
                      <a:pt x="442594" y="50407"/>
                      <a:pt x="470029" y="64455"/>
                      <a:pt x="494819" y="82305"/>
                    </a:cubicBezTo>
                    <a:close/>
                    <a:moveTo>
                      <a:pt x="322277" y="26608"/>
                    </a:moveTo>
                    <a:lnTo>
                      <a:pt x="322277" y="26608"/>
                    </a:lnTo>
                    <a:cubicBezTo>
                      <a:pt x="360620" y="26608"/>
                      <a:pt x="395822" y="52721"/>
                      <a:pt x="423257" y="95857"/>
                    </a:cubicBezTo>
                    <a:cubicBezTo>
                      <a:pt x="419456" y="97179"/>
                      <a:pt x="415820" y="98501"/>
                      <a:pt x="412184" y="99823"/>
                    </a:cubicBezTo>
                    <a:cubicBezTo>
                      <a:pt x="346406" y="124283"/>
                      <a:pt x="283438" y="162791"/>
                      <a:pt x="227742" y="209728"/>
                    </a:cubicBezTo>
                    <a:cubicBezTo>
                      <a:pt x="206753" y="227247"/>
                      <a:pt x="186755" y="246087"/>
                      <a:pt x="168080" y="265920"/>
                    </a:cubicBezTo>
                    <a:cubicBezTo>
                      <a:pt x="182128" y="129737"/>
                      <a:pt x="245922" y="26608"/>
                      <a:pt x="322277" y="26608"/>
                    </a:cubicBezTo>
                    <a:close/>
                    <a:moveTo>
                      <a:pt x="231544" y="40822"/>
                    </a:moveTo>
                    <a:cubicBezTo>
                      <a:pt x="183450" y="87924"/>
                      <a:pt x="149239" y="171881"/>
                      <a:pt x="140645" y="272696"/>
                    </a:cubicBezTo>
                    <a:cubicBezTo>
                      <a:pt x="130233" y="273522"/>
                      <a:pt x="120151" y="274349"/>
                      <a:pt x="110566" y="275340"/>
                    </a:cubicBezTo>
                    <a:cubicBezTo>
                      <a:pt x="82305" y="278150"/>
                      <a:pt x="59828" y="281455"/>
                      <a:pt x="43797" y="285256"/>
                    </a:cubicBezTo>
                    <a:cubicBezTo>
                      <a:pt x="39830" y="286248"/>
                      <a:pt x="34211" y="287570"/>
                      <a:pt x="28427" y="289553"/>
                    </a:cubicBezTo>
                    <a:cubicBezTo>
                      <a:pt x="41483" y="172542"/>
                      <a:pt x="122796" y="76024"/>
                      <a:pt x="231544" y="40987"/>
                    </a:cubicBezTo>
                    <a:close/>
                    <a:moveTo>
                      <a:pt x="26609" y="322442"/>
                    </a:moveTo>
                    <a:cubicBezTo>
                      <a:pt x="26609" y="313187"/>
                      <a:pt x="70405" y="304924"/>
                      <a:pt x="138496" y="299635"/>
                    </a:cubicBezTo>
                    <a:cubicBezTo>
                      <a:pt x="127093" y="313518"/>
                      <a:pt x="116350" y="327731"/>
                      <a:pt x="106434" y="342440"/>
                    </a:cubicBezTo>
                    <a:cubicBezTo>
                      <a:pt x="56853" y="337151"/>
                      <a:pt x="26609" y="330210"/>
                      <a:pt x="26609" y="322442"/>
                    </a:cubicBezTo>
                    <a:close/>
                    <a:moveTo>
                      <a:pt x="87428" y="372189"/>
                    </a:moveTo>
                    <a:cubicBezTo>
                      <a:pt x="73876" y="395326"/>
                      <a:pt x="60324" y="422761"/>
                      <a:pt x="55861" y="450857"/>
                    </a:cubicBezTo>
                    <a:cubicBezTo>
                      <a:pt x="41648" y="421439"/>
                      <a:pt x="32062" y="389211"/>
                      <a:pt x="28261" y="355166"/>
                    </a:cubicBezTo>
                    <a:cubicBezTo>
                      <a:pt x="34046" y="357314"/>
                      <a:pt x="39665" y="358636"/>
                      <a:pt x="43631" y="359463"/>
                    </a:cubicBezTo>
                    <a:cubicBezTo>
                      <a:pt x="55696" y="362272"/>
                      <a:pt x="71397" y="364917"/>
                      <a:pt x="90403" y="367065"/>
                    </a:cubicBezTo>
                    <a:cubicBezTo>
                      <a:pt x="89411" y="368718"/>
                      <a:pt x="88419" y="370371"/>
                      <a:pt x="87428" y="372023"/>
                    </a:cubicBezTo>
                    <a:close/>
                    <a:moveTo>
                      <a:pt x="96353" y="513164"/>
                    </a:moveTo>
                    <a:cubicBezTo>
                      <a:pt x="96353" y="513164"/>
                      <a:pt x="95691" y="512338"/>
                      <a:pt x="95196" y="511842"/>
                    </a:cubicBezTo>
                    <a:cubicBezTo>
                      <a:pt x="77016" y="487547"/>
                      <a:pt x="115359" y="422100"/>
                      <a:pt x="141636" y="383262"/>
                    </a:cubicBezTo>
                    <a:cubicBezTo>
                      <a:pt x="146595" y="430859"/>
                      <a:pt x="157337" y="474491"/>
                      <a:pt x="172707" y="511842"/>
                    </a:cubicBezTo>
                    <a:cubicBezTo>
                      <a:pt x="140480" y="521758"/>
                      <a:pt x="109078" y="526386"/>
                      <a:pt x="96353" y="512999"/>
                    </a:cubicBezTo>
                    <a:close/>
                    <a:moveTo>
                      <a:pt x="149735" y="562415"/>
                    </a:moveTo>
                    <a:cubicBezTo>
                      <a:pt x="164774" y="562580"/>
                      <a:pt x="180144" y="560266"/>
                      <a:pt x="195019" y="556630"/>
                    </a:cubicBezTo>
                    <a:cubicBezTo>
                      <a:pt x="205927" y="574975"/>
                      <a:pt x="218157" y="590841"/>
                      <a:pt x="231544" y="603897"/>
                    </a:cubicBezTo>
                    <a:cubicBezTo>
                      <a:pt x="201960" y="594312"/>
                      <a:pt x="174525" y="580264"/>
                      <a:pt x="149735" y="562415"/>
                    </a:cubicBezTo>
                    <a:close/>
                    <a:moveTo>
                      <a:pt x="322277" y="618111"/>
                    </a:moveTo>
                    <a:cubicBezTo>
                      <a:pt x="283934" y="618111"/>
                      <a:pt x="248732" y="591998"/>
                      <a:pt x="221297" y="548862"/>
                    </a:cubicBezTo>
                    <a:cubicBezTo>
                      <a:pt x="225098" y="547540"/>
                      <a:pt x="228734" y="546218"/>
                      <a:pt x="232370" y="544896"/>
                    </a:cubicBezTo>
                    <a:cubicBezTo>
                      <a:pt x="298147" y="520436"/>
                      <a:pt x="361115" y="481928"/>
                      <a:pt x="416812" y="434991"/>
                    </a:cubicBezTo>
                    <a:cubicBezTo>
                      <a:pt x="437801" y="417473"/>
                      <a:pt x="457799" y="398632"/>
                      <a:pt x="476474" y="378799"/>
                    </a:cubicBezTo>
                    <a:cubicBezTo>
                      <a:pt x="462426" y="514982"/>
                      <a:pt x="398632" y="618111"/>
                      <a:pt x="322277" y="618111"/>
                    </a:cubicBezTo>
                    <a:close/>
                    <a:moveTo>
                      <a:pt x="413010" y="603897"/>
                    </a:moveTo>
                    <a:cubicBezTo>
                      <a:pt x="461104" y="556795"/>
                      <a:pt x="495315" y="472838"/>
                      <a:pt x="503909" y="372023"/>
                    </a:cubicBezTo>
                    <a:cubicBezTo>
                      <a:pt x="514486" y="371197"/>
                      <a:pt x="524402" y="370371"/>
                      <a:pt x="533988" y="369379"/>
                    </a:cubicBezTo>
                    <a:cubicBezTo>
                      <a:pt x="562249" y="366569"/>
                      <a:pt x="584726" y="363264"/>
                      <a:pt x="600757" y="359463"/>
                    </a:cubicBezTo>
                    <a:cubicBezTo>
                      <a:pt x="604724" y="358471"/>
                      <a:pt x="610343" y="357149"/>
                      <a:pt x="616127" y="355166"/>
                    </a:cubicBezTo>
                    <a:cubicBezTo>
                      <a:pt x="603071" y="472177"/>
                      <a:pt x="521758" y="568695"/>
                      <a:pt x="413010" y="60373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A6B90DA-F14E-5E65-2442-DAC59DB368ED}"/>
              </a:ext>
            </a:extLst>
          </p:cNvPr>
          <p:cNvGrpSpPr/>
          <p:nvPr userDrawn="1"/>
        </p:nvGrpSpPr>
        <p:grpSpPr>
          <a:xfrm>
            <a:off x="609091" y="453130"/>
            <a:ext cx="3643324" cy="981336"/>
            <a:chOff x="2752724" y="1340236"/>
            <a:chExt cx="6765655" cy="1822342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BDCB46D-35FD-0B51-C23B-AA8358F9C34A}"/>
                </a:ext>
              </a:extLst>
            </p:cNvPr>
            <p:cNvSpPr/>
            <p:nvPr/>
          </p:nvSpPr>
          <p:spPr>
            <a:xfrm>
              <a:off x="2752724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79B455-85D6-77C0-C237-74B4F2ACB540}"/>
                </a:ext>
              </a:extLst>
            </p:cNvPr>
            <p:cNvSpPr/>
            <p:nvPr/>
          </p:nvSpPr>
          <p:spPr>
            <a:xfrm>
              <a:off x="3466614" y="1873968"/>
              <a:ext cx="782018" cy="719173"/>
            </a:xfrm>
            <a:custGeom>
              <a:avLst/>
              <a:gdLst>
                <a:gd name="connsiteX0" fmla="*/ 136075 w 782018"/>
                <a:gd name="connsiteY0" fmla="*/ 719173 h 719173"/>
                <a:gd name="connsiteX1" fmla="*/ 0 w 782018"/>
                <a:gd name="connsiteY1" fmla="*/ 719173 h 719173"/>
                <a:gd name="connsiteX2" fmla="*/ 248104 w 782018"/>
                <a:gd name="connsiteY2" fmla="*/ 91081 h 719173"/>
                <a:gd name="connsiteX3" fmla="*/ 396748 w 782018"/>
                <a:gd name="connsiteY3" fmla="*/ 0 h 719173"/>
                <a:gd name="connsiteX4" fmla="*/ 543387 w 782018"/>
                <a:gd name="connsiteY4" fmla="*/ 91081 h 719173"/>
                <a:gd name="connsiteX5" fmla="*/ 782019 w 782018"/>
                <a:gd name="connsiteY5" fmla="*/ 719173 h 719173"/>
                <a:gd name="connsiteX6" fmla="*/ 644851 w 782018"/>
                <a:gd name="connsiteY6" fmla="*/ 719173 h 719173"/>
                <a:gd name="connsiteX7" fmla="*/ 430265 w 782018"/>
                <a:gd name="connsiteY7" fmla="*/ 150830 h 719173"/>
                <a:gd name="connsiteX8" fmla="*/ 395655 w 782018"/>
                <a:gd name="connsiteY8" fmla="*/ 126784 h 719173"/>
                <a:gd name="connsiteX9" fmla="*/ 360133 w 782018"/>
                <a:gd name="connsiteY9" fmla="*/ 150830 h 719173"/>
                <a:gd name="connsiteX10" fmla="*/ 136075 w 782018"/>
                <a:gd name="connsiteY10" fmla="*/ 719173 h 719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2018" h="719173">
                  <a:moveTo>
                    <a:pt x="136075" y="719173"/>
                  </a:moveTo>
                  <a:lnTo>
                    <a:pt x="0" y="719173"/>
                  </a:lnTo>
                  <a:lnTo>
                    <a:pt x="248104" y="91081"/>
                  </a:lnTo>
                  <a:cubicBezTo>
                    <a:pt x="274335" y="25138"/>
                    <a:pt x="322426" y="0"/>
                    <a:pt x="396748" y="0"/>
                  </a:cubicBezTo>
                  <a:cubicBezTo>
                    <a:pt x="471069" y="0"/>
                    <a:pt x="518249" y="25138"/>
                    <a:pt x="543387" y="91081"/>
                  </a:cubicBezTo>
                  <a:lnTo>
                    <a:pt x="782019" y="719173"/>
                  </a:lnTo>
                  <a:lnTo>
                    <a:pt x="644851" y="719173"/>
                  </a:lnTo>
                  <a:lnTo>
                    <a:pt x="430265" y="150830"/>
                  </a:lnTo>
                  <a:cubicBezTo>
                    <a:pt x="424072" y="134071"/>
                    <a:pt x="412413" y="126784"/>
                    <a:pt x="395655" y="126784"/>
                  </a:cubicBezTo>
                  <a:cubicBezTo>
                    <a:pt x="378896" y="126784"/>
                    <a:pt x="367420" y="134071"/>
                    <a:pt x="360133" y="150830"/>
                  </a:cubicBezTo>
                  <a:lnTo>
                    <a:pt x="136075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EC008FB-08A1-8989-EB86-82F304902159}"/>
                </a:ext>
              </a:extLst>
            </p:cNvPr>
            <p:cNvSpPr/>
            <p:nvPr/>
          </p:nvSpPr>
          <p:spPr>
            <a:xfrm>
              <a:off x="5026280" y="1886355"/>
              <a:ext cx="634103" cy="706604"/>
            </a:xfrm>
            <a:custGeom>
              <a:avLst/>
              <a:gdLst>
                <a:gd name="connsiteX0" fmla="*/ 123323 w 634103"/>
                <a:gd name="connsiteY0" fmla="*/ 182 h 706604"/>
                <a:gd name="connsiteX1" fmla="*/ 123323 w 634103"/>
                <a:gd name="connsiteY1" fmla="*/ 299473 h 706604"/>
                <a:gd name="connsiteX2" fmla="*/ 191269 w 634103"/>
                <a:gd name="connsiteY2" fmla="*/ 299473 h 706604"/>
                <a:gd name="connsiteX3" fmla="*/ 372338 w 634103"/>
                <a:gd name="connsiteY3" fmla="*/ 211489 h 706604"/>
                <a:gd name="connsiteX4" fmla="*/ 480177 w 634103"/>
                <a:gd name="connsiteY4" fmla="*/ 0 h 706604"/>
                <a:gd name="connsiteX5" fmla="*/ 613155 w 634103"/>
                <a:gd name="connsiteY5" fmla="*/ 0 h 706604"/>
                <a:gd name="connsiteX6" fmla="*/ 502219 w 634103"/>
                <a:gd name="connsiteY6" fmla="*/ 219869 h 706604"/>
                <a:gd name="connsiteX7" fmla="*/ 379807 w 634103"/>
                <a:gd name="connsiteY7" fmla="*/ 348657 h 706604"/>
                <a:gd name="connsiteX8" fmla="*/ 520071 w 634103"/>
                <a:gd name="connsiteY8" fmla="*/ 484732 h 706604"/>
                <a:gd name="connsiteX9" fmla="*/ 634104 w 634103"/>
                <a:gd name="connsiteY9" fmla="*/ 706604 h 706604"/>
                <a:gd name="connsiteX10" fmla="*/ 496025 w 634103"/>
                <a:gd name="connsiteY10" fmla="*/ 706604 h 706604"/>
                <a:gd name="connsiteX11" fmla="*/ 388186 w 634103"/>
                <a:gd name="connsiteY11" fmla="*/ 497301 h 706604"/>
                <a:gd name="connsiteX12" fmla="*/ 191452 w 634103"/>
                <a:gd name="connsiteY12" fmla="*/ 411503 h 706604"/>
                <a:gd name="connsiteX13" fmla="*/ 123505 w 634103"/>
                <a:gd name="connsiteY13" fmla="*/ 411503 h 706604"/>
                <a:gd name="connsiteX14" fmla="*/ 123505 w 634103"/>
                <a:gd name="connsiteY14" fmla="*/ 706604 h 706604"/>
                <a:gd name="connsiteX15" fmla="*/ 0 w 634103"/>
                <a:gd name="connsiteY15" fmla="*/ 706604 h 706604"/>
                <a:gd name="connsiteX16" fmla="*/ 0 w 634103"/>
                <a:gd name="connsiteY16" fmla="*/ 182 h 706604"/>
                <a:gd name="connsiteX17" fmla="*/ 123505 w 634103"/>
                <a:gd name="connsiteY17" fmla="*/ 182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4103" h="706604">
                  <a:moveTo>
                    <a:pt x="123323" y="182"/>
                  </a:moveTo>
                  <a:lnTo>
                    <a:pt x="123323" y="299473"/>
                  </a:lnTo>
                  <a:lnTo>
                    <a:pt x="191269" y="299473"/>
                  </a:lnTo>
                  <a:cubicBezTo>
                    <a:pt x="312771" y="299473"/>
                    <a:pt x="332627" y="289090"/>
                    <a:pt x="372338" y="211489"/>
                  </a:cubicBezTo>
                  <a:lnTo>
                    <a:pt x="480177" y="0"/>
                  </a:lnTo>
                  <a:lnTo>
                    <a:pt x="613155" y="0"/>
                  </a:lnTo>
                  <a:lnTo>
                    <a:pt x="502219" y="219869"/>
                  </a:lnTo>
                  <a:cubicBezTo>
                    <a:pt x="470887" y="282715"/>
                    <a:pt x="437370" y="323519"/>
                    <a:pt x="379807" y="348657"/>
                  </a:cubicBezTo>
                  <a:cubicBezTo>
                    <a:pt x="445749" y="366509"/>
                    <a:pt x="478174" y="403123"/>
                    <a:pt x="520071" y="484732"/>
                  </a:cubicBezTo>
                  <a:lnTo>
                    <a:pt x="634104" y="706604"/>
                  </a:lnTo>
                  <a:lnTo>
                    <a:pt x="496025" y="706604"/>
                  </a:lnTo>
                  <a:lnTo>
                    <a:pt x="388186" y="497301"/>
                  </a:lnTo>
                  <a:cubicBezTo>
                    <a:pt x="349386" y="421886"/>
                    <a:pt x="324247" y="411503"/>
                    <a:pt x="191452" y="411503"/>
                  </a:cubicBez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182"/>
                  </a:lnTo>
                  <a:lnTo>
                    <a:pt x="123505" y="182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BEE22DC-2815-877E-D9E7-B5893ACA3496}"/>
                </a:ext>
              </a:extLst>
            </p:cNvPr>
            <p:cNvSpPr/>
            <p:nvPr/>
          </p:nvSpPr>
          <p:spPr>
            <a:xfrm>
              <a:off x="5468932" y="1893460"/>
              <a:ext cx="1035223" cy="1269118"/>
            </a:xfrm>
            <a:custGeom>
              <a:avLst/>
              <a:gdLst>
                <a:gd name="connsiteX0" fmla="*/ 136075 w 1035223"/>
                <a:gd name="connsiteY0" fmla="*/ 1269119 h 1269118"/>
                <a:gd name="connsiteX1" fmla="*/ 0 w 1035223"/>
                <a:gd name="connsiteY1" fmla="*/ 1269119 h 1269118"/>
                <a:gd name="connsiteX2" fmla="*/ 501308 w 1035223"/>
                <a:gd name="connsiteY2" fmla="*/ 91081 h 1269118"/>
                <a:gd name="connsiteX3" fmla="*/ 649952 w 1035223"/>
                <a:gd name="connsiteY3" fmla="*/ 0 h 1269118"/>
                <a:gd name="connsiteX4" fmla="*/ 796592 w 1035223"/>
                <a:gd name="connsiteY4" fmla="*/ 91081 h 1269118"/>
                <a:gd name="connsiteX5" fmla="*/ 1035223 w 1035223"/>
                <a:gd name="connsiteY5" fmla="*/ 719173 h 1269118"/>
                <a:gd name="connsiteX6" fmla="*/ 898056 w 1035223"/>
                <a:gd name="connsiteY6" fmla="*/ 719173 h 1269118"/>
                <a:gd name="connsiteX7" fmla="*/ 683470 w 1035223"/>
                <a:gd name="connsiteY7" fmla="*/ 150830 h 1269118"/>
                <a:gd name="connsiteX8" fmla="*/ 648859 w 1035223"/>
                <a:gd name="connsiteY8" fmla="*/ 126784 h 1269118"/>
                <a:gd name="connsiteX9" fmla="*/ 613337 w 1035223"/>
                <a:gd name="connsiteY9" fmla="*/ 150830 h 1269118"/>
                <a:gd name="connsiteX10" fmla="*/ 136075 w 1035223"/>
                <a:gd name="connsiteY10" fmla="*/ 1269119 h 126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5223" h="1269118">
                  <a:moveTo>
                    <a:pt x="136075" y="1269119"/>
                  </a:moveTo>
                  <a:lnTo>
                    <a:pt x="0" y="1269119"/>
                  </a:lnTo>
                  <a:lnTo>
                    <a:pt x="501308" y="91081"/>
                  </a:lnTo>
                  <a:cubicBezTo>
                    <a:pt x="527540" y="25138"/>
                    <a:pt x="575630" y="0"/>
                    <a:pt x="649952" y="0"/>
                  </a:cubicBezTo>
                  <a:cubicBezTo>
                    <a:pt x="724274" y="0"/>
                    <a:pt x="771454" y="25138"/>
                    <a:pt x="796592" y="91081"/>
                  </a:cubicBezTo>
                  <a:lnTo>
                    <a:pt x="1035223" y="719173"/>
                  </a:lnTo>
                  <a:lnTo>
                    <a:pt x="898056" y="719173"/>
                  </a:lnTo>
                  <a:lnTo>
                    <a:pt x="683470" y="150830"/>
                  </a:lnTo>
                  <a:cubicBezTo>
                    <a:pt x="677276" y="134071"/>
                    <a:pt x="665618" y="126784"/>
                    <a:pt x="648859" y="126784"/>
                  </a:cubicBezTo>
                  <a:cubicBezTo>
                    <a:pt x="632100" y="126784"/>
                    <a:pt x="620624" y="134071"/>
                    <a:pt x="613337" y="150830"/>
                  </a:cubicBezTo>
                  <a:lnTo>
                    <a:pt x="136075" y="1269119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880905D-574D-362F-053A-5C9DCE1A91C0}"/>
                </a:ext>
              </a:extLst>
            </p:cNvPr>
            <p:cNvSpPr/>
            <p:nvPr/>
          </p:nvSpPr>
          <p:spPr>
            <a:xfrm>
              <a:off x="6481021" y="1886538"/>
              <a:ext cx="537011" cy="706421"/>
            </a:xfrm>
            <a:custGeom>
              <a:avLst/>
              <a:gdLst>
                <a:gd name="connsiteX0" fmla="*/ 537012 w 537011"/>
                <a:gd name="connsiteY0" fmla="*/ 0 h 706421"/>
                <a:gd name="connsiteX1" fmla="*/ 537012 w 537011"/>
                <a:gd name="connsiteY1" fmla="*/ 123505 h 706421"/>
                <a:gd name="connsiteX2" fmla="*/ 330805 w 537011"/>
                <a:gd name="connsiteY2" fmla="*/ 123505 h 706421"/>
                <a:gd name="connsiteX3" fmla="*/ 330805 w 537011"/>
                <a:gd name="connsiteY3" fmla="*/ 706422 h 706421"/>
                <a:gd name="connsiteX4" fmla="*/ 206207 w 537011"/>
                <a:gd name="connsiteY4" fmla="*/ 706422 h 706421"/>
                <a:gd name="connsiteX5" fmla="*/ 206207 w 537011"/>
                <a:gd name="connsiteY5" fmla="*/ 123505 h 706421"/>
                <a:gd name="connsiteX6" fmla="*/ 0 w 537011"/>
                <a:gd name="connsiteY6" fmla="*/ 123505 h 706421"/>
                <a:gd name="connsiteX7" fmla="*/ 0 w 537011"/>
                <a:gd name="connsiteY7" fmla="*/ 0 h 706421"/>
                <a:gd name="connsiteX8" fmla="*/ 537012 w 537011"/>
                <a:gd name="connsiteY8" fmla="*/ 0 h 70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011" h="706421">
                  <a:moveTo>
                    <a:pt x="537012" y="0"/>
                  </a:moveTo>
                  <a:lnTo>
                    <a:pt x="537012" y="123505"/>
                  </a:lnTo>
                  <a:lnTo>
                    <a:pt x="330805" y="123505"/>
                  </a:lnTo>
                  <a:lnTo>
                    <a:pt x="330805" y="706422"/>
                  </a:lnTo>
                  <a:lnTo>
                    <a:pt x="206207" y="706422"/>
                  </a:lnTo>
                  <a:lnTo>
                    <a:pt x="206207" y="123505"/>
                  </a:lnTo>
                  <a:lnTo>
                    <a:pt x="0" y="123505"/>
                  </a:lnTo>
                  <a:lnTo>
                    <a:pt x="0" y="0"/>
                  </a:lnTo>
                  <a:lnTo>
                    <a:pt x="537012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EABDD5A-DE16-8672-4A33-D8610A2BC257}"/>
                </a:ext>
              </a:extLst>
            </p:cNvPr>
            <p:cNvSpPr/>
            <p:nvPr/>
          </p:nvSpPr>
          <p:spPr>
            <a:xfrm>
              <a:off x="7134252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618100C-F4C0-5515-6F86-45DB06AD187B}"/>
                </a:ext>
              </a:extLst>
            </p:cNvPr>
            <p:cNvSpPr/>
            <p:nvPr/>
          </p:nvSpPr>
          <p:spPr>
            <a:xfrm>
              <a:off x="8766964" y="1873968"/>
              <a:ext cx="751415" cy="731742"/>
            </a:xfrm>
            <a:custGeom>
              <a:avLst/>
              <a:gdLst>
                <a:gd name="connsiteX0" fmla="*/ 123505 w 751415"/>
                <a:gd name="connsiteY0" fmla="*/ 719173 h 731742"/>
                <a:gd name="connsiteX1" fmla="*/ 0 w 751415"/>
                <a:gd name="connsiteY1" fmla="*/ 719173 h 731742"/>
                <a:gd name="connsiteX2" fmla="*/ 0 w 751415"/>
                <a:gd name="connsiteY2" fmla="*/ 153926 h 731742"/>
                <a:gd name="connsiteX3" fmla="*/ 162124 w 751415"/>
                <a:gd name="connsiteY3" fmla="*/ 0 h 731742"/>
                <a:gd name="connsiteX4" fmla="*/ 333720 w 751415"/>
                <a:gd name="connsiteY4" fmla="*/ 130792 h 731742"/>
                <a:gd name="connsiteX5" fmla="*/ 539926 w 751415"/>
                <a:gd name="connsiteY5" fmla="*/ 582006 h 731742"/>
                <a:gd name="connsiteX6" fmla="*/ 584920 w 751415"/>
                <a:gd name="connsiteY6" fmla="*/ 611334 h 731742"/>
                <a:gd name="connsiteX7" fmla="*/ 626817 w 751415"/>
                <a:gd name="connsiteY7" fmla="*/ 571623 h 731742"/>
                <a:gd name="connsiteX8" fmla="*/ 626817 w 751415"/>
                <a:gd name="connsiteY8" fmla="*/ 12751 h 731742"/>
                <a:gd name="connsiteX9" fmla="*/ 751416 w 751415"/>
                <a:gd name="connsiteY9" fmla="*/ 12751 h 731742"/>
                <a:gd name="connsiteX10" fmla="*/ 751416 w 751415"/>
                <a:gd name="connsiteY10" fmla="*/ 576905 h 731742"/>
                <a:gd name="connsiteX11" fmla="*/ 589110 w 751415"/>
                <a:gd name="connsiteY11" fmla="*/ 731742 h 731742"/>
                <a:gd name="connsiteX12" fmla="*/ 416421 w 751415"/>
                <a:gd name="connsiteY12" fmla="*/ 600951 h 731742"/>
                <a:gd name="connsiteX13" fmla="*/ 210214 w 751415"/>
                <a:gd name="connsiteY13" fmla="*/ 149919 h 731742"/>
                <a:gd name="connsiteX14" fmla="*/ 166313 w 751415"/>
                <a:gd name="connsiteY14" fmla="*/ 119498 h 731742"/>
                <a:gd name="connsiteX15" fmla="*/ 123323 w 751415"/>
                <a:gd name="connsiteY15" fmla="*/ 160302 h 731742"/>
                <a:gd name="connsiteX16" fmla="*/ 123323 w 751415"/>
                <a:gd name="connsiteY16" fmla="*/ 719173 h 73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51415" h="731742">
                  <a:moveTo>
                    <a:pt x="123505" y="719173"/>
                  </a:moveTo>
                  <a:lnTo>
                    <a:pt x="0" y="719173"/>
                  </a:lnTo>
                  <a:lnTo>
                    <a:pt x="0" y="153926"/>
                  </a:lnTo>
                  <a:cubicBezTo>
                    <a:pt x="0" y="61753"/>
                    <a:pt x="52280" y="0"/>
                    <a:pt x="162124" y="0"/>
                  </a:cubicBezTo>
                  <a:cubicBezTo>
                    <a:pt x="260491" y="0"/>
                    <a:pt x="304574" y="50277"/>
                    <a:pt x="333720" y="130792"/>
                  </a:cubicBezTo>
                  <a:lnTo>
                    <a:pt x="539926" y="582006"/>
                  </a:lnTo>
                  <a:cubicBezTo>
                    <a:pt x="548306" y="598765"/>
                    <a:pt x="561968" y="611334"/>
                    <a:pt x="584920" y="611334"/>
                  </a:cubicBezTo>
                  <a:cubicBezTo>
                    <a:pt x="611151" y="611334"/>
                    <a:pt x="626817" y="595668"/>
                    <a:pt x="626817" y="571623"/>
                  </a:cubicBezTo>
                  <a:lnTo>
                    <a:pt x="626817" y="12751"/>
                  </a:lnTo>
                  <a:lnTo>
                    <a:pt x="751416" y="12751"/>
                  </a:lnTo>
                  <a:lnTo>
                    <a:pt x="751416" y="576905"/>
                  </a:lnTo>
                  <a:cubicBezTo>
                    <a:pt x="751416" y="669990"/>
                    <a:pt x="698043" y="731742"/>
                    <a:pt x="589110" y="731742"/>
                  </a:cubicBezTo>
                  <a:cubicBezTo>
                    <a:pt x="490743" y="731742"/>
                    <a:pt x="445749" y="681466"/>
                    <a:pt x="416421" y="600951"/>
                  </a:cubicBezTo>
                  <a:lnTo>
                    <a:pt x="210214" y="149919"/>
                  </a:lnTo>
                  <a:cubicBezTo>
                    <a:pt x="200742" y="128970"/>
                    <a:pt x="188172" y="119498"/>
                    <a:pt x="166313" y="119498"/>
                  </a:cubicBezTo>
                  <a:cubicBezTo>
                    <a:pt x="138078" y="119498"/>
                    <a:pt x="123323" y="135164"/>
                    <a:pt x="123323" y="160302"/>
                  </a:cubicBezTo>
                  <a:lnTo>
                    <a:pt x="123323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509C10D-7433-721D-274B-C94B6CB1595B}"/>
                </a:ext>
              </a:extLst>
            </p:cNvPr>
            <p:cNvSpPr/>
            <p:nvPr/>
          </p:nvSpPr>
          <p:spPr>
            <a:xfrm>
              <a:off x="7906069" y="1886538"/>
              <a:ext cx="734839" cy="706604"/>
            </a:xfrm>
            <a:custGeom>
              <a:avLst/>
              <a:gdLst>
                <a:gd name="connsiteX0" fmla="*/ 415510 w 734839"/>
                <a:gd name="connsiteY0" fmla="*/ 0 h 706604"/>
                <a:gd name="connsiteX1" fmla="*/ 319147 w 734839"/>
                <a:gd name="connsiteY1" fmla="*/ 0 h 706604"/>
                <a:gd name="connsiteX2" fmla="*/ 0 w 734839"/>
                <a:gd name="connsiteY2" fmla="*/ 354850 h 706604"/>
                <a:gd name="connsiteX3" fmla="*/ 319147 w 734839"/>
                <a:gd name="connsiteY3" fmla="*/ 706604 h 706604"/>
                <a:gd name="connsiteX4" fmla="*/ 415510 w 734839"/>
                <a:gd name="connsiteY4" fmla="*/ 706604 h 706604"/>
                <a:gd name="connsiteX5" fmla="*/ 734839 w 734839"/>
                <a:gd name="connsiteY5" fmla="*/ 354850 h 706604"/>
                <a:gd name="connsiteX6" fmla="*/ 415510 w 734839"/>
                <a:gd name="connsiteY6" fmla="*/ 0 h 706604"/>
                <a:gd name="connsiteX7" fmla="*/ 415510 w 734839"/>
                <a:gd name="connsiteY7" fmla="*/ 583099 h 706604"/>
                <a:gd name="connsiteX8" fmla="*/ 319147 w 734839"/>
                <a:gd name="connsiteY8" fmla="*/ 583099 h 706604"/>
                <a:gd name="connsiteX9" fmla="*/ 123324 w 734839"/>
                <a:gd name="connsiteY9" fmla="*/ 355033 h 706604"/>
                <a:gd name="connsiteX10" fmla="*/ 319147 w 734839"/>
                <a:gd name="connsiteY10" fmla="*/ 123688 h 706604"/>
                <a:gd name="connsiteX11" fmla="*/ 415510 w 734839"/>
                <a:gd name="connsiteY11" fmla="*/ 123688 h 706604"/>
                <a:gd name="connsiteX12" fmla="*/ 610241 w 734839"/>
                <a:gd name="connsiteY12" fmla="*/ 353940 h 706604"/>
                <a:gd name="connsiteX13" fmla="*/ 415510 w 734839"/>
                <a:gd name="connsiteY13" fmla="*/ 583099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839" h="706604">
                  <a:moveTo>
                    <a:pt x="415510" y="0"/>
                  </a:moveTo>
                  <a:lnTo>
                    <a:pt x="319147" y="0"/>
                  </a:lnTo>
                  <a:cubicBezTo>
                    <a:pt x="114033" y="0"/>
                    <a:pt x="0" y="117130"/>
                    <a:pt x="0" y="354850"/>
                  </a:cubicBezTo>
                  <a:cubicBezTo>
                    <a:pt x="0" y="592571"/>
                    <a:pt x="113122" y="706604"/>
                    <a:pt x="319147" y="706604"/>
                  </a:cubicBezTo>
                  <a:lnTo>
                    <a:pt x="415510" y="706604"/>
                  </a:lnTo>
                  <a:cubicBezTo>
                    <a:pt x="621717" y="706604"/>
                    <a:pt x="734839" y="591478"/>
                    <a:pt x="734839" y="354850"/>
                  </a:cubicBezTo>
                  <a:cubicBezTo>
                    <a:pt x="734839" y="118223"/>
                    <a:pt x="620806" y="0"/>
                    <a:pt x="415510" y="0"/>
                  </a:cubicBezTo>
                  <a:close/>
                  <a:moveTo>
                    <a:pt x="415510" y="583099"/>
                  </a:moveTo>
                  <a:lnTo>
                    <a:pt x="319147" y="583099"/>
                  </a:lnTo>
                  <a:cubicBezTo>
                    <a:pt x="181980" y="583099"/>
                    <a:pt x="123324" y="516063"/>
                    <a:pt x="123324" y="355033"/>
                  </a:cubicBezTo>
                  <a:cubicBezTo>
                    <a:pt x="123324" y="194002"/>
                    <a:pt x="183073" y="123688"/>
                    <a:pt x="319147" y="123688"/>
                  </a:cubicBezTo>
                  <a:lnTo>
                    <a:pt x="415510" y="123688"/>
                  </a:lnTo>
                  <a:cubicBezTo>
                    <a:pt x="551585" y="123688"/>
                    <a:pt x="610241" y="192727"/>
                    <a:pt x="610241" y="353940"/>
                  </a:cubicBezTo>
                  <a:cubicBezTo>
                    <a:pt x="610241" y="515152"/>
                    <a:pt x="551585" y="583099"/>
                    <a:pt x="415510" y="583099"/>
                  </a:cubicBez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64CE981A-EE6B-6E7E-BFC5-20D0D481C719}"/>
                </a:ext>
              </a:extLst>
            </p:cNvPr>
            <p:cNvGrpSpPr/>
            <p:nvPr userDrawn="1"/>
          </p:nvGrpSpPr>
          <p:grpSpPr>
            <a:xfrm>
              <a:off x="2752724" y="1340236"/>
              <a:ext cx="6742703" cy="1822342"/>
              <a:chOff x="2752724" y="1340236"/>
              <a:chExt cx="6742703" cy="1822342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F3B85032-B3B2-4953-5CFC-2E228310F6AE}"/>
                  </a:ext>
                </a:extLst>
              </p:cNvPr>
              <p:cNvSpPr/>
              <p:nvPr/>
            </p:nvSpPr>
            <p:spPr>
              <a:xfrm>
                <a:off x="4281604" y="1938818"/>
                <a:ext cx="601496" cy="618437"/>
              </a:xfrm>
              <a:custGeom>
                <a:avLst/>
                <a:gdLst>
                  <a:gd name="connsiteX0" fmla="*/ 601497 w 601496"/>
                  <a:gd name="connsiteY0" fmla="*/ 0 h 618437"/>
                  <a:gd name="connsiteX1" fmla="*/ 58110 w 601496"/>
                  <a:gd name="connsiteY1" fmla="*/ 214586 h 618437"/>
                  <a:gd name="connsiteX2" fmla="*/ 0 w 601496"/>
                  <a:gd name="connsiteY2" fmla="*/ 309857 h 618437"/>
                  <a:gd name="connsiteX3" fmla="*/ 58292 w 601496"/>
                  <a:gd name="connsiteY3" fmla="*/ 405127 h 618437"/>
                  <a:gd name="connsiteX4" fmla="*/ 601497 w 601496"/>
                  <a:gd name="connsiteY4" fmla="*/ 618438 h 618437"/>
                  <a:gd name="connsiteX5" fmla="*/ 601497 w 601496"/>
                  <a:gd name="connsiteY5" fmla="*/ 495479 h 618437"/>
                  <a:gd name="connsiteX6" fmla="*/ 122048 w 601496"/>
                  <a:gd name="connsiteY6" fmla="*/ 309857 h 618437"/>
                  <a:gd name="connsiteX7" fmla="*/ 601497 w 601496"/>
                  <a:gd name="connsiteY7" fmla="*/ 124052 h 618437"/>
                  <a:gd name="connsiteX8" fmla="*/ 601497 w 601496"/>
                  <a:gd name="connsiteY8" fmla="*/ 0 h 61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1496" h="618437">
                    <a:moveTo>
                      <a:pt x="601497" y="0"/>
                    </a:moveTo>
                    <a:lnTo>
                      <a:pt x="58110" y="214586"/>
                    </a:lnTo>
                    <a:cubicBezTo>
                      <a:pt x="18580" y="230616"/>
                      <a:pt x="0" y="261037"/>
                      <a:pt x="0" y="309857"/>
                    </a:cubicBezTo>
                    <a:cubicBezTo>
                      <a:pt x="0" y="358676"/>
                      <a:pt x="19127" y="390554"/>
                      <a:pt x="58292" y="405127"/>
                    </a:cubicBezTo>
                    <a:lnTo>
                      <a:pt x="601497" y="618438"/>
                    </a:lnTo>
                    <a:lnTo>
                      <a:pt x="601497" y="495479"/>
                    </a:lnTo>
                    <a:lnTo>
                      <a:pt x="122048" y="309857"/>
                    </a:lnTo>
                    <a:lnTo>
                      <a:pt x="601497" y="124052"/>
                    </a:lnTo>
                    <a:lnTo>
                      <a:pt x="60149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1" name="Graphic 5">
                <a:extLst>
                  <a:ext uri="{FF2B5EF4-FFF2-40B4-BE49-F238E27FC236}">
                    <a16:creationId xmlns:a16="http://schemas.microsoft.com/office/drawing/2014/main" id="{319A0CF7-71D6-9FDE-3160-1B7BED8AEAC2}"/>
                  </a:ext>
                </a:extLst>
              </p:cNvPr>
              <p:cNvGrpSpPr/>
              <p:nvPr/>
            </p:nvGrpSpPr>
            <p:grpSpPr>
              <a:xfrm>
                <a:off x="5771867" y="2752351"/>
                <a:ext cx="3723560" cy="410227"/>
                <a:chOff x="5771867" y="2752351"/>
                <a:chExt cx="3723560" cy="410227"/>
              </a:xfrm>
              <a:solidFill>
                <a:schemeClr val="accent2"/>
              </a:solidFill>
            </p:grpSpPr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29BC6625-CB65-012C-A6AB-42EAED3D93DB}"/>
                    </a:ext>
                  </a:extLst>
                </p:cNvPr>
                <p:cNvSpPr/>
                <p:nvPr/>
              </p:nvSpPr>
              <p:spPr>
                <a:xfrm>
                  <a:off x="5771867" y="2752351"/>
                  <a:ext cx="623902" cy="410227"/>
                </a:xfrm>
                <a:custGeom>
                  <a:avLst/>
                  <a:gdLst>
                    <a:gd name="connsiteX0" fmla="*/ 73957 w 623902"/>
                    <a:gd name="connsiteY0" fmla="*/ 403305 h 410227"/>
                    <a:gd name="connsiteX1" fmla="*/ 0 w 623902"/>
                    <a:gd name="connsiteY1" fmla="*/ 403305 h 410227"/>
                    <a:gd name="connsiteX2" fmla="*/ 122777 w 623902"/>
                    <a:gd name="connsiteY2" fmla="*/ 73411 h 410227"/>
                    <a:gd name="connsiteX3" fmla="*/ 216043 w 623902"/>
                    <a:gd name="connsiteY3" fmla="*/ 0 h 410227"/>
                    <a:gd name="connsiteX4" fmla="*/ 304027 w 623902"/>
                    <a:gd name="connsiteY4" fmla="*/ 86345 h 410227"/>
                    <a:gd name="connsiteX5" fmla="*/ 304027 w 623902"/>
                    <a:gd name="connsiteY5" fmla="*/ 320604 h 410227"/>
                    <a:gd name="connsiteX6" fmla="*/ 324065 w 623902"/>
                    <a:gd name="connsiteY6" fmla="*/ 342828 h 410227"/>
                    <a:gd name="connsiteX7" fmla="*/ 346289 w 623902"/>
                    <a:gd name="connsiteY7" fmla="*/ 326251 h 410227"/>
                    <a:gd name="connsiteX8" fmla="*/ 442652 w 623902"/>
                    <a:gd name="connsiteY8" fmla="*/ 73411 h 410227"/>
                    <a:gd name="connsiteX9" fmla="*/ 535919 w 623902"/>
                    <a:gd name="connsiteY9" fmla="*/ 0 h 410227"/>
                    <a:gd name="connsiteX10" fmla="*/ 623903 w 623902"/>
                    <a:gd name="connsiteY10" fmla="*/ 86345 h 410227"/>
                    <a:gd name="connsiteX11" fmla="*/ 623903 w 623902"/>
                    <a:gd name="connsiteY11" fmla="*/ 403305 h 410227"/>
                    <a:gd name="connsiteX12" fmla="*/ 553953 w 623902"/>
                    <a:gd name="connsiteY12" fmla="*/ 403305 h 410227"/>
                    <a:gd name="connsiteX13" fmla="*/ 553953 w 623902"/>
                    <a:gd name="connsiteY13" fmla="*/ 89806 h 410227"/>
                    <a:gd name="connsiteX14" fmla="*/ 534097 w 623902"/>
                    <a:gd name="connsiteY14" fmla="*/ 66853 h 410227"/>
                    <a:gd name="connsiteX15" fmla="*/ 512420 w 623902"/>
                    <a:gd name="connsiteY15" fmla="*/ 83794 h 410227"/>
                    <a:gd name="connsiteX16" fmla="*/ 416057 w 623902"/>
                    <a:gd name="connsiteY16" fmla="*/ 336817 h 410227"/>
                    <a:gd name="connsiteX17" fmla="*/ 322061 w 623902"/>
                    <a:gd name="connsiteY17" fmla="*/ 410228 h 410227"/>
                    <a:gd name="connsiteX18" fmla="*/ 234624 w 623902"/>
                    <a:gd name="connsiteY18" fmla="*/ 323337 h 410227"/>
                    <a:gd name="connsiteX19" fmla="*/ 234624 w 623902"/>
                    <a:gd name="connsiteY19" fmla="*/ 89806 h 410227"/>
                    <a:gd name="connsiteX20" fmla="*/ 214040 w 623902"/>
                    <a:gd name="connsiteY20" fmla="*/ 66853 h 410227"/>
                    <a:gd name="connsiteX21" fmla="*/ 192362 w 623902"/>
                    <a:gd name="connsiteY21" fmla="*/ 83794 h 410227"/>
                    <a:gd name="connsiteX22" fmla="*/ 73775 w 623902"/>
                    <a:gd name="connsiteY22" fmla="*/ 403123 h 410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623902" h="410227">
                      <a:moveTo>
                        <a:pt x="73957" y="403305"/>
                      </a:moveTo>
                      <a:lnTo>
                        <a:pt x="0" y="403305"/>
                      </a:lnTo>
                      <a:lnTo>
                        <a:pt x="122777" y="73411"/>
                      </a:lnTo>
                      <a:cubicBezTo>
                        <a:pt x="137896" y="28235"/>
                        <a:pt x="163216" y="0"/>
                        <a:pt x="216043" y="0"/>
                      </a:cubicBezTo>
                      <a:cubicBezTo>
                        <a:pt x="274699" y="0"/>
                        <a:pt x="304027" y="34611"/>
                        <a:pt x="304027" y="86345"/>
                      </a:cubicBezTo>
                      <a:lnTo>
                        <a:pt x="304027" y="320604"/>
                      </a:lnTo>
                      <a:cubicBezTo>
                        <a:pt x="304027" y="334084"/>
                        <a:pt x="312225" y="342828"/>
                        <a:pt x="324065" y="342828"/>
                      </a:cubicBezTo>
                      <a:cubicBezTo>
                        <a:pt x="334630" y="342828"/>
                        <a:pt x="342828" y="336452"/>
                        <a:pt x="346289" y="326251"/>
                      </a:cubicBezTo>
                      <a:lnTo>
                        <a:pt x="442652" y="73411"/>
                      </a:lnTo>
                      <a:cubicBezTo>
                        <a:pt x="457954" y="28235"/>
                        <a:pt x="483092" y="0"/>
                        <a:pt x="535919" y="0"/>
                      </a:cubicBezTo>
                      <a:cubicBezTo>
                        <a:pt x="594575" y="0"/>
                        <a:pt x="623903" y="34611"/>
                        <a:pt x="623903" y="86345"/>
                      </a:cubicBezTo>
                      <a:lnTo>
                        <a:pt x="623903" y="403305"/>
                      </a:lnTo>
                      <a:lnTo>
                        <a:pt x="553953" y="403305"/>
                      </a:lnTo>
                      <a:lnTo>
                        <a:pt x="553953" y="89806"/>
                      </a:lnTo>
                      <a:cubicBezTo>
                        <a:pt x="553953" y="75597"/>
                        <a:pt x="545755" y="66853"/>
                        <a:pt x="534097" y="66853"/>
                      </a:cubicBezTo>
                      <a:cubicBezTo>
                        <a:pt x="524078" y="66853"/>
                        <a:pt x="515881" y="73958"/>
                        <a:pt x="512420" y="83794"/>
                      </a:cubicBezTo>
                      <a:lnTo>
                        <a:pt x="416057" y="336817"/>
                      </a:lnTo>
                      <a:cubicBezTo>
                        <a:pt x="400755" y="381992"/>
                        <a:pt x="374888" y="410228"/>
                        <a:pt x="322061" y="410228"/>
                      </a:cubicBezTo>
                      <a:cubicBezTo>
                        <a:pt x="263952" y="410228"/>
                        <a:pt x="234624" y="375617"/>
                        <a:pt x="234624" y="323337"/>
                      </a:cubicBezTo>
                      <a:lnTo>
                        <a:pt x="234624" y="89806"/>
                      </a:lnTo>
                      <a:cubicBezTo>
                        <a:pt x="234624" y="75597"/>
                        <a:pt x="225880" y="66853"/>
                        <a:pt x="214040" y="66853"/>
                      </a:cubicBezTo>
                      <a:cubicBezTo>
                        <a:pt x="203474" y="66853"/>
                        <a:pt x="196370" y="73958"/>
                        <a:pt x="192362" y="83794"/>
                      </a:cubicBezTo>
                      <a:lnTo>
                        <a:pt x="73775" y="403123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" name="Freeform: Shape 26">
                  <a:extLst>
                    <a:ext uri="{FF2B5EF4-FFF2-40B4-BE49-F238E27FC236}">
                      <a16:creationId xmlns:a16="http://schemas.microsoft.com/office/drawing/2014/main" id="{8A33E52D-F390-27C5-1632-D2521D1FFDFB}"/>
                    </a:ext>
                  </a:extLst>
                </p:cNvPr>
                <p:cNvSpPr/>
                <p:nvPr/>
              </p:nvSpPr>
              <p:spPr>
                <a:xfrm>
                  <a:off x="6448961" y="2752351"/>
                  <a:ext cx="438462" cy="403305"/>
                </a:xfrm>
                <a:custGeom>
                  <a:avLst/>
                  <a:gdLst>
                    <a:gd name="connsiteX0" fmla="*/ 76326 w 438462"/>
                    <a:gd name="connsiteY0" fmla="*/ 403305 h 403305"/>
                    <a:gd name="connsiteX1" fmla="*/ 0 w 438462"/>
                    <a:gd name="connsiteY1" fmla="*/ 403305 h 403305"/>
                    <a:gd name="connsiteX2" fmla="*/ 138989 w 438462"/>
                    <a:gd name="connsiteY2" fmla="*/ 51187 h 403305"/>
                    <a:gd name="connsiteX3" fmla="*/ 222419 w 438462"/>
                    <a:gd name="connsiteY3" fmla="*/ 0 h 403305"/>
                    <a:gd name="connsiteX4" fmla="*/ 304574 w 438462"/>
                    <a:gd name="connsiteY4" fmla="*/ 51187 h 403305"/>
                    <a:gd name="connsiteX5" fmla="*/ 438462 w 438462"/>
                    <a:gd name="connsiteY5" fmla="*/ 403305 h 403305"/>
                    <a:gd name="connsiteX6" fmla="*/ 361590 w 438462"/>
                    <a:gd name="connsiteY6" fmla="*/ 403305 h 403305"/>
                    <a:gd name="connsiteX7" fmla="*/ 241364 w 438462"/>
                    <a:gd name="connsiteY7" fmla="*/ 84523 h 403305"/>
                    <a:gd name="connsiteX8" fmla="*/ 222055 w 438462"/>
                    <a:gd name="connsiteY8" fmla="*/ 71043 h 403305"/>
                    <a:gd name="connsiteX9" fmla="*/ 202017 w 438462"/>
                    <a:gd name="connsiteY9" fmla="*/ 84523 h 403305"/>
                    <a:gd name="connsiteX10" fmla="*/ 76508 w 438462"/>
                    <a:gd name="connsiteY10" fmla="*/ 403305 h 40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8462" h="403305">
                      <a:moveTo>
                        <a:pt x="76326" y="403305"/>
                      </a:moveTo>
                      <a:lnTo>
                        <a:pt x="0" y="403305"/>
                      </a:lnTo>
                      <a:lnTo>
                        <a:pt x="138989" y="51187"/>
                      </a:lnTo>
                      <a:cubicBezTo>
                        <a:pt x="153744" y="14209"/>
                        <a:pt x="180704" y="0"/>
                        <a:pt x="222419" y="0"/>
                      </a:cubicBezTo>
                      <a:cubicBezTo>
                        <a:pt x="264134" y="0"/>
                        <a:pt x="290547" y="14209"/>
                        <a:pt x="304574" y="51187"/>
                      </a:cubicBezTo>
                      <a:lnTo>
                        <a:pt x="438462" y="403305"/>
                      </a:lnTo>
                      <a:lnTo>
                        <a:pt x="361590" y="403305"/>
                      </a:lnTo>
                      <a:lnTo>
                        <a:pt x="241364" y="84523"/>
                      </a:lnTo>
                      <a:cubicBezTo>
                        <a:pt x="237903" y="75051"/>
                        <a:pt x="231345" y="71043"/>
                        <a:pt x="222055" y="71043"/>
                      </a:cubicBezTo>
                      <a:cubicBezTo>
                        <a:pt x="212764" y="71043"/>
                        <a:pt x="206207" y="75051"/>
                        <a:pt x="202017" y="84523"/>
                      </a:cubicBezTo>
                      <a:lnTo>
                        <a:pt x="76508" y="403305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9831502D-478E-EDF8-2EB6-4C22A71C0A08}"/>
                    </a:ext>
                  </a:extLst>
                </p:cNvPr>
                <p:cNvSpPr/>
                <p:nvPr/>
              </p:nvSpPr>
              <p:spPr>
                <a:xfrm>
                  <a:off x="6939339" y="2759273"/>
                  <a:ext cx="350296" cy="396383"/>
                </a:xfrm>
                <a:custGeom>
                  <a:avLst/>
                  <a:gdLst>
                    <a:gd name="connsiteX0" fmla="*/ 214768 w 350296"/>
                    <a:gd name="connsiteY0" fmla="*/ 182 h 396383"/>
                    <a:gd name="connsiteX1" fmla="*/ 342099 w 350296"/>
                    <a:gd name="connsiteY1" fmla="*/ 118769 h 396383"/>
                    <a:gd name="connsiteX2" fmla="*/ 258123 w 350296"/>
                    <a:gd name="connsiteY2" fmla="*/ 237903 h 396383"/>
                    <a:gd name="connsiteX3" fmla="*/ 350296 w 350296"/>
                    <a:gd name="connsiteY3" fmla="*/ 396383 h 396383"/>
                    <a:gd name="connsiteX4" fmla="*/ 273424 w 350296"/>
                    <a:gd name="connsiteY4" fmla="*/ 396383 h 396383"/>
                    <a:gd name="connsiteX5" fmla="*/ 183072 w 350296"/>
                    <a:gd name="connsiteY5" fmla="*/ 243185 h 396383"/>
                    <a:gd name="connsiteX6" fmla="*/ 79787 w 350296"/>
                    <a:gd name="connsiteY6" fmla="*/ 243185 h 396383"/>
                    <a:gd name="connsiteX7" fmla="*/ 69768 w 350296"/>
                    <a:gd name="connsiteY7" fmla="*/ 253204 h 396383"/>
                    <a:gd name="connsiteX8" fmla="*/ 69768 w 350296"/>
                    <a:gd name="connsiteY8" fmla="*/ 396383 h 396383"/>
                    <a:gd name="connsiteX9" fmla="*/ 546 w 350296"/>
                    <a:gd name="connsiteY9" fmla="*/ 396383 h 396383"/>
                    <a:gd name="connsiteX10" fmla="*/ 546 w 350296"/>
                    <a:gd name="connsiteY10" fmla="*/ 239724 h 396383"/>
                    <a:gd name="connsiteX11" fmla="*/ 62846 w 350296"/>
                    <a:gd name="connsiteY11" fmla="*/ 176879 h 396383"/>
                    <a:gd name="connsiteX12" fmla="*/ 217136 w 350296"/>
                    <a:gd name="connsiteY12" fmla="*/ 176879 h 396383"/>
                    <a:gd name="connsiteX13" fmla="*/ 272331 w 350296"/>
                    <a:gd name="connsiteY13" fmla="*/ 121684 h 396383"/>
                    <a:gd name="connsiteX14" fmla="*/ 217136 w 350296"/>
                    <a:gd name="connsiteY14" fmla="*/ 69403 h 396383"/>
                    <a:gd name="connsiteX15" fmla="*/ 0 w 350296"/>
                    <a:gd name="connsiteY15" fmla="*/ 69403 h 396383"/>
                    <a:gd name="connsiteX16" fmla="*/ 0 w 350296"/>
                    <a:gd name="connsiteY16" fmla="*/ 0 h 396383"/>
                    <a:gd name="connsiteX17" fmla="*/ 214768 w 350296"/>
                    <a:gd name="connsiteY17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50296" h="396383">
                      <a:moveTo>
                        <a:pt x="214768" y="182"/>
                      </a:moveTo>
                      <a:cubicBezTo>
                        <a:pt x="304027" y="182"/>
                        <a:pt x="342099" y="55377"/>
                        <a:pt x="342099" y="118769"/>
                      </a:cubicBezTo>
                      <a:cubicBezTo>
                        <a:pt x="342099" y="168135"/>
                        <a:pt x="318600" y="220962"/>
                        <a:pt x="258123" y="237903"/>
                      </a:cubicBezTo>
                      <a:lnTo>
                        <a:pt x="350296" y="396383"/>
                      </a:lnTo>
                      <a:lnTo>
                        <a:pt x="273424" y="396383"/>
                      </a:lnTo>
                      <a:lnTo>
                        <a:pt x="183072" y="243185"/>
                      </a:lnTo>
                      <a:lnTo>
                        <a:pt x="79787" y="243185"/>
                      </a:lnTo>
                      <a:cubicBezTo>
                        <a:pt x="73411" y="243185"/>
                        <a:pt x="69768" y="246100"/>
                        <a:pt x="69768" y="253204"/>
                      </a:cubicBezTo>
                      <a:lnTo>
                        <a:pt x="69768" y="396383"/>
                      </a:lnTo>
                      <a:lnTo>
                        <a:pt x="546" y="396383"/>
                      </a:lnTo>
                      <a:lnTo>
                        <a:pt x="546" y="239724"/>
                      </a:lnTo>
                      <a:cubicBezTo>
                        <a:pt x="546" y="195095"/>
                        <a:pt x="19309" y="176879"/>
                        <a:pt x="62846" y="176879"/>
                      </a:cubicBezTo>
                      <a:lnTo>
                        <a:pt x="217136" y="176879"/>
                      </a:lnTo>
                      <a:cubicBezTo>
                        <a:pt x="256483" y="176879"/>
                        <a:pt x="272331" y="149919"/>
                        <a:pt x="272331" y="121684"/>
                      </a:cubicBezTo>
                      <a:cubicBezTo>
                        <a:pt x="272331" y="93449"/>
                        <a:pt x="255208" y="69403"/>
                        <a:pt x="217136" y="69403"/>
                      </a:cubicBezTo>
                      <a:lnTo>
                        <a:pt x="0" y="69403"/>
                      </a:lnTo>
                      <a:lnTo>
                        <a:pt x="0" y="0"/>
                      </a:lnTo>
                      <a:lnTo>
                        <a:pt x="214768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294CCC68-800D-44AA-E301-C0B61E7E188C}"/>
                    </a:ext>
                  </a:extLst>
                </p:cNvPr>
                <p:cNvSpPr/>
                <p:nvPr/>
              </p:nvSpPr>
              <p:spPr>
                <a:xfrm>
                  <a:off x="7335358" y="2759455"/>
                  <a:ext cx="354121" cy="396383"/>
                </a:xfrm>
                <a:custGeom>
                  <a:avLst/>
                  <a:gdLst>
                    <a:gd name="connsiteX0" fmla="*/ 324429 w 354121"/>
                    <a:gd name="connsiteY0" fmla="*/ 0 h 396383"/>
                    <a:gd name="connsiteX1" fmla="*/ 324429 w 354121"/>
                    <a:gd name="connsiteY1" fmla="*/ 69403 h 396383"/>
                    <a:gd name="connsiteX2" fmla="*/ 121320 w 354121"/>
                    <a:gd name="connsiteY2" fmla="*/ 69403 h 396383"/>
                    <a:gd name="connsiteX3" fmla="*/ 69586 w 354121"/>
                    <a:gd name="connsiteY3" fmla="*/ 116401 h 396383"/>
                    <a:gd name="connsiteX4" fmla="*/ 128241 w 354121"/>
                    <a:gd name="connsiteY4" fmla="*/ 163399 h 396383"/>
                    <a:gd name="connsiteX5" fmla="*/ 220962 w 354121"/>
                    <a:gd name="connsiteY5" fmla="*/ 163399 h 396383"/>
                    <a:gd name="connsiteX6" fmla="*/ 354122 w 354121"/>
                    <a:gd name="connsiteY6" fmla="*/ 280164 h 396383"/>
                    <a:gd name="connsiteX7" fmla="*/ 227884 w 354121"/>
                    <a:gd name="connsiteY7" fmla="*/ 396383 h 396383"/>
                    <a:gd name="connsiteX8" fmla="*/ 7286 w 354121"/>
                    <a:gd name="connsiteY8" fmla="*/ 396383 h 396383"/>
                    <a:gd name="connsiteX9" fmla="*/ 7286 w 354121"/>
                    <a:gd name="connsiteY9" fmla="*/ 327162 h 396383"/>
                    <a:gd name="connsiteX10" fmla="*/ 230252 w 354121"/>
                    <a:gd name="connsiteY10" fmla="*/ 327162 h 396383"/>
                    <a:gd name="connsiteX11" fmla="*/ 284718 w 354121"/>
                    <a:gd name="connsiteY11" fmla="*/ 277796 h 396383"/>
                    <a:gd name="connsiteX12" fmla="*/ 222419 w 354121"/>
                    <a:gd name="connsiteY12" fmla="*/ 228430 h 396383"/>
                    <a:gd name="connsiteX13" fmla="*/ 130245 w 354121"/>
                    <a:gd name="connsiteY13" fmla="*/ 228430 h 396383"/>
                    <a:gd name="connsiteX14" fmla="*/ 0 w 354121"/>
                    <a:gd name="connsiteY14" fmla="*/ 114033 h 396383"/>
                    <a:gd name="connsiteX15" fmla="*/ 123323 w 354121"/>
                    <a:gd name="connsiteY15" fmla="*/ 182 h 396383"/>
                    <a:gd name="connsiteX16" fmla="*/ 324065 w 354121"/>
                    <a:gd name="connsiteY16" fmla="*/ 182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54121" h="396383">
                      <a:moveTo>
                        <a:pt x="324429" y="0"/>
                      </a:moveTo>
                      <a:lnTo>
                        <a:pt x="324429" y="69403"/>
                      </a:lnTo>
                      <a:lnTo>
                        <a:pt x="121320" y="69403"/>
                      </a:lnTo>
                      <a:cubicBezTo>
                        <a:pt x="85616" y="69403"/>
                        <a:pt x="69586" y="88713"/>
                        <a:pt x="69586" y="116401"/>
                      </a:cubicBezTo>
                      <a:cubicBezTo>
                        <a:pt x="69586" y="140446"/>
                        <a:pt x="81973" y="163399"/>
                        <a:pt x="128241" y="163399"/>
                      </a:cubicBezTo>
                      <a:lnTo>
                        <a:pt x="220962" y="163399"/>
                      </a:lnTo>
                      <a:cubicBezTo>
                        <a:pt x="328983" y="163399"/>
                        <a:pt x="354122" y="223330"/>
                        <a:pt x="354122" y="280164"/>
                      </a:cubicBezTo>
                      <a:cubicBezTo>
                        <a:pt x="354122" y="347017"/>
                        <a:pt x="318418" y="396383"/>
                        <a:pt x="227884" y="396383"/>
                      </a:cubicBezTo>
                      <a:lnTo>
                        <a:pt x="7286" y="396383"/>
                      </a:lnTo>
                      <a:lnTo>
                        <a:pt x="7286" y="327162"/>
                      </a:lnTo>
                      <a:lnTo>
                        <a:pt x="230252" y="327162"/>
                      </a:lnTo>
                      <a:cubicBezTo>
                        <a:pt x="267777" y="327162"/>
                        <a:pt x="284718" y="306578"/>
                        <a:pt x="284718" y="277796"/>
                      </a:cubicBezTo>
                      <a:cubicBezTo>
                        <a:pt x="284718" y="251929"/>
                        <a:pt x="271238" y="228430"/>
                        <a:pt x="222419" y="228430"/>
                      </a:cubicBezTo>
                      <a:lnTo>
                        <a:pt x="130245" y="228430"/>
                      </a:lnTo>
                      <a:cubicBezTo>
                        <a:pt x="24592" y="228430"/>
                        <a:pt x="0" y="169228"/>
                        <a:pt x="0" y="114033"/>
                      </a:cubicBezTo>
                      <a:cubicBezTo>
                        <a:pt x="0" y="48273"/>
                        <a:pt x="35339" y="182"/>
                        <a:pt x="123323" y="182"/>
                      </a:cubicBezTo>
                      <a:lnTo>
                        <a:pt x="324065" y="182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74B65352-DF21-6250-9B6D-B845462A8BF9}"/>
                    </a:ext>
                  </a:extLst>
                </p:cNvPr>
                <p:cNvSpPr/>
                <p:nvPr/>
              </p:nvSpPr>
              <p:spPr>
                <a:xfrm>
                  <a:off x="7902973" y="2759091"/>
                  <a:ext cx="359222" cy="396383"/>
                </a:xfrm>
                <a:custGeom>
                  <a:avLst/>
                  <a:gdLst>
                    <a:gd name="connsiteX0" fmla="*/ 240089 w 359222"/>
                    <a:gd name="connsiteY0" fmla="*/ 364 h 396383"/>
                    <a:gd name="connsiteX1" fmla="*/ 359222 w 359222"/>
                    <a:gd name="connsiteY1" fmla="*/ 112576 h 396383"/>
                    <a:gd name="connsiteX2" fmla="*/ 267049 w 359222"/>
                    <a:gd name="connsiteY2" fmla="*/ 218776 h 396383"/>
                    <a:gd name="connsiteX3" fmla="*/ 102010 w 359222"/>
                    <a:gd name="connsiteY3" fmla="*/ 255755 h 396383"/>
                    <a:gd name="connsiteX4" fmla="*/ 69221 w 359222"/>
                    <a:gd name="connsiteY4" fmla="*/ 299109 h 396383"/>
                    <a:gd name="connsiteX5" fmla="*/ 69221 w 359222"/>
                    <a:gd name="connsiteY5" fmla="*/ 318965 h 396383"/>
                    <a:gd name="connsiteX6" fmla="*/ 76872 w 359222"/>
                    <a:gd name="connsiteY6" fmla="*/ 327162 h 396383"/>
                    <a:gd name="connsiteX7" fmla="*/ 348657 w 359222"/>
                    <a:gd name="connsiteY7" fmla="*/ 327162 h 396383"/>
                    <a:gd name="connsiteX8" fmla="*/ 348657 w 359222"/>
                    <a:gd name="connsiteY8" fmla="*/ 396383 h 396383"/>
                    <a:gd name="connsiteX9" fmla="*/ 32789 w 359222"/>
                    <a:gd name="connsiteY9" fmla="*/ 396383 h 396383"/>
                    <a:gd name="connsiteX10" fmla="*/ 0 w 359222"/>
                    <a:gd name="connsiteY10" fmla="*/ 364141 h 396383"/>
                    <a:gd name="connsiteX11" fmla="*/ 0 w 359222"/>
                    <a:gd name="connsiteY11" fmla="*/ 304209 h 396383"/>
                    <a:gd name="connsiteX12" fmla="*/ 86891 w 359222"/>
                    <a:gd name="connsiteY12" fmla="*/ 190359 h 396383"/>
                    <a:gd name="connsiteX13" fmla="*/ 253568 w 359222"/>
                    <a:gd name="connsiteY13" fmla="*/ 152287 h 396383"/>
                    <a:gd name="connsiteX14" fmla="*/ 290547 w 359222"/>
                    <a:gd name="connsiteY14" fmla="*/ 113487 h 396383"/>
                    <a:gd name="connsiteX15" fmla="*/ 241728 w 359222"/>
                    <a:gd name="connsiteY15" fmla="*/ 69403 h 396383"/>
                    <a:gd name="connsiteX16" fmla="*/ 12751 w 359222"/>
                    <a:gd name="connsiteY16" fmla="*/ 69403 h 396383"/>
                    <a:gd name="connsiteX17" fmla="*/ 12751 w 359222"/>
                    <a:gd name="connsiteY17" fmla="*/ 0 h 396383"/>
                    <a:gd name="connsiteX18" fmla="*/ 239906 w 359222"/>
                    <a:gd name="connsiteY18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9222" h="396383">
                      <a:moveTo>
                        <a:pt x="240089" y="364"/>
                      </a:moveTo>
                      <a:cubicBezTo>
                        <a:pt x="316414" y="364"/>
                        <a:pt x="359222" y="39711"/>
                        <a:pt x="359222" y="112576"/>
                      </a:cubicBezTo>
                      <a:cubicBezTo>
                        <a:pt x="359222" y="171232"/>
                        <a:pt x="330987" y="204203"/>
                        <a:pt x="267049" y="218776"/>
                      </a:cubicBezTo>
                      <a:lnTo>
                        <a:pt x="102010" y="255755"/>
                      </a:lnTo>
                      <a:cubicBezTo>
                        <a:pt x="74504" y="262130"/>
                        <a:pt x="69221" y="276885"/>
                        <a:pt x="69221" y="299109"/>
                      </a:cubicBezTo>
                      <a:lnTo>
                        <a:pt x="69221" y="318965"/>
                      </a:lnTo>
                      <a:cubicBezTo>
                        <a:pt x="69221" y="325340"/>
                        <a:pt x="71589" y="327162"/>
                        <a:pt x="76872" y="327162"/>
                      </a:cubicBezTo>
                      <a:lnTo>
                        <a:pt x="348657" y="327162"/>
                      </a:lnTo>
                      <a:lnTo>
                        <a:pt x="348657" y="396383"/>
                      </a:lnTo>
                      <a:lnTo>
                        <a:pt x="32789" y="396383"/>
                      </a:lnTo>
                      <a:cubicBezTo>
                        <a:pt x="10565" y="396383"/>
                        <a:pt x="0" y="385818"/>
                        <a:pt x="0" y="364141"/>
                      </a:cubicBezTo>
                      <a:lnTo>
                        <a:pt x="0" y="304209"/>
                      </a:lnTo>
                      <a:cubicBezTo>
                        <a:pt x="0" y="239542"/>
                        <a:pt x="19309" y="205478"/>
                        <a:pt x="86891" y="190359"/>
                      </a:cubicBezTo>
                      <a:lnTo>
                        <a:pt x="253568" y="152287"/>
                      </a:lnTo>
                      <a:cubicBezTo>
                        <a:pt x="281804" y="145911"/>
                        <a:pt x="290547" y="132431"/>
                        <a:pt x="290547" y="113487"/>
                      </a:cubicBezTo>
                      <a:cubicBezTo>
                        <a:pt x="290547" y="87073"/>
                        <a:pt x="273424" y="69403"/>
                        <a:pt x="241728" y="69403"/>
                      </a:cubicBezTo>
                      <a:lnTo>
                        <a:pt x="12751" y="69403"/>
                      </a:lnTo>
                      <a:lnTo>
                        <a:pt x="12751" y="0"/>
                      </a:lnTo>
                      <a:lnTo>
                        <a:pt x="239906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54B7BAC8-14E4-580F-0A27-70DBB40C5D47}"/>
                    </a:ext>
                  </a:extLst>
                </p:cNvPr>
                <p:cNvSpPr/>
                <p:nvPr/>
              </p:nvSpPr>
              <p:spPr>
                <a:xfrm>
                  <a:off x="8309922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4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4 w 358129"/>
                    <a:gd name="connsiteY3" fmla="*/ 0 h 407859"/>
                    <a:gd name="connsiteX4" fmla="*/ 358129 w 358129"/>
                    <a:gd name="connsiteY4" fmla="*/ 204203 h 407859"/>
                    <a:gd name="connsiteX5" fmla="*/ 68128 w 358129"/>
                    <a:gd name="connsiteY5" fmla="*/ 203656 h 407859"/>
                    <a:gd name="connsiteX6" fmla="*/ 179064 w 358129"/>
                    <a:gd name="connsiteY6" fmla="*/ 338638 h 407859"/>
                    <a:gd name="connsiteX7" fmla="*/ 289454 w 358129"/>
                    <a:gd name="connsiteY7" fmla="*/ 203656 h 407859"/>
                    <a:gd name="connsiteX8" fmla="*/ 179064 w 358129"/>
                    <a:gd name="connsiteY8" fmla="*/ 69221 h 407859"/>
                    <a:gd name="connsiteX9" fmla="*/ 68128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7" y="407860"/>
                        <a:pt x="179064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8" y="0"/>
                        <a:pt x="179064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128" y="203656"/>
                      </a:moveTo>
                      <a:cubicBezTo>
                        <a:pt x="68128" y="294555"/>
                        <a:pt x="101646" y="338638"/>
                        <a:pt x="179064" y="338638"/>
                      </a:cubicBezTo>
                      <a:cubicBezTo>
                        <a:pt x="256483" y="338638"/>
                        <a:pt x="289454" y="294555"/>
                        <a:pt x="289454" y="203656"/>
                      </a:cubicBezTo>
                      <a:cubicBezTo>
                        <a:pt x="289454" y="112758"/>
                        <a:pt x="255937" y="69221"/>
                        <a:pt x="179064" y="69221"/>
                      </a:cubicBezTo>
                      <a:cubicBezTo>
                        <a:pt x="102192" y="69221"/>
                        <a:pt x="68128" y="113304"/>
                        <a:pt x="68128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D2FECC8F-4E05-4AAA-AE6B-6CCC8FCE1DAD}"/>
                    </a:ext>
                  </a:extLst>
                </p:cNvPr>
                <p:cNvSpPr/>
                <p:nvPr/>
              </p:nvSpPr>
              <p:spPr>
                <a:xfrm>
                  <a:off x="8744558" y="2759273"/>
                  <a:ext cx="332262" cy="396201"/>
                </a:xfrm>
                <a:custGeom>
                  <a:avLst/>
                  <a:gdLst>
                    <a:gd name="connsiteX0" fmla="*/ 198374 w 332262"/>
                    <a:gd name="connsiteY0" fmla="*/ 182 h 396201"/>
                    <a:gd name="connsiteX1" fmla="*/ 330988 w 332262"/>
                    <a:gd name="connsiteY1" fmla="*/ 106382 h 396201"/>
                    <a:gd name="connsiteX2" fmla="*/ 274700 w 332262"/>
                    <a:gd name="connsiteY2" fmla="*/ 197281 h 396201"/>
                    <a:gd name="connsiteX3" fmla="*/ 332263 w 332262"/>
                    <a:gd name="connsiteY3" fmla="*/ 290001 h 396201"/>
                    <a:gd name="connsiteX4" fmla="*/ 200196 w 332262"/>
                    <a:gd name="connsiteY4" fmla="*/ 396201 h 396201"/>
                    <a:gd name="connsiteX5" fmla="*/ 0 w 332262"/>
                    <a:gd name="connsiteY5" fmla="*/ 396201 h 396201"/>
                    <a:gd name="connsiteX6" fmla="*/ 0 w 332262"/>
                    <a:gd name="connsiteY6" fmla="*/ 326980 h 396201"/>
                    <a:gd name="connsiteX7" fmla="*/ 200196 w 332262"/>
                    <a:gd name="connsiteY7" fmla="*/ 326980 h 396201"/>
                    <a:gd name="connsiteX8" fmla="*/ 260126 w 332262"/>
                    <a:gd name="connsiteY8" fmla="*/ 276521 h 396201"/>
                    <a:gd name="connsiteX9" fmla="*/ 199649 w 332262"/>
                    <a:gd name="connsiteY9" fmla="*/ 228977 h 396201"/>
                    <a:gd name="connsiteX10" fmla="*/ 77601 w 332262"/>
                    <a:gd name="connsiteY10" fmla="*/ 228977 h 396201"/>
                    <a:gd name="connsiteX11" fmla="*/ 77601 w 332262"/>
                    <a:gd name="connsiteY11" fmla="*/ 166131 h 396201"/>
                    <a:gd name="connsiteX12" fmla="*/ 197828 w 332262"/>
                    <a:gd name="connsiteY12" fmla="*/ 166131 h 396201"/>
                    <a:gd name="connsiteX13" fmla="*/ 258305 w 332262"/>
                    <a:gd name="connsiteY13" fmla="*/ 118587 h 396201"/>
                    <a:gd name="connsiteX14" fmla="*/ 198374 w 332262"/>
                    <a:gd name="connsiteY14" fmla="*/ 69403 h 396201"/>
                    <a:gd name="connsiteX15" fmla="*/ 546 w 332262"/>
                    <a:gd name="connsiteY15" fmla="*/ 69403 h 396201"/>
                    <a:gd name="connsiteX16" fmla="*/ 546 w 332262"/>
                    <a:gd name="connsiteY16" fmla="*/ 0 h 396201"/>
                    <a:gd name="connsiteX17" fmla="*/ 198374 w 332262"/>
                    <a:gd name="connsiteY17" fmla="*/ 0 h 39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262" h="396201">
                      <a:moveTo>
                        <a:pt x="198374" y="182"/>
                      </a:moveTo>
                      <a:cubicBezTo>
                        <a:pt x="291641" y="182"/>
                        <a:pt x="330988" y="45358"/>
                        <a:pt x="330988" y="106382"/>
                      </a:cubicBezTo>
                      <a:cubicBezTo>
                        <a:pt x="330988" y="153380"/>
                        <a:pt x="310950" y="182161"/>
                        <a:pt x="274700" y="197281"/>
                      </a:cubicBezTo>
                      <a:cubicBezTo>
                        <a:pt x="312225" y="213129"/>
                        <a:pt x="332263" y="242457"/>
                        <a:pt x="332263" y="290001"/>
                      </a:cubicBezTo>
                      <a:cubicBezTo>
                        <a:pt x="332263" y="349203"/>
                        <a:pt x="293462" y="396201"/>
                        <a:pt x="200196" y="396201"/>
                      </a:cubicBezTo>
                      <a:lnTo>
                        <a:pt x="0" y="396201"/>
                      </a:lnTo>
                      <a:lnTo>
                        <a:pt x="0" y="326980"/>
                      </a:lnTo>
                      <a:lnTo>
                        <a:pt x="200196" y="326980"/>
                      </a:lnTo>
                      <a:cubicBezTo>
                        <a:pt x="240636" y="326980"/>
                        <a:pt x="260126" y="308217"/>
                        <a:pt x="260126" y="276521"/>
                      </a:cubicBezTo>
                      <a:cubicBezTo>
                        <a:pt x="260126" y="244825"/>
                        <a:pt x="239542" y="228977"/>
                        <a:pt x="199649" y="228977"/>
                      </a:cubicBezTo>
                      <a:lnTo>
                        <a:pt x="77601" y="228977"/>
                      </a:lnTo>
                      <a:lnTo>
                        <a:pt x="77601" y="166131"/>
                      </a:lnTo>
                      <a:lnTo>
                        <a:pt x="197828" y="166131"/>
                      </a:lnTo>
                      <a:cubicBezTo>
                        <a:pt x="238267" y="166131"/>
                        <a:pt x="258305" y="151558"/>
                        <a:pt x="258305" y="118587"/>
                      </a:cubicBezTo>
                      <a:cubicBezTo>
                        <a:pt x="258305" y="88713"/>
                        <a:pt x="240089" y="69403"/>
                        <a:pt x="198374" y="69403"/>
                      </a:cubicBezTo>
                      <a:lnTo>
                        <a:pt x="546" y="69403"/>
                      </a:lnTo>
                      <a:lnTo>
                        <a:pt x="546" y="0"/>
                      </a:lnTo>
                      <a:lnTo>
                        <a:pt x="198374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C66597A4-A447-3FDB-9BCC-DBA9DB290C15}"/>
                    </a:ext>
                  </a:extLst>
                </p:cNvPr>
                <p:cNvSpPr/>
                <p:nvPr/>
              </p:nvSpPr>
              <p:spPr>
                <a:xfrm>
                  <a:off x="9137298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5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5 w 358129"/>
                    <a:gd name="connsiteY3" fmla="*/ 0 h 407859"/>
                    <a:gd name="connsiteX4" fmla="*/ 358129 w 358129"/>
                    <a:gd name="connsiteY4" fmla="*/ 204203 h 407859"/>
                    <a:gd name="connsiteX5" fmla="*/ 68311 w 358129"/>
                    <a:gd name="connsiteY5" fmla="*/ 203656 h 407859"/>
                    <a:gd name="connsiteX6" fmla="*/ 179247 w 358129"/>
                    <a:gd name="connsiteY6" fmla="*/ 338638 h 407859"/>
                    <a:gd name="connsiteX7" fmla="*/ 289637 w 358129"/>
                    <a:gd name="connsiteY7" fmla="*/ 203656 h 407859"/>
                    <a:gd name="connsiteX8" fmla="*/ 179247 w 358129"/>
                    <a:gd name="connsiteY8" fmla="*/ 69221 h 407859"/>
                    <a:gd name="connsiteX9" fmla="*/ 68311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8" y="407860"/>
                        <a:pt x="179065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9" y="0"/>
                        <a:pt x="179065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311" y="203656"/>
                      </a:moveTo>
                      <a:cubicBezTo>
                        <a:pt x="68311" y="294555"/>
                        <a:pt x="101646" y="338638"/>
                        <a:pt x="179247" y="338638"/>
                      </a:cubicBezTo>
                      <a:cubicBezTo>
                        <a:pt x="256848" y="338638"/>
                        <a:pt x="289637" y="294555"/>
                        <a:pt x="289637" y="203656"/>
                      </a:cubicBezTo>
                      <a:cubicBezTo>
                        <a:pt x="289637" y="112758"/>
                        <a:pt x="256301" y="69221"/>
                        <a:pt x="179247" y="69221"/>
                      </a:cubicBezTo>
                      <a:cubicBezTo>
                        <a:pt x="102193" y="69221"/>
                        <a:pt x="68311" y="113304"/>
                        <a:pt x="68311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0E087FE8-829C-B93F-5333-1E470A0C3D84}"/>
                  </a:ext>
                </a:extLst>
              </p:cNvPr>
              <p:cNvSpPr/>
              <p:nvPr/>
            </p:nvSpPr>
            <p:spPr>
              <a:xfrm>
                <a:off x="2752724" y="1340236"/>
                <a:ext cx="2907478" cy="415692"/>
              </a:xfrm>
              <a:custGeom>
                <a:avLst/>
                <a:gdLst>
                  <a:gd name="connsiteX0" fmla="*/ 591296 w 2907478"/>
                  <a:gd name="connsiteY0" fmla="*/ 82701 h 415692"/>
                  <a:gd name="connsiteX1" fmla="*/ 676547 w 2907478"/>
                  <a:gd name="connsiteY1" fmla="*/ 82701 h 415692"/>
                  <a:gd name="connsiteX2" fmla="*/ 766535 w 2907478"/>
                  <a:gd name="connsiteY2" fmla="*/ 277978 h 415692"/>
                  <a:gd name="connsiteX3" fmla="*/ 772729 w 2907478"/>
                  <a:gd name="connsiteY3" fmla="*/ 277978 h 415692"/>
                  <a:gd name="connsiteX4" fmla="*/ 772729 w 2907478"/>
                  <a:gd name="connsiteY4" fmla="*/ 82701 h 415692"/>
                  <a:gd name="connsiteX5" fmla="*/ 821548 w 2907478"/>
                  <a:gd name="connsiteY5" fmla="*/ 82701 h 415692"/>
                  <a:gd name="connsiteX6" fmla="*/ 821548 w 2907478"/>
                  <a:gd name="connsiteY6" fmla="*/ 332991 h 415692"/>
                  <a:gd name="connsiteX7" fmla="*/ 736296 w 2907478"/>
                  <a:gd name="connsiteY7" fmla="*/ 332991 h 415692"/>
                  <a:gd name="connsiteX8" fmla="*/ 645944 w 2907478"/>
                  <a:gd name="connsiteY8" fmla="*/ 137714 h 415692"/>
                  <a:gd name="connsiteX9" fmla="*/ 640115 w 2907478"/>
                  <a:gd name="connsiteY9" fmla="*/ 137714 h 415692"/>
                  <a:gd name="connsiteX10" fmla="*/ 640115 w 2907478"/>
                  <a:gd name="connsiteY10" fmla="*/ 332991 h 415692"/>
                  <a:gd name="connsiteX11" fmla="*/ 591296 w 2907478"/>
                  <a:gd name="connsiteY11" fmla="*/ 332991 h 415692"/>
                  <a:gd name="connsiteX12" fmla="*/ 591296 w 2907478"/>
                  <a:gd name="connsiteY12" fmla="*/ 82701 h 415692"/>
                  <a:gd name="connsiteX13" fmla="*/ 869274 w 2907478"/>
                  <a:gd name="connsiteY13" fmla="*/ 207846 h 415692"/>
                  <a:gd name="connsiteX14" fmla="*/ 997152 w 2907478"/>
                  <a:gd name="connsiteY14" fmla="*/ 76872 h 415692"/>
                  <a:gd name="connsiteX15" fmla="*/ 1113371 w 2907478"/>
                  <a:gd name="connsiteY15" fmla="*/ 174328 h 415692"/>
                  <a:gd name="connsiteX16" fmla="*/ 1063276 w 2907478"/>
                  <a:gd name="connsiteY16" fmla="*/ 174328 h 415692"/>
                  <a:gd name="connsiteX17" fmla="*/ 1010085 w 2907478"/>
                  <a:gd name="connsiteY17" fmla="*/ 122777 h 415692"/>
                  <a:gd name="connsiteX18" fmla="*/ 981850 w 2907478"/>
                  <a:gd name="connsiteY18" fmla="*/ 122777 h 415692"/>
                  <a:gd name="connsiteX19" fmla="*/ 919733 w 2907478"/>
                  <a:gd name="connsiteY19" fmla="*/ 208028 h 415692"/>
                  <a:gd name="connsiteX20" fmla="*/ 981850 w 2907478"/>
                  <a:gd name="connsiteY20" fmla="*/ 293280 h 415692"/>
                  <a:gd name="connsiteX21" fmla="*/ 1010085 w 2907478"/>
                  <a:gd name="connsiteY21" fmla="*/ 293280 h 415692"/>
                  <a:gd name="connsiteX22" fmla="*/ 1064005 w 2907478"/>
                  <a:gd name="connsiteY22" fmla="*/ 241728 h 415692"/>
                  <a:gd name="connsiteX23" fmla="*/ 1114099 w 2907478"/>
                  <a:gd name="connsiteY23" fmla="*/ 241728 h 415692"/>
                  <a:gd name="connsiteX24" fmla="*/ 995512 w 2907478"/>
                  <a:gd name="connsiteY24" fmla="*/ 339185 h 415692"/>
                  <a:gd name="connsiteX25" fmla="*/ 869092 w 2907478"/>
                  <a:gd name="connsiteY25" fmla="*/ 208210 h 415692"/>
                  <a:gd name="connsiteX26" fmla="*/ 1162736 w 2907478"/>
                  <a:gd name="connsiteY26" fmla="*/ 82701 h 415692"/>
                  <a:gd name="connsiteX27" fmla="*/ 1280413 w 2907478"/>
                  <a:gd name="connsiteY27" fmla="*/ 82701 h 415692"/>
                  <a:gd name="connsiteX28" fmla="*/ 1363296 w 2907478"/>
                  <a:gd name="connsiteY28" fmla="*/ 158663 h 415692"/>
                  <a:gd name="connsiteX29" fmla="*/ 1314841 w 2907478"/>
                  <a:gd name="connsiteY29" fmla="*/ 227520 h 415692"/>
                  <a:gd name="connsiteX30" fmla="*/ 1373133 w 2907478"/>
                  <a:gd name="connsiteY30" fmla="*/ 333173 h 415692"/>
                  <a:gd name="connsiteX31" fmla="*/ 1317574 w 2907478"/>
                  <a:gd name="connsiteY31" fmla="*/ 333173 h 415692"/>
                  <a:gd name="connsiteX32" fmla="*/ 1264018 w 2907478"/>
                  <a:gd name="connsiteY32" fmla="*/ 234988 h 415692"/>
                  <a:gd name="connsiteX33" fmla="*/ 1212466 w 2907478"/>
                  <a:gd name="connsiteY33" fmla="*/ 234988 h 415692"/>
                  <a:gd name="connsiteX34" fmla="*/ 1212466 w 2907478"/>
                  <a:gd name="connsiteY34" fmla="*/ 333173 h 415692"/>
                  <a:gd name="connsiteX35" fmla="*/ 1162736 w 2907478"/>
                  <a:gd name="connsiteY35" fmla="*/ 333173 h 415692"/>
                  <a:gd name="connsiteX36" fmla="*/ 1162736 w 2907478"/>
                  <a:gd name="connsiteY36" fmla="*/ 82701 h 415692"/>
                  <a:gd name="connsiteX37" fmla="*/ 1276951 w 2907478"/>
                  <a:gd name="connsiteY37" fmla="*/ 194548 h 415692"/>
                  <a:gd name="connsiteX38" fmla="*/ 1313748 w 2907478"/>
                  <a:gd name="connsiteY38" fmla="*/ 159756 h 415692"/>
                  <a:gd name="connsiteX39" fmla="*/ 1276951 w 2907478"/>
                  <a:gd name="connsiteY39" fmla="*/ 124963 h 415692"/>
                  <a:gd name="connsiteX40" fmla="*/ 1212466 w 2907478"/>
                  <a:gd name="connsiteY40" fmla="*/ 124963 h 415692"/>
                  <a:gd name="connsiteX41" fmla="*/ 1212466 w 2907478"/>
                  <a:gd name="connsiteY41" fmla="*/ 194548 h 415692"/>
                  <a:gd name="connsiteX42" fmla="*/ 1276951 w 2907478"/>
                  <a:gd name="connsiteY42" fmla="*/ 194548 h 415692"/>
                  <a:gd name="connsiteX43" fmla="*/ 1555841 w 2907478"/>
                  <a:gd name="connsiteY43" fmla="*/ 82701 h 415692"/>
                  <a:gd name="connsiteX44" fmla="*/ 1645100 w 2907478"/>
                  <a:gd name="connsiteY44" fmla="*/ 82701 h 415692"/>
                  <a:gd name="connsiteX45" fmla="*/ 1728347 w 2907478"/>
                  <a:gd name="connsiteY45" fmla="*/ 332991 h 415692"/>
                  <a:gd name="connsiteX46" fmla="*/ 1677160 w 2907478"/>
                  <a:gd name="connsiteY46" fmla="*/ 332991 h 415692"/>
                  <a:gd name="connsiteX47" fmla="*/ 1656394 w 2907478"/>
                  <a:gd name="connsiteY47" fmla="*/ 270874 h 415692"/>
                  <a:gd name="connsiteX48" fmla="*/ 1543271 w 2907478"/>
                  <a:gd name="connsiteY48" fmla="*/ 270874 h 415692"/>
                  <a:gd name="connsiteX49" fmla="*/ 1522505 w 2907478"/>
                  <a:gd name="connsiteY49" fmla="*/ 332991 h 415692"/>
                  <a:gd name="connsiteX50" fmla="*/ 1472411 w 2907478"/>
                  <a:gd name="connsiteY50" fmla="*/ 332991 h 415692"/>
                  <a:gd name="connsiteX51" fmla="*/ 1555658 w 2907478"/>
                  <a:gd name="connsiteY51" fmla="*/ 82701 h 415692"/>
                  <a:gd name="connsiteX52" fmla="*/ 1641821 w 2907478"/>
                  <a:gd name="connsiteY52" fmla="*/ 227702 h 415692"/>
                  <a:gd name="connsiteX53" fmla="*/ 1609760 w 2907478"/>
                  <a:gd name="connsiteY53" fmla="*/ 131521 h 415692"/>
                  <a:gd name="connsiteX54" fmla="*/ 1589358 w 2907478"/>
                  <a:gd name="connsiteY54" fmla="*/ 131521 h 415692"/>
                  <a:gd name="connsiteX55" fmla="*/ 1557298 w 2907478"/>
                  <a:gd name="connsiteY55" fmla="*/ 227702 h 415692"/>
                  <a:gd name="connsiteX56" fmla="*/ 1641821 w 2907478"/>
                  <a:gd name="connsiteY56" fmla="*/ 227702 h 415692"/>
                  <a:gd name="connsiteX57" fmla="*/ 1797751 w 2907478"/>
                  <a:gd name="connsiteY57" fmla="*/ 127149 h 415692"/>
                  <a:gd name="connsiteX58" fmla="*/ 1719604 w 2907478"/>
                  <a:gd name="connsiteY58" fmla="*/ 127149 h 415692"/>
                  <a:gd name="connsiteX59" fmla="*/ 1719604 w 2907478"/>
                  <a:gd name="connsiteY59" fmla="*/ 82519 h 415692"/>
                  <a:gd name="connsiteX60" fmla="*/ 1925446 w 2907478"/>
                  <a:gd name="connsiteY60" fmla="*/ 82519 h 415692"/>
                  <a:gd name="connsiteX61" fmla="*/ 1925446 w 2907478"/>
                  <a:gd name="connsiteY61" fmla="*/ 127149 h 415692"/>
                  <a:gd name="connsiteX62" fmla="*/ 1847663 w 2907478"/>
                  <a:gd name="connsiteY62" fmla="*/ 127149 h 415692"/>
                  <a:gd name="connsiteX63" fmla="*/ 1847663 w 2907478"/>
                  <a:gd name="connsiteY63" fmla="*/ 332991 h 415692"/>
                  <a:gd name="connsiteX64" fmla="*/ 1797933 w 2907478"/>
                  <a:gd name="connsiteY64" fmla="*/ 332991 h 415692"/>
                  <a:gd name="connsiteX65" fmla="*/ 1797933 w 2907478"/>
                  <a:gd name="connsiteY65" fmla="*/ 127149 h 415692"/>
                  <a:gd name="connsiteX66" fmla="*/ 1969165 w 2907478"/>
                  <a:gd name="connsiteY66" fmla="*/ 82701 h 415692"/>
                  <a:gd name="connsiteX67" fmla="*/ 2018895 w 2907478"/>
                  <a:gd name="connsiteY67" fmla="*/ 82701 h 415692"/>
                  <a:gd name="connsiteX68" fmla="*/ 2018895 w 2907478"/>
                  <a:gd name="connsiteY68" fmla="*/ 288544 h 415692"/>
                  <a:gd name="connsiteX69" fmla="*/ 2144768 w 2907478"/>
                  <a:gd name="connsiteY69" fmla="*/ 288544 h 415692"/>
                  <a:gd name="connsiteX70" fmla="*/ 2144768 w 2907478"/>
                  <a:gd name="connsiteY70" fmla="*/ 333173 h 415692"/>
                  <a:gd name="connsiteX71" fmla="*/ 1969165 w 2907478"/>
                  <a:gd name="connsiteY71" fmla="*/ 333173 h 415692"/>
                  <a:gd name="connsiteX72" fmla="*/ 1969165 w 2907478"/>
                  <a:gd name="connsiteY72" fmla="*/ 82701 h 415692"/>
                  <a:gd name="connsiteX73" fmla="*/ 2188305 w 2907478"/>
                  <a:gd name="connsiteY73" fmla="*/ 82701 h 415692"/>
                  <a:gd name="connsiteX74" fmla="*/ 2371742 w 2907478"/>
                  <a:gd name="connsiteY74" fmla="*/ 82701 h 415692"/>
                  <a:gd name="connsiteX75" fmla="*/ 2371742 w 2907478"/>
                  <a:gd name="connsiteY75" fmla="*/ 124963 h 415692"/>
                  <a:gd name="connsiteX76" fmla="*/ 2237489 w 2907478"/>
                  <a:gd name="connsiteY76" fmla="*/ 124963 h 415692"/>
                  <a:gd name="connsiteX77" fmla="*/ 2237489 w 2907478"/>
                  <a:gd name="connsiteY77" fmla="*/ 183983 h 415692"/>
                  <a:gd name="connsiteX78" fmla="*/ 2361905 w 2907478"/>
                  <a:gd name="connsiteY78" fmla="*/ 183983 h 415692"/>
                  <a:gd name="connsiteX79" fmla="*/ 2361905 w 2907478"/>
                  <a:gd name="connsiteY79" fmla="*/ 225516 h 415692"/>
                  <a:gd name="connsiteX80" fmla="*/ 2237489 w 2907478"/>
                  <a:gd name="connsiteY80" fmla="*/ 225516 h 415692"/>
                  <a:gd name="connsiteX81" fmla="*/ 2237489 w 2907478"/>
                  <a:gd name="connsiteY81" fmla="*/ 290912 h 415692"/>
                  <a:gd name="connsiteX82" fmla="*/ 2373563 w 2907478"/>
                  <a:gd name="connsiteY82" fmla="*/ 290912 h 415692"/>
                  <a:gd name="connsiteX83" fmla="*/ 2373563 w 2907478"/>
                  <a:gd name="connsiteY83" fmla="*/ 333173 h 415692"/>
                  <a:gd name="connsiteX84" fmla="*/ 2188123 w 2907478"/>
                  <a:gd name="connsiteY84" fmla="*/ 333173 h 415692"/>
                  <a:gd name="connsiteX85" fmla="*/ 2188123 w 2907478"/>
                  <a:gd name="connsiteY85" fmla="*/ 82701 h 415692"/>
                  <a:gd name="connsiteX86" fmla="*/ 2409085 w 2907478"/>
                  <a:gd name="connsiteY86" fmla="*/ 207846 h 415692"/>
                  <a:gd name="connsiteX87" fmla="*/ 2538601 w 2907478"/>
                  <a:gd name="connsiteY87" fmla="*/ 76872 h 415692"/>
                  <a:gd name="connsiteX88" fmla="*/ 2667754 w 2907478"/>
                  <a:gd name="connsiteY88" fmla="*/ 207846 h 415692"/>
                  <a:gd name="connsiteX89" fmla="*/ 2538601 w 2907478"/>
                  <a:gd name="connsiteY89" fmla="*/ 338820 h 415692"/>
                  <a:gd name="connsiteX90" fmla="*/ 2409085 w 2907478"/>
                  <a:gd name="connsiteY90" fmla="*/ 207846 h 415692"/>
                  <a:gd name="connsiteX91" fmla="*/ 2525121 w 2907478"/>
                  <a:gd name="connsiteY91" fmla="*/ 293098 h 415692"/>
                  <a:gd name="connsiteX92" fmla="*/ 2552081 w 2907478"/>
                  <a:gd name="connsiteY92" fmla="*/ 293098 h 415692"/>
                  <a:gd name="connsiteX93" fmla="*/ 2616566 w 2907478"/>
                  <a:gd name="connsiteY93" fmla="*/ 207846 h 415692"/>
                  <a:gd name="connsiteX94" fmla="*/ 2552081 w 2907478"/>
                  <a:gd name="connsiteY94" fmla="*/ 122595 h 415692"/>
                  <a:gd name="connsiteX95" fmla="*/ 2525121 w 2907478"/>
                  <a:gd name="connsiteY95" fmla="*/ 122595 h 415692"/>
                  <a:gd name="connsiteX96" fmla="*/ 2459726 w 2907478"/>
                  <a:gd name="connsiteY96" fmla="*/ 207846 h 415692"/>
                  <a:gd name="connsiteX97" fmla="*/ 2525121 w 2907478"/>
                  <a:gd name="connsiteY97" fmla="*/ 293098 h 415692"/>
                  <a:gd name="connsiteX98" fmla="*/ 2701089 w 2907478"/>
                  <a:gd name="connsiteY98" fmla="*/ 255937 h 415692"/>
                  <a:gd name="connsiteX99" fmla="*/ 2751913 w 2907478"/>
                  <a:gd name="connsiteY99" fmla="*/ 255937 h 415692"/>
                  <a:gd name="connsiteX100" fmla="*/ 2791806 w 2907478"/>
                  <a:gd name="connsiteY100" fmla="*/ 294191 h 415692"/>
                  <a:gd name="connsiteX101" fmla="*/ 2823866 w 2907478"/>
                  <a:gd name="connsiteY101" fmla="*/ 294191 h 415692"/>
                  <a:gd name="connsiteX102" fmla="*/ 2858295 w 2907478"/>
                  <a:gd name="connsiteY102" fmla="*/ 262859 h 415692"/>
                  <a:gd name="connsiteX103" fmla="*/ 2828967 w 2907478"/>
                  <a:gd name="connsiteY103" fmla="*/ 232802 h 415692"/>
                  <a:gd name="connsiteX104" fmla="*/ 2775776 w 2907478"/>
                  <a:gd name="connsiteY104" fmla="*/ 226973 h 415692"/>
                  <a:gd name="connsiteX105" fmla="*/ 2707647 w 2907478"/>
                  <a:gd name="connsiteY105" fmla="*/ 154655 h 415692"/>
                  <a:gd name="connsiteX106" fmla="*/ 2803828 w 2907478"/>
                  <a:gd name="connsiteY106" fmla="*/ 76872 h 415692"/>
                  <a:gd name="connsiteX107" fmla="*/ 2902013 w 2907478"/>
                  <a:gd name="connsiteY107" fmla="*/ 159391 h 415692"/>
                  <a:gd name="connsiteX108" fmla="*/ 2851555 w 2907478"/>
                  <a:gd name="connsiteY108" fmla="*/ 159391 h 415692"/>
                  <a:gd name="connsiteX109" fmla="*/ 2815122 w 2907478"/>
                  <a:gd name="connsiteY109" fmla="*/ 121502 h 415692"/>
                  <a:gd name="connsiteX110" fmla="*/ 2788527 w 2907478"/>
                  <a:gd name="connsiteY110" fmla="*/ 121502 h 415692"/>
                  <a:gd name="connsiteX111" fmla="*/ 2756467 w 2907478"/>
                  <a:gd name="connsiteY111" fmla="*/ 151194 h 415692"/>
                  <a:gd name="connsiteX112" fmla="*/ 2787434 w 2907478"/>
                  <a:gd name="connsiteY112" fmla="*/ 182526 h 415692"/>
                  <a:gd name="connsiteX113" fmla="*/ 2840625 w 2907478"/>
                  <a:gd name="connsiteY113" fmla="*/ 188355 h 415692"/>
                  <a:gd name="connsiteX114" fmla="*/ 2907478 w 2907478"/>
                  <a:gd name="connsiteY114" fmla="*/ 260309 h 415692"/>
                  <a:gd name="connsiteX115" fmla="*/ 2804557 w 2907478"/>
                  <a:gd name="connsiteY115" fmla="*/ 339002 h 415692"/>
                  <a:gd name="connsiteX116" fmla="*/ 2700907 w 2907478"/>
                  <a:gd name="connsiteY116" fmla="*/ 256119 h 415692"/>
                  <a:gd name="connsiteX117" fmla="*/ 207846 w 2907478"/>
                  <a:gd name="connsiteY117" fmla="*/ 0 h 415692"/>
                  <a:gd name="connsiteX118" fmla="*/ 207846 w 2907478"/>
                  <a:gd name="connsiteY118" fmla="*/ 0 h 415692"/>
                  <a:gd name="connsiteX119" fmla="*/ 0 w 2907478"/>
                  <a:gd name="connsiteY119" fmla="*/ 207846 h 415692"/>
                  <a:gd name="connsiteX120" fmla="*/ 207846 w 2907478"/>
                  <a:gd name="connsiteY120" fmla="*/ 415692 h 415692"/>
                  <a:gd name="connsiteX121" fmla="*/ 207846 w 2907478"/>
                  <a:gd name="connsiteY121" fmla="*/ 415692 h 415692"/>
                  <a:gd name="connsiteX122" fmla="*/ 415692 w 2907478"/>
                  <a:gd name="connsiteY122" fmla="*/ 207846 h 415692"/>
                  <a:gd name="connsiteX123" fmla="*/ 207846 w 2907478"/>
                  <a:gd name="connsiteY123" fmla="*/ 0 h 415692"/>
                  <a:gd name="connsiteX124" fmla="*/ 207846 w 2907478"/>
                  <a:gd name="connsiteY124" fmla="*/ 398569 h 415692"/>
                  <a:gd name="connsiteX125" fmla="*/ 142815 w 2907478"/>
                  <a:gd name="connsiteY125" fmla="*/ 353940 h 415692"/>
                  <a:gd name="connsiteX126" fmla="*/ 149919 w 2907478"/>
                  <a:gd name="connsiteY126" fmla="*/ 351389 h 415692"/>
                  <a:gd name="connsiteX127" fmla="*/ 268870 w 2907478"/>
                  <a:gd name="connsiteY127" fmla="*/ 280529 h 415692"/>
                  <a:gd name="connsiteX128" fmla="*/ 307306 w 2907478"/>
                  <a:gd name="connsiteY128" fmla="*/ 244278 h 415692"/>
                  <a:gd name="connsiteX129" fmla="*/ 207846 w 2907478"/>
                  <a:gd name="connsiteY129" fmla="*/ 398569 h 415692"/>
                  <a:gd name="connsiteX130" fmla="*/ 62117 w 2907478"/>
                  <a:gd name="connsiteY130" fmla="*/ 330805 h 415692"/>
                  <a:gd name="connsiteX131" fmla="*/ 61388 w 2907478"/>
                  <a:gd name="connsiteY131" fmla="*/ 330076 h 415692"/>
                  <a:gd name="connsiteX132" fmla="*/ 91263 w 2907478"/>
                  <a:gd name="connsiteY132" fmla="*/ 247193 h 415692"/>
                  <a:gd name="connsiteX133" fmla="*/ 111301 w 2907478"/>
                  <a:gd name="connsiteY133" fmla="*/ 330076 h 415692"/>
                  <a:gd name="connsiteX134" fmla="*/ 62117 w 2907478"/>
                  <a:gd name="connsiteY134" fmla="*/ 330805 h 415692"/>
                  <a:gd name="connsiteX135" fmla="*/ 207846 w 2907478"/>
                  <a:gd name="connsiteY135" fmla="*/ 17123 h 415692"/>
                  <a:gd name="connsiteX136" fmla="*/ 207846 w 2907478"/>
                  <a:gd name="connsiteY136" fmla="*/ 17123 h 415692"/>
                  <a:gd name="connsiteX137" fmla="*/ 272878 w 2907478"/>
                  <a:gd name="connsiteY137" fmla="*/ 61753 h 415692"/>
                  <a:gd name="connsiteX138" fmla="*/ 265774 w 2907478"/>
                  <a:gd name="connsiteY138" fmla="*/ 64303 h 415692"/>
                  <a:gd name="connsiteX139" fmla="*/ 146822 w 2907478"/>
                  <a:gd name="connsiteY139" fmla="*/ 135164 h 415692"/>
                  <a:gd name="connsiteX140" fmla="*/ 108386 w 2907478"/>
                  <a:gd name="connsiteY140" fmla="*/ 171414 h 415692"/>
                  <a:gd name="connsiteX141" fmla="*/ 207846 w 2907478"/>
                  <a:gd name="connsiteY141" fmla="*/ 17123 h 415692"/>
                  <a:gd name="connsiteX142" fmla="*/ 353393 w 2907478"/>
                  <a:gd name="connsiteY142" fmla="*/ 84887 h 415692"/>
                  <a:gd name="connsiteX143" fmla="*/ 354122 w 2907478"/>
                  <a:gd name="connsiteY143" fmla="*/ 85616 h 415692"/>
                  <a:gd name="connsiteX144" fmla="*/ 324247 w 2907478"/>
                  <a:gd name="connsiteY144" fmla="*/ 168499 h 415692"/>
                  <a:gd name="connsiteX145" fmla="*/ 304210 w 2907478"/>
                  <a:gd name="connsiteY145" fmla="*/ 85616 h 415692"/>
                  <a:gd name="connsiteX146" fmla="*/ 353393 w 2907478"/>
                  <a:gd name="connsiteY146" fmla="*/ 84887 h 415692"/>
                  <a:gd name="connsiteX147" fmla="*/ 139171 w 2907478"/>
                  <a:gd name="connsiteY147" fmla="*/ 190177 h 415692"/>
                  <a:gd name="connsiteX148" fmla="*/ 207846 w 2907478"/>
                  <a:gd name="connsiteY148" fmla="*/ 188901 h 415692"/>
                  <a:gd name="connsiteX149" fmla="*/ 306942 w 2907478"/>
                  <a:gd name="connsiteY149" fmla="*/ 191634 h 415692"/>
                  <a:gd name="connsiteX150" fmla="*/ 276521 w 2907478"/>
                  <a:gd name="connsiteY150" fmla="*/ 225334 h 415692"/>
                  <a:gd name="connsiteX151" fmla="*/ 207846 w 2907478"/>
                  <a:gd name="connsiteY151" fmla="*/ 226609 h 415692"/>
                  <a:gd name="connsiteX152" fmla="*/ 108750 w 2907478"/>
                  <a:gd name="connsiteY152" fmla="*/ 223876 h 415692"/>
                  <a:gd name="connsiteX153" fmla="*/ 139171 w 2907478"/>
                  <a:gd name="connsiteY153" fmla="*/ 190177 h 415692"/>
                  <a:gd name="connsiteX154" fmla="*/ 307488 w 2907478"/>
                  <a:gd name="connsiteY154" fmla="*/ 174693 h 415692"/>
                  <a:gd name="connsiteX155" fmla="*/ 207664 w 2907478"/>
                  <a:gd name="connsiteY155" fmla="*/ 171960 h 415692"/>
                  <a:gd name="connsiteX156" fmla="*/ 157570 w 2907478"/>
                  <a:gd name="connsiteY156" fmla="*/ 172689 h 415692"/>
                  <a:gd name="connsiteX157" fmla="*/ 169410 w 2907478"/>
                  <a:gd name="connsiteY157" fmla="*/ 162306 h 415692"/>
                  <a:gd name="connsiteX158" fmla="*/ 247193 w 2907478"/>
                  <a:gd name="connsiteY158" fmla="*/ 109661 h 415692"/>
                  <a:gd name="connsiteX159" fmla="*/ 287815 w 2907478"/>
                  <a:gd name="connsiteY159" fmla="*/ 91445 h 415692"/>
                  <a:gd name="connsiteX160" fmla="*/ 307488 w 2907478"/>
                  <a:gd name="connsiteY160" fmla="*/ 174875 h 415692"/>
                  <a:gd name="connsiteX161" fmla="*/ 68675 w 2907478"/>
                  <a:gd name="connsiteY161" fmla="*/ 220597 h 415692"/>
                  <a:gd name="connsiteX162" fmla="*/ 17123 w 2907478"/>
                  <a:gd name="connsiteY162" fmla="*/ 207664 h 415692"/>
                  <a:gd name="connsiteX163" fmla="*/ 89259 w 2907478"/>
                  <a:gd name="connsiteY163" fmla="*/ 192909 h 415692"/>
                  <a:gd name="connsiteX164" fmla="*/ 68675 w 2907478"/>
                  <a:gd name="connsiteY164" fmla="*/ 220597 h 415692"/>
                  <a:gd name="connsiteX165" fmla="*/ 28235 w 2907478"/>
                  <a:gd name="connsiteY165" fmla="*/ 231709 h 415692"/>
                  <a:gd name="connsiteX166" fmla="*/ 58292 w 2907478"/>
                  <a:gd name="connsiteY166" fmla="*/ 236628 h 415692"/>
                  <a:gd name="connsiteX167" fmla="*/ 56288 w 2907478"/>
                  <a:gd name="connsiteY167" fmla="*/ 239907 h 415692"/>
                  <a:gd name="connsiteX168" fmla="*/ 35886 w 2907478"/>
                  <a:gd name="connsiteY168" fmla="*/ 290547 h 415692"/>
                  <a:gd name="connsiteX169" fmla="*/ 18216 w 2907478"/>
                  <a:gd name="connsiteY169" fmla="*/ 228977 h 415692"/>
                  <a:gd name="connsiteX170" fmla="*/ 28235 w 2907478"/>
                  <a:gd name="connsiteY170" fmla="*/ 231709 h 415692"/>
                  <a:gd name="connsiteX171" fmla="*/ 108022 w 2907478"/>
                  <a:gd name="connsiteY171" fmla="*/ 241000 h 415692"/>
                  <a:gd name="connsiteX172" fmla="*/ 207846 w 2907478"/>
                  <a:gd name="connsiteY172" fmla="*/ 243732 h 415692"/>
                  <a:gd name="connsiteX173" fmla="*/ 257941 w 2907478"/>
                  <a:gd name="connsiteY173" fmla="*/ 243003 h 415692"/>
                  <a:gd name="connsiteX174" fmla="*/ 246100 w 2907478"/>
                  <a:gd name="connsiteY174" fmla="*/ 253387 h 415692"/>
                  <a:gd name="connsiteX175" fmla="*/ 168317 w 2907478"/>
                  <a:gd name="connsiteY175" fmla="*/ 306031 h 415692"/>
                  <a:gd name="connsiteX176" fmla="*/ 127695 w 2907478"/>
                  <a:gd name="connsiteY176" fmla="*/ 324247 h 415692"/>
                  <a:gd name="connsiteX177" fmla="*/ 108022 w 2907478"/>
                  <a:gd name="connsiteY177" fmla="*/ 240817 h 415692"/>
                  <a:gd name="connsiteX178" fmla="*/ 347017 w 2907478"/>
                  <a:gd name="connsiteY178" fmla="*/ 194913 h 415692"/>
                  <a:gd name="connsiteX179" fmla="*/ 398569 w 2907478"/>
                  <a:gd name="connsiteY179" fmla="*/ 207846 h 415692"/>
                  <a:gd name="connsiteX180" fmla="*/ 326433 w 2907478"/>
                  <a:gd name="connsiteY180" fmla="*/ 222601 h 415692"/>
                  <a:gd name="connsiteX181" fmla="*/ 347017 w 2907478"/>
                  <a:gd name="connsiteY181" fmla="*/ 194913 h 415692"/>
                  <a:gd name="connsiteX182" fmla="*/ 387275 w 2907478"/>
                  <a:gd name="connsiteY182" fmla="*/ 183801 h 415692"/>
                  <a:gd name="connsiteX183" fmla="*/ 357219 w 2907478"/>
                  <a:gd name="connsiteY183" fmla="*/ 178882 h 415692"/>
                  <a:gd name="connsiteX184" fmla="*/ 359222 w 2907478"/>
                  <a:gd name="connsiteY184" fmla="*/ 175604 h 415692"/>
                  <a:gd name="connsiteX185" fmla="*/ 379624 w 2907478"/>
                  <a:gd name="connsiteY185" fmla="*/ 124963 h 415692"/>
                  <a:gd name="connsiteX186" fmla="*/ 397294 w 2907478"/>
                  <a:gd name="connsiteY186" fmla="*/ 186533 h 415692"/>
                  <a:gd name="connsiteX187" fmla="*/ 387275 w 2907478"/>
                  <a:gd name="connsiteY187" fmla="*/ 183801 h 415692"/>
                  <a:gd name="connsiteX188" fmla="*/ 318965 w 2907478"/>
                  <a:gd name="connsiteY188" fmla="*/ 53009 h 415692"/>
                  <a:gd name="connsiteX189" fmla="*/ 289819 w 2907478"/>
                  <a:gd name="connsiteY189" fmla="*/ 56652 h 415692"/>
                  <a:gd name="connsiteX190" fmla="*/ 266320 w 2907478"/>
                  <a:gd name="connsiteY190" fmla="*/ 26231 h 415692"/>
                  <a:gd name="connsiteX191" fmla="*/ 318965 w 2907478"/>
                  <a:gd name="connsiteY191" fmla="*/ 53009 h 415692"/>
                  <a:gd name="connsiteX192" fmla="*/ 149372 w 2907478"/>
                  <a:gd name="connsiteY192" fmla="*/ 26413 h 415692"/>
                  <a:gd name="connsiteX193" fmla="*/ 90716 w 2907478"/>
                  <a:gd name="connsiteY193" fmla="*/ 175786 h 415692"/>
                  <a:gd name="connsiteX194" fmla="*/ 71407 w 2907478"/>
                  <a:gd name="connsiteY194" fmla="*/ 177425 h 415692"/>
                  <a:gd name="connsiteX195" fmla="*/ 28417 w 2907478"/>
                  <a:gd name="connsiteY195" fmla="*/ 183801 h 415692"/>
                  <a:gd name="connsiteX196" fmla="*/ 18398 w 2907478"/>
                  <a:gd name="connsiteY196" fmla="*/ 186533 h 415692"/>
                  <a:gd name="connsiteX197" fmla="*/ 149372 w 2907478"/>
                  <a:gd name="connsiteY197" fmla="*/ 26231 h 415692"/>
                  <a:gd name="connsiteX198" fmla="*/ 96546 w 2907478"/>
                  <a:gd name="connsiteY198" fmla="*/ 362501 h 415692"/>
                  <a:gd name="connsiteX199" fmla="*/ 125691 w 2907478"/>
                  <a:gd name="connsiteY199" fmla="*/ 358858 h 415692"/>
                  <a:gd name="connsiteX200" fmla="*/ 149190 w 2907478"/>
                  <a:gd name="connsiteY200" fmla="*/ 389279 h 415692"/>
                  <a:gd name="connsiteX201" fmla="*/ 96546 w 2907478"/>
                  <a:gd name="connsiteY201" fmla="*/ 362501 h 415692"/>
                  <a:gd name="connsiteX202" fmla="*/ 266320 w 2907478"/>
                  <a:gd name="connsiteY202" fmla="*/ 389279 h 415692"/>
                  <a:gd name="connsiteX203" fmla="*/ 324976 w 2907478"/>
                  <a:gd name="connsiteY203" fmla="*/ 239907 h 415692"/>
                  <a:gd name="connsiteX204" fmla="*/ 344285 w 2907478"/>
                  <a:gd name="connsiteY204" fmla="*/ 238267 h 415692"/>
                  <a:gd name="connsiteX205" fmla="*/ 387275 w 2907478"/>
                  <a:gd name="connsiteY205" fmla="*/ 231891 h 415692"/>
                  <a:gd name="connsiteX206" fmla="*/ 397294 w 2907478"/>
                  <a:gd name="connsiteY206" fmla="*/ 229159 h 415692"/>
                  <a:gd name="connsiteX207" fmla="*/ 266320 w 2907478"/>
                  <a:gd name="connsiteY207" fmla="*/ 389461 h 415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</a:cxnLst>
                <a:rect l="l" t="t" r="r" b="b"/>
                <a:pathLst>
                  <a:path w="2907478" h="415692">
                    <a:moveTo>
                      <a:pt x="591296" y="82701"/>
                    </a:moveTo>
                    <a:lnTo>
                      <a:pt x="676547" y="82701"/>
                    </a:lnTo>
                    <a:cubicBezTo>
                      <a:pt x="676547" y="82701"/>
                      <a:pt x="766535" y="277978"/>
                      <a:pt x="766535" y="277978"/>
                    </a:cubicBezTo>
                    <a:lnTo>
                      <a:pt x="772729" y="277978"/>
                    </a:lnTo>
                    <a:lnTo>
                      <a:pt x="772729" y="82701"/>
                    </a:lnTo>
                    <a:lnTo>
                      <a:pt x="821548" y="82701"/>
                    </a:lnTo>
                    <a:lnTo>
                      <a:pt x="821548" y="332991"/>
                    </a:lnTo>
                    <a:lnTo>
                      <a:pt x="736296" y="332991"/>
                    </a:lnTo>
                    <a:lnTo>
                      <a:pt x="645944" y="137714"/>
                    </a:lnTo>
                    <a:lnTo>
                      <a:pt x="640115" y="137714"/>
                    </a:lnTo>
                    <a:lnTo>
                      <a:pt x="640115" y="332991"/>
                    </a:lnTo>
                    <a:lnTo>
                      <a:pt x="591296" y="332991"/>
                    </a:lnTo>
                    <a:lnTo>
                      <a:pt x="591296" y="82701"/>
                    </a:lnTo>
                    <a:close/>
                    <a:moveTo>
                      <a:pt x="869274" y="207846"/>
                    </a:moveTo>
                    <a:cubicBezTo>
                      <a:pt x="869274" y="130063"/>
                      <a:pt x="921372" y="76872"/>
                      <a:pt x="997152" y="76872"/>
                    </a:cubicBezTo>
                    <a:cubicBezTo>
                      <a:pt x="1064369" y="76872"/>
                      <a:pt x="1109727" y="115126"/>
                      <a:pt x="1113371" y="174328"/>
                    </a:cubicBezTo>
                    <a:lnTo>
                      <a:pt x="1063276" y="174328"/>
                    </a:lnTo>
                    <a:cubicBezTo>
                      <a:pt x="1055443" y="138261"/>
                      <a:pt x="1034312" y="122777"/>
                      <a:pt x="1010085" y="122777"/>
                    </a:cubicBezTo>
                    <a:lnTo>
                      <a:pt x="981850" y="122777"/>
                    </a:lnTo>
                    <a:cubicBezTo>
                      <a:pt x="947786" y="122777"/>
                      <a:pt x="919733" y="160302"/>
                      <a:pt x="919733" y="208028"/>
                    </a:cubicBezTo>
                    <a:cubicBezTo>
                      <a:pt x="919733" y="255755"/>
                      <a:pt x="947968" y="293280"/>
                      <a:pt x="981850" y="293280"/>
                    </a:cubicBezTo>
                    <a:lnTo>
                      <a:pt x="1010085" y="293280"/>
                    </a:lnTo>
                    <a:cubicBezTo>
                      <a:pt x="1034312" y="293280"/>
                      <a:pt x="1056172" y="277614"/>
                      <a:pt x="1064005" y="241728"/>
                    </a:cubicBezTo>
                    <a:lnTo>
                      <a:pt x="1114099" y="241728"/>
                    </a:lnTo>
                    <a:cubicBezTo>
                      <a:pt x="1110638" y="299291"/>
                      <a:pt x="1064369" y="339185"/>
                      <a:pt x="995512" y="339185"/>
                    </a:cubicBezTo>
                    <a:cubicBezTo>
                      <a:pt x="923194" y="339185"/>
                      <a:pt x="869092" y="294555"/>
                      <a:pt x="869092" y="208210"/>
                    </a:cubicBezTo>
                    <a:close/>
                    <a:moveTo>
                      <a:pt x="1162736" y="82701"/>
                    </a:moveTo>
                    <a:lnTo>
                      <a:pt x="1280413" y="82701"/>
                    </a:lnTo>
                    <a:cubicBezTo>
                      <a:pt x="1335607" y="82701"/>
                      <a:pt x="1363296" y="118769"/>
                      <a:pt x="1363296" y="158663"/>
                    </a:cubicBezTo>
                    <a:cubicBezTo>
                      <a:pt x="1363296" y="189994"/>
                      <a:pt x="1346173" y="216590"/>
                      <a:pt x="1314841" y="227520"/>
                    </a:cubicBezTo>
                    <a:lnTo>
                      <a:pt x="1373133" y="333173"/>
                    </a:lnTo>
                    <a:lnTo>
                      <a:pt x="1317574" y="333173"/>
                    </a:lnTo>
                    <a:lnTo>
                      <a:pt x="1264018" y="234988"/>
                    </a:lnTo>
                    <a:lnTo>
                      <a:pt x="1212466" y="234988"/>
                    </a:lnTo>
                    <a:lnTo>
                      <a:pt x="1212466" y="333173"/>
                    </a:lnTo>
                    <a:lnTo>
                      <a:pt x="1162736" y="333173"/>
                    </a:lnTo>
                    <a:lnTo>
                      <a:pt x="1162736" y="82701"/>
                    </a:lnTo>
                    <a:close/>
                    <a:moveTo>
                      <a:pt x="1276951" y="194548"/>
                    </a:moveTo>
                    <a:cubicBezTo>
                      <a:pt x="1300086" y="194548"/>
                      <a:pt x="1313748" y="179247"/>
                      <a:pt x="1313748" y="159756"/>
                    </a:cubicBezTo>
                    <a:cubicBezTo>
                      <a:pt x="1313748" y="140264"/>
                      <a:pt x="1300086" y="124963"/>
                      <a:pt x="1276951" y="124963"/>
                    </a:cubicBezTo>
                    <a:lnTo>
                      <a:pt x="1212466" y="124963"/>
                    </a:lnTo>
                    <a:lnTo>
                      <a:pt x="1212466" y="194548"/>
                    </a:lnTo>
                    <a:lnTo>
                      <a:pt x="1276951" y="194548"/>
                    </a:lnTo>
                    <a:close/>
                    <a:moveTo>
                      <a:pt x="1555841" y="82701"/>
                    </a:moveTo>
                    <a:lnTo>
                      <a:pt x="1645100" y="82701"/>
                    </a:lnTo>
                    <a:lnTo>
                      <a:pt x="1728347" y="332991"/>
                    </a:lnTo>
                    <a:lnTo>
                      <a:pt x="1677160" y="332991"/>
                    </a:lnTo>
                    <a:lnTo>
                      <a:pt x="1656394" y="270874"/>
                    </a:lnTo>
                    <a:lnTo>
                      <a:pt x="1543271" y="270874"/>
                    </a:lnTo>
                    <a:lnTo>
                      <a:pt x="1522505" y="332991"/>
                    </a:lnTo>
                    <a:lnTo>
                      <a:pt x="1472411" y="332991"/>
                    </a:lnTo>
                    <a:lnTo>
                      <a:pt x="1555658" y="82701"/>
                    </a:lnTo>
                    <a:close/>
                    <a:moveTo>
                      <a:pt x="1641821" y="227702"/>
                    </a:moveTo>
                    <a:lnTo>
                      <a:pt x="1609760" y="131521"/>
                    </a:lnTo>
                    <a:lnTo>
                      <a:pt x="1589358" y="131521"/>
                    </a:lnTo>
                    <a:lnTo>
                      <a:pt x="1557298" y="227702"/>
                    </a:lnTo>
                    <a:lnTo>
                      <a:pt x="1641821" y="227702"/>
                    </a:lnTo>
                    <a:close/>
                    <a:moveTo>
                      <a:pt x="1797751" y="127149"/>
                    </a:moveTo>
                    <a:lnTo>
                      <a:pt x="1719604" y="127149"/>
                    </a:lnTo>
                    <a:lnTo>
                      <a:pt x="1719604" y="82519"/>
                    </a:lnTo>
                    <a:lnTo>
                      <a:pt x="1925446" y="82519"/>
                    </a:lnTo>
                    <a:lnTo>
                      <a:pt x="1925446" y="127149"/>
                    </a:lnTo>
                    <a:lnTo>
                      <a:pt x="1847663" y="127149"/>
                    </a:lnTo>
                    <a:lnTo>
                      <a:pt x="1847663" y="332991"/>
                    </a:lnTo>
                    <a:lnTo>
                      <a:pt x="1797933" y="332991"/>
                    </a:lnTo>
                    <a:lnTo>
                      <a:pt x="1797933" y="127149"/>
                    </a:lnTo>
                    <a:close/>
                    <a:moveTo>
                      <a:pt x="1969165" y="82701"/>
                    </a:moveTo>
                    <a:lnTo>
                      <a:pt x="2018895" y="82701"/>
                    </a:lnTo>
                    <a:lnTo>
                      <a:pt x="2018895" y="288544"/>
                    </a:lnTo>
                    <a:lnTo>
                      <a:pt x="2144768" y="288544"/>
                    </a:lnTo>
                    <a:lnTo>
                      <a:pt x="2144768" y="333173"/>
                    </a:lnTo>
                    <a:lnTo>
                      <a:pt x="1969165" y="333173"/>
                    </a:lnTo>
                    <a:lnTo>
                      <a:pt x="1969165" y="82701"/>
                    </a:lnTo>
                    <a:close/>
                    <a:moveTo>
                      <a:pt x="2188305" y="82701"/>
                    </a:moveTo>
                    <a:lnTo>
                      <a:pt x="2371742" y="82701"/>
                    </a:lnTo>
                    <a:lnTo>
                      <a:pt x="2371742" y="124963"/>
                    </a:lnTo>
                    <a:lnTo>
                      <a:pt x="2237489" y="124963"/>
                    </a:lnTo>
                    <a:lnTo>
                      <a:pt x="2237489" y="183983"/>
                    </a:lnTo>
                    <a:lnTo>
                      <a:pt x="2361905" y="183983"/>
                    </a:lnTo>
                    <a:lnTo>
                      <a:pt x="2361905" y="225516"/>
                    </a:lnTo>
                    <a:lnTo>
                      <a:pt x="2237489" y="225516"/>
                    </a:lnTo>
                    <a:lnTo>
                      <a:pt x="2237489" y="290912"/>
                    </a:lnTo>
                    <a:lnTo>
                      <a:pt x="2373563" y="290912"/>
                    </a:lnTo>
                    <a:lnTo>
                      <a:pt x="2373563" y="333173"/>
                    </a:lnTo>
                    <a:lnTo>
                      <a:pt x="2188123" y="333173"/>
                    </a:lnTo>
                    <a:lnTo>
                      <a:pt x="2188123" y="82701"/>
                    </a:lnTo>
                    <a:close/>
                    <a:moveTo>
                      <a:pt x="2409085" y="207846"/>
                    </a:moveTo>
                    <a:cubicBezTo>
                      <a:pt x="2409085" y="129699"/>
                      <a:pt x="2461547" y="76872"/>
                      <a:pt x="2538601" y="76872"/>
                    </a:cubicBezTo>
                    <a:cubicBezTo>
                      <a:pt x="2615656" y="76872"/>
                      <a:pt x="2667754" y="129699"/>
                      <a:pt x="2667754" y="207846"/>
                    </a:cubicBezTo>
                    <a:cubicBezTo>
                      <a:pt x="2667754" y="285993"/>
                      <a:pt x="2614927" y="338820"/>
                      <a:pt x="2538601" y="338820"/>
                    </a:cubicBezTo>
                    <a:cubicBezTo>
                      <a:pt x="2462276" y="338820"/>
                      <a:pt x="2409085" y="285993"/>
                      <a:pt x="2409085" y="207846"/>
                    </a:cubicBezTo>
                    <a:close/>
                    <a:moveTo>
                      <a:pt x="2525121" y="293098"/>
                    </a:moveTo>
                    <a:lnTo>
                      <a:pt x="2552081" y="293098"/>
                    </a:lnTo>
                    <a:cubicBezTo>
                      <a:pt x="2588878" y="293098"/>
                      <a:pt x="2616566" y="255572"/>
                      <a:pt x="2616566" y="207846"/>
                    </a:cubicBezTo>
                    <a:cubicBezTo>
                      <a:pt x="2616566" y="160120"/>
                      <a:pt x="2588878" y="122595"/>
                      <a:pt x="2552081" y="122595"/>
                    </a:cubicBezTo>
                    <a:lnTo>
                      <a:pt x="2525121" y="122595"/>
                    </a:lnTo>
                    <a:cubicBezTo>
                      <a:pt x="2487961" y="122595"/>
                      <a:pt x="2459726" y="160849"/>
                      <a:pt x="2459726" y="207846"/>
                    </a:cubicBezTo>
                    <a:cubicBezTo>
                      <a:pt x="2459726" y="254844"/>
                      <a:pt x="2487961" y="293098"/>
                      <a:pt x="2525121" y="293098"/>
                    </a:cubicBezTo>
                    <a:close/>
                    <a:moveTo>
                      <a:pt x="2701089" y="255937"/>
                    </a:moveTo>
                    <a:lnTo>
                      <a:pt x="2751913" y="255937"/>
                    </a:lnTo>
                    <a:cubicBezTo>
                      <a:pt x="2754645" y="277796"/>
                      <a:pt x="2767943" y="294191"/>
                      <a:pt x="2791806" y="294191"/>
                    </a:cubicBezTo>
                    <a:lnTo>
                      <a:pt x="2823866" y="294191"/>
                    </a:lnTo>
                    <a:cubicBezTo>
                      <a:pt x="2845726" y="294191"/>
                      <a:pt x="2858295" y="280893"/>
                      <a:pt x="2858295" y="262859"/>
                    </a:cubicBezTo>
                    <a:cubicBezTo>
                      <a:pt x="2858295" y="246464"/>
                      <a:pt x="2847365" y="234624"/>
                      <a:pt x="2828967" y="232802"/>
                    </a:cubicBezTo>
                    <a:lnTo>
                      <a:pt x="2775776" y="226973"/>
                    </a:lnTo>
                    <a:cubicBezTo>
                      <a:pt x="2730417" y="221873"/>
                      <a:pt x="2707647" y="194913"/>
                      <a:pt x="2707647" y="154655"/>
                    </a:cubicBezTo>
                    <a:cubicBezTo>
                      <a:pt x="2707647" y="105836"/>
                      <a:pt x="2744079" y="76872"/>
                      <a:pt x="2803828" y="76872"/>
                    </a:cubicBezTo>
                    <a:cubicBezTo>
                      <a:pt x="2863577" y="76872"/>
                      <a:pt x="2899645" y="104561"/>
                      <a:pt x="2902013" y="159391"/>
                    </a:cubicBezTo>
                    <a:lnTo>
                      <a:pt x="2851555" y="159391"/>
                    </a:lnTo>
                    <a:cubicBezTo>
                      <a:pt x="2849915" y="140264"/>
                      <a:pt x="2837892" y="121502"/>
                      <a:pt x="2815122" y="121502"/>
                    </a:cubicBezTo>
                    <a:lnTo>
                      <a:pt x="2788527" y="121502"/>
                    </a:lnTo>
                    <a:cubicBezTo>
                      <a:pt x="2769400" y="121502"/>
                      <a:pt x="2756467" y="132796"/>
                      <a:pt x="2756467" y="151194"/>
                    </a:cubicBezTo>
                    <a:cubicBezTo>
                      <a:pt x="2756467" y="169592"/>
                      <a:pt x="2770129" y="180522"/>
                      <a:pt x="2787434" y="182526"/>
                    </a:cubicBezTo>
                    <a:lnTo>
                      <a:pt x="2840625" y="188355"/>
                    </a:lnTo>
                    <a:cubicBezTo>
                      <a:pt x="2883251" y="193091"/>
                      <a:pt x="2907478" y="216954"/>
                      <a:pt x="2907478" y="260309"/>
                    </a:cubicBezTo>
                    <a:cubicBezTo>
                      <a:pt x="2907478" y="309674"/>
                      <a:pt x="2873050" y="339002"/>
                      <a:pt x="2804557" y="339002"/>
                    </a:cubicBezTo>
                    <a:cubicBezTo>
                      <a:pt x="2736064" y="339002"/>
                      <a:pt x="2702000" y="310767"/>
                      <a:pt x="2700907" y="256119"/>
                    </a:cubicBezTo>
                    <a:close/>
                    <a:moveTo>
                      <a:pt x="207846" y="0"/>
                    </a:moveTo>
                    <a:lnTo>
                      <a:pt x="207846" y="0"/>
                    </a:lnTo>
                    <a:cubicBezTo>
                      <a:pt x="93267" y="0"/>
                      <a:pt x="0" y="93267"/>
                      <a:pt x="0" y="207846"/>
                    </a:cubicBezTo>
                    <a:cubicBezTo>
                      <a:pt x="0" y="322426"/>
                      <a:pt x="93267" y="415692"/>
                      <a:pt x="207846" y="415692"/>
                    </a:cubicBezTo>
                    <a:lnTo>
                      <a:pt x="207846" y="415692"/>
                    </a:lnTo>
                    <a:cubicBezTo>
                      <a:pt x="322426" y="415692"/>
                      <a:pt x="415692" y="322426"/>
                      <a:pt x="415692" y="207846"/>
                    </a:cubicBezTo>
                    <a:cubicBezTo>
                      <a:pt x="415692" y="93267"/>
                      <a:pt x="322426" y="0"/>
                      <a:pt x="207846" y="0"/>
                    </a:cubicBezTo>
                    <a:close/>
                    <a:moveTo>
                      <a:pt x="207846" y="398569"/>
                    </a:moveTo>
                    <a:cubicBezTo>
                      <a:pt x="183072" y="398569"/>
                      <a:pt x="160484" y="381810"/>
                      <a:pt x="142815" y="353940"/>
                    </a:cubicBezTo>
                    <a:cubicBezTo>
                      <a:pt x="145183" y="353029"/>
                      <a:pt x="147551" y="352300"/>
                      <a:pt x="149919" y="351389"/>
                    </a:cubicBezTo>
                    <a:cubicBezTo>
                      <a:pt x="192362" y="335541"/>
                      <a:pt x="232984" y="310767"/>
                      <a:pt x="268870" y="280529"/>
                    </a:cubicBezTo>
                    <a:cubicBezTo>
                      <a:pt x="282350" y="269235"/>
                      <a:pt x="295284" y="257030"/>
                      <a:pt x="307306" y="244278"/>
                    </a:cubicBezTo>
                    <a:cubicBezTo>
                      <a:pt x="298198" y="332080"/>
                      <a:pt x="257030" y="398569"/>
                      <a:pt x="207846" y="398569"/>
                    </a:cubicBezTo>
                    <a:close/>
                    <a:moveTo>
                      <a:pt x="62117" y="330805"/>
                    </a:moveTo>
                    <a:cubicBezTo>
                      <a:pt x="62117" y="330805"/>
                      <a:pt x="61571" y="330259"/>
                      <a:pt x="61388" y="330076"/>
                    </a:cubicBezTo>
                    <a:cubicBezTo>
                      <a:pt x="49730" y="314411"/>
                      <a:pt x="74322" y="272149"/>
                      <a:pt x="91263" y="247193"/>
                    </a:cubicBezTo>
                    <a:cubicBezTo>
                      <a:pt x="94542" y="277796"/>
                      <a:pt x="101464" y="306031"/>
                      <a:pt x="111301" y="330076"/>
                    </a:cubicBezTo>
                    <a:cubicBezTo>
                      <a:pt x="90534" y="336452"/>
                      <a:pt x="70314" y="339367"/>
                      <a:pt x="62117" y="330805"/>
                    </a:cubicBezTo>
                    <a:close/>
                    <a:moveTo>
                      <a:pt x="207846" y="17123"/>
                    </a:moveTo>
                    <a:lnTo>
                      <a:pt x="207846" y="17123"/>
                    </a:lnTo>
                    <a:cubicBezTo>
                      <a:pt x="232620" y="17123"/>
                      <a:pt x="255208" y="33882"/>
                      <a:pt x="272878" y="61753"/>
                    </a:cubicBezTo>
                    <a:cubicBezTo>
                      <a:pt x="270510" y="62664"/>
                      <a:pt x="268142" y="63392"/>
                      <a:pt x="265774" y="64303"/>
                    </a:cubicBezTo>
                    <a:cubicBezTo>
                      <a:pt x="223330" y="80151"/>
                      <a:pt x="182708" y="104925"/>
                      <a:pt x="146822" y="135164"/>
                    </a:cubicBezTo>
                    <a:cubicBezTo>
                      <a:pt x="133342" y="146458"/>
                      <a:pt x="120409" y="158663"/>
                      <a:pt x="108386" y="171414"/>
                    </a:cubicBezTo>
                    <a:cubicBezTo>
                      <a:pt x="117494" y="83612"/>
                      <a:pt x="158480" y="17123"/>
                      <a:pt x="207846" y="17123"/>
                    </a:cubicBezTo>
                    <a:close/>
                    <a:moveTo>
                      <a:pt x="353393" y="84887"/>
                    </a:moveTo>
                    <a:cubicBezTo>
                      <a:pt x="353393" y="84887"/>
                      <a:pt x="353940" y="85434"/>
                      <a:pt x="354122" y="85616"/>
                    </a:cubicBezTo>
                    <a:cubicBezTo>
                      <a:pt x="365780" y="101282"/>
                      <a:pt x="341188" y="143543"/>
                      <a:pt x="324247" y="168499"/>
                    </a:cubicBezTo>
                    <a:cubicBezTo>
                      <a:pt x="320968" y="137896"/>
                      <a:pt x="314046" y="109661"/>
                      <a:pt x="304210" y="85616"/>
                    </a:cubicBezTo>
                    <a:cubicBezTo>
                      <a:pt x="324976" y="79240"/>
                      <a:pt x="345196" y="76326"/>
                      <a:pt x="353393" y="84887"/>
                    </a:cubicBezTo>
                    <a:close/>
                    <a:moveTo>
                      <a:pt x="139171" y="190177"/>
                    </a:moveTo>
                    <a:cubicBezTo>
                      <a:pt x="160484" y="189448"/>
                      <a:pt x="183619" y="188901"/>
                      <a:pt x="207846" y="188901"/>
                    </a:cubicBezTo>
                    <a:cubicBezTo>
                      <a:pt x="244096" y="188901"/>
                      <a:pt x="277978" y="189812"/>
                      <a:pt x="306942" y="191634"/>
                    </a:cubicBezTo>
                    <a:cubicBezTo>
                      <a:pt x="297470" y="203292"/>
                      <a:pt x="287269" y="214404"/>
                      <a:pt x="276521" y="225334"/>
                    </a:cubicBezTo>
                    <a:cubicBezTo>
                      <a:pt x="255208" y="226062"/>
                      <a:pt x="232074" y="226609"/>
                      <a:pt x="207846" y="226609"/>
                    </a:cubicBezTo>
                    <a:cubicBezTo>
                      <a:pt x="171596" y="226609"/>
                      <a:pt x="137714" y="225698"/>
                      <a:pt x="108750" y="223876"/>
                    </a:cubicBezTo>
                    <a:cubicBezTo>
                      <a:pt x="118223" y="212218"/>
                      <a:pt x="128424" y="201106"/>
                      <a:pt x="139171" y="190177"/>
                    </a:cubicBezTo>
                    <a:close/>
                    <a:moveTo>
                      <a:pt x="307488" y="174693"/>
                    </a:moveTo>
                    <a:cubicBezTo>
                      <a:pt x="277614" y="172871"/>
                      <a:pt x="243368" y="171960"/>
                      <a:pt x="207664" y="171960"/>
                    </a:cubicBezTo>
                    <a:cubicBezTo>
                      <a:pt x="190541" y="171960"/>
                      <a:pt x="173782" y="172143"/>
                      <a:pt x="157570" y="172689"/>
                    </a:cubicBezTo>
                    <a:cubicBezTo>
                      <a:pt x="161395" y="169228"/>
                      <a:pt x="165403" y="165767"/>
                      <a:pt x="169410" y="162306"/>
                    </a:cubicBezTo>
                    <a:cubicBezTo>
                      <a:pt x="193820" y="142086"/>
                      <a:pt x="220051" y="124416"/>
                      <a:pt x="247193" y="109661"/>
                    </a:cubicBezTo>
                    <a:cubicBezTo>
                      <a:pt x="252658" y="106747"/>
                      <a:pt x="269235" y="98549"/>
                      <a:pt x="287815" y="91445"/>
                    </a:cubicBezTo>
                    <a:cubicBezTo>
                      <a:pt x="297652" y="115308"/>
                      <a:pt x="304574" y="143725"/>
                      <a:pt x="307488" y="174875"/>
                    </a:cubicBezTo>
                    <a:close/>
                    <a:moveTo>
                      <a:pt x="68675" y="220597"/>
                    </a:moveTo>
                    <a:cubicBezTo>
                      <a:pt x="36797" y="217319"/>
                      <a:pt x="17123" y="212765"/>
                      <a:pt x="17123" y="207664"/>
                    </a:cubicBezTo>
                    <a:cubicBezTo>
                      <a:pt x="17123" y="201653"/>
                      <a:pt x="45358" y="196370"/>
                      <a:pt x="89259" y="192909"/>
                    </a:cubicBezTo>
                    <a:cubicBezTo>
                      <a:pt x="81973" y="201835"/>
                      <a:pt x="75050" y="211125"/>
                      <a:pt x="68675" y="220597"/>
                    </a:cubicBezTo>
                    <a:close/>
                    <a:moveTo>
                      <a:pt x="28235" y="231709"/>
                    </a:moveTo>
                    <a:cubicBezTo>
                      <a:pt x="36068" y="233531"/>
                      <a:pt x="46087" y="235170"/>
                      <a:pt x="58292" y="236628"/>
                    </a:cubicBezTo>
                    <a:cubicBezTo>
                      <a:pt x="57563" y="237721"/>
                      <a:pt x="57017" y="238814"/>
                      <a:pt x="56288" y="239907"/>
                    </a:cubicBezTo>
                    <a:cubicBezTo>
                      <a:pt x="47544" y="254844"/>
                      <a:pt x="38800" y="272513"/>
                      <a:pt x="35886" y="290547"/>
                    </a:cubicBezTo>
                    <a:cubicBezTo>
                      <a:pt x="26596" y="271603"/>
                      <a:pt x="20584" y="250836"/>
                      <a:pt x="18216" y="228977"/>
                    </a:cubicBezTo>
                    <a:cubicBezTo>
                      <a:pt x="22042" y="230434"/>
                      <a:pt x="25685" y="231163"/>
                      <a:pt x="28235" y="231709"/>
                    </a:cubicBezTo>
                    <a:close/>
                    <a:moveTo>
                      <a:pt x="108022" y="241000"/>
                    </a:moveTo>
                    <a:cubicBezTo>
                      <a:pt x="137896" y="242821"/>
                      <a:pt x="172143" y="243732"/>
                      <a:pt x="207846" y="243732"/>
                    </a:cubicBezTo>
                    <a:cubicBezTo>
                      <a:pt x="224969" y="243732"/>
                      <a:pt x="241728" y="243550"/>
                      <a:pt x="257941" y="243003"/>
                    </a:cubicBezTo>
                    <a:cubicBezTo>
                      <a:pt x="254115" y="246464"/>
                      <a:pt x="250108" y="249925"/>
                      <a:pt x="246100" y="253387"/>
                    </a:cubicBezTo>
                    <a:cubicBezTo>
                      <a:pt x="221690" y="273606"/>
                      <a:pt x="195459" y="291276"/>
                      <a:pt x="168317" y="306031"/>
                    </a:cubicBezTo>
                    <a:cubicBezTo>
                      <a:pt x="162852" y="308946"/>
                      <a:pt x="146276" y="317143"/>
                      <a:pt x="127695" y="324247"/>
                    </a:cubicBezTo>
                    <a:cubicBezTo>
                      <a:pt x="117858" y="300384"/>
                      <a:pt x="110936" y="271967"/>
                      <a:pt x="108022" y="240817"/>
                    </a:cubicBezTo>
                    <a:close/>
                    <a:moveTo>
                      <a:pt x="347017" y="194913"/>
                    </a:moveTo>
                    <a:cubicBezTo>
                      <a:pt x="378896" y="198192"/>
                      <a:pt x="398569" y="202746"/>
                      <a:pt x="398569" y="207846"/>
                    </a:cubicBezTo>
                    <a:cubicBezTo>
                      <a:pt x="398569" y="213857"/>
                      <a:pt x="370334" y="219140"/>
                      <a:pt x="326433" y="222601"/>
                    </a:cubicBezTo>
                    <a:cubicBezTo>
                      <a:pt x="333720" y="213675"/>
                      <a:pt x="340642" y="204385"/>
                      <a:pt x="347017" y="194913"/>
                    </a:cubicBezTo>
                    <a:close/>
                    <a:moveTo>
                      <a:pt x="387275" y="183801"/>
                    </a:moveTo>
                    <a:cubicBezTo>
                      <a:pt x="379442" y="181979"/>
                      <a:pt x="369423" y="180340"/>
                      <a:pt x="357219" y="178882"/>
                    </a:cubicBezTo>
                    <a:cubicBezTo>
                      <a:pt x="357947" y="177790"/>
                      <a:pt x="358494" y="176697"/>
                      <a:pt x="359222" y="175604"/>
                    </a:cubicBezTo>
                    <a:cubicBezTo>
                      <a:pt x="367966" y="160666"/>
                      <a:pt x="376710" y="142997"/>
                      <a:pt x="379624" y="124963"/>
                    </a:cubicBezTo>
                    <a:cubicBezTo>
                      <a:pt x="388915" y="143908"/>
                      <a:pt x="394926" y="164674"/>
                      <a:pt x="397294" y="186533"/>
                    </a:cubicBezTo>
                    <a:cubicBezTo>
                      <a:pt x="393469" y="185076"/>
                      <a:pt x="389825" y="184347"/>
                      <a:pt x="387275" y="183801"/>
                    </a:cubicBezTo>
                    <a:close/>
                    <a:moveTo>
                      <a:pt x="318965" y="53009"/>
                    </a:moveTo>
                    <a:cubicBezTo>
                      <a:pt x="309310" y="53009"/>
                      <a:pt x="299291" y="54284"/>
                      <a:pt x="289819" y="56652"/>
                    </a:cubicBezTo>
                    <a:cubicBezTo>
                      <a:pt x="282715" y="44812"/>
                      <a:pt x="274882" y="34611"/>
                      <a:pt x="266320" y="26231"/>
                    </a:cubicBezTo>
                    <a:cubicBezTo>
                      <a:pt x="285447" y="32425"/>
                      <a:pt x="303117" y="41533"/>
                      <a:pt x="318965" y="53009"/>
                    </a:cubicBezTo>
                    <a:close/>
                    <a:moveTo>
                      <a:pt x="149372" y="26413"/>
                    </a:moveTo>
                    <a:cubicBezTo>
                      <a:pt x="118405" y="56834"/>
                      <a:pt x="96363" y="110936"/>
                      <a:pt x="90716" y="175786"/>
                    </a:cubicBezTo>
                    <a:cubicBezTo>
                      <a:pt x="83976" y="176332"/>
                      <a:pt x="77419" y="176879"/>
                      <a:pt x="71407" y="177425"/>
                    </a:cubicBezTo>
                    <a:cubicBezTo>
                      <a:pt x="53191" y="179247"/>
                      <a:pt x="38618" y="181433"/>
                      <a:pt x="28417" y="183801"/>
                    </a:cubicBezTo>
                    <a:cubicBezTo>
                      <a:pt x="25867" y="184347"/>
                      <a:pt x="22224" y="185258"/>
                      <a:pt x="18398" y="186533"/>
                    </a:cubicBezTo>
                    <a:cubicBezTo>
                      <a:pt x="26778" y="111118"/>
                      <a:pt x="79240" y="48819"/>
                      <a:pt x="149372" y="26231"/>
                    </a:cubicBezTo>
                    <a:close/>
                    <a:moveTo>
                      <a:pt x="96546" y="362501"/>
                    </a:moveTo>
                    <a:cubicBezTo>
                      <a:pt x="106200" y="362501"/>
                      <a:pt x="116219" y="361226"/>
                      <a:pt x="125691" y="358858"/>
                    </a:cubicBezTo>
                    <a:cubicBezTo>
                      <a:pt x="132796" y="370698"/>
                      <a:pt x="140629" y="380900"/>
                      <a:pt x="149190" y="389279"/>
                    </a:cubicBezTo>
                    <a:cubicBezTo>
                      <a:pt x="130063" y="383085"/>
                      <a:pt x="112394" y="373977"/>
                      <a:pt x="96546" y="362501"/>
                    </a:cubicBezTo>
                    <a:close/>
                    <a:moveTo>
                      <a:pt x="266320" y="389279"/>
                    </a:moveTo>
                    <a:cubicBezTo>
                      <a:pt x="297287" y="358858"/>
                      <a:pt x="319329" y="304756"/>
                      <a:pt x="324976" y="239907"/>
                    </a:cubicBezTo>
                    <a:cubicBezTo>
                      <a:pt x="331716" y="239360"/>
                      <a:pt x="338274" y="238814"/>
                      <a:pt x="344285" y="238267"/>
                    </a:cubicBezTo>
                    <a:cubicBezTo>
                      <a:pt x="362501" y="236445"/>
                      <a:pt x="377074" y="234260"/>
                      <a:pt x="387275" y="231891"/>
                    </a:cubicBezTo>
                    <a:cubicBezTo>
                      <a:pt x="389825" y="231345"/>
                      <a:pt x="393469" y="230434"/>
                      <a:pt x="397294" y="229159"/>
                    </a:cubicBezTo>
                    <a:cubicBezTo>
                      <a:pt x="388915" y="304574"/>
                      <a:pt x="336452" y="366873"/>
                      <a:pt x="266320" y="38946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31FB8E0-58B6-411C-8EA2-31D55064A0F2}"/>
                  </a:ext>
                </a:extLst>
              </p:cNvPr>
              <p:cNvSpPr/>
              <p:nvPr/>
            </p:nvSpPr>
            <p:spPr>
              <a:xfrm>
                <a:off x="7838670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70BCB64-4653-373F-8DE1-C0F96D87629A}"/>
                  </a:ext>
                </a:extLst>
              </p:cNvPr>
              <p:cNvSpPr/>
              <p:nvPr/>
            </p:nvSpPr>
            <p:spPr>
              <a:xfrm>
                <a:off x="8667869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915ACE-2A25-7F22-5247-9EB9C2C40206}"/>
                  </a:ext>
                </a:extLst>
              </p:cNvPr>
              <p:cNvSpPr/>
              <p:nvPr/>
            </p:nvSpPr>
            <p:spPr>
              <a:xfrm>
                <a:off x="8090963" y="2067424"/>
                <a:ext cx="364869" cy="344649"/>
              </a:xfrm>
              <a:custGeom>
                <a:avLst/>
                <a:gdLst>
                  <a:gd name="connsiteX0" fmla="*/ 146822 w 364869"/>
                  <a:gd name="connsiteY0" fmla="*/ 182 h 344649"/>
                  <a:gd name="connsiteX1" fmla="*/ 0 w 364869"/>
                  <a:gd name="connsiteY1" fmla="*/ 173600 h 344649"/>
                  <a:gd name="connsiteX2" fmla="*/ 146822 w 364869"/>
                  <a:gd name="connsiteY2" fmla="*/ 344649 h 344649"/>
                  <a:gd name="connsiteX3" fmla="*/ 218958 w 364869"/>
                  <a:gd name="connsiteY3" fmla="*/ 344649 h 344649"/>
                  <a:gd name="connsiteX4" fmla="*/ 364869 w 364869"/>
                  <a:gd name="connsiteY4" fmla="*/ 172689 h 344649"/>
                  <a:gd name="connsiteX5" fmla="*/ 218958 w 364869"/>
                  <a:gd name="connsiteY5" fmla="*/ 0 h 344649"/>
                  <a:gd name="connsiteX6" fmla="*/ 146822 w 364869"/>
                  <a:gd name="connsiteY6" fmla="*/ 0 h 344649"/>
                  <a:gd name="connsiteX7" fmla="*/ 258123 w 364869"/>
                  <a:gd name="connsiteY7" fmla="*/ 287997 h 344649"/>
                  <a:gd name="connsiteX8" fmla="*/ 277068 w 364869"/>
                  <a:gd name="connsiteY8" fmla="*/ 273789 h 344649"/>
                  <a:gd name="connsiteX9" fmla="*/ 301113 w 364869"/>
                  <a:gd name="connsiteY9" fmla="*/ 218958 h 344649"/>
                  <a:gd name="connsiteX10" fmla="*/ 316961 w 364869"/>
                  <a:gd name="connsiteY10" fmla="*/ 204203 h 344649"/>
                  <a:gd name="connsiteX11" fmla="*/ 331716 w 364869"/>
                  <a:gd name="connsiteY11" fmla="*/ 220233 h 344649"/>
                  <a:gd name="connsiteX12" fmla="*/ 298745 w 364869"/>
                  <a:gd name="connsiteY12" fmla="*/ 295648 h 344649"/>
                  <a:gd name="connsiteX13" fmla="*/ 272514 w 364869"/>
                  <a:gd name="connsiteY13" fmla="*/ 315321 h 344649"/>
                  <a:gd name="connsiteX14" fmla="*/ 265409 w 364869"/>
                  <a:gd name="connsiteY14" fmla="*/ 317143 h 344649"/>
                  <a:gd name="connsiteX15" fmla="*/ 251747 w 364869"/>
                  <a:gd name="connsiteY15" fmla="*/ 308946 h 344649"/>
                  <a:gd name="connsiteX16" fmla="*/ 258123 w 364869"/>
                  <a:gd name="connsiteY16" fmla="*/ 288179 h 344649"/>
                  <a:gd name="connsiteX17" fmla="*/ 258123 w 364869"/>
                  <a:gd name="connsiteY17" fmla="*/ 288179 h 344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4869" h="344649">
                    <a:moveTo>
                      <a:pt x="146822" y="182"/>
                    </a:moveTo>
                    <a:cubicBezTo>
                      <a:pt x="44812" y="182"/>
                      <a:pt x="0" y="51916"/>
                      <a:pt x="0" y="173600"/>
                    </a:cubicBezTo>
                    <a:cubicBezTo>
                      <a:pt x="0" y="295284"/>
                      <a:pt x="43901" y="344649"/>
                      <a:pt x="146822" y="344649"/>
                    </a:cubicBezTo>
                    <a:lnTo>
                      <a:pt x="218958" y="344649"/>
                    </a:lnTo>
                    <a:cubicBezTo>
                      <a:pt x="320969" y="344649"/>
                      <a:pt x="364869" y="294373"/>
                      <a:pt x="364869" y="172689"/>
                    </a:cubicBezTo>
                    <a:cubicBezTo>
                      <a:pt x="364869" y="51005"/>
                      <a:pt x="320969" y="0"/>
                      <a:pt x="218958" y="0"/>
                    </a:cubicBezTo>
                    <a:lnTo>
                      <a:pt x="146822" y="0"/>
                    </a:lnTo>
                    <a:close/>
                    <a:moveTo>
                      <a:pt x="258123" y="287997"/>
                    </a:moveTo>
                    <a:cubicBezTo>
                      <a:pt x="265045" y="284354"/>
                      <a:pt x="271421" y="279618"/>
                      <a:pt x="277068" y="273789"/>
                    </a:cubicBezTo>
                    <a:cubicBezTo>
                      <a:pt x="291823" y="259216"/>
                      <a:pt x="300202" y="239724"/>
                      <a:pt x="301113" y="218958"/>
                    </a:cubicBezTo>
                    <a:cubicBezTo>
                      <a:pt x="301477" y="210396"/>
                      <a:pt x="308764" y="203839"/>
                      <a:pt x="316961" y="204203"/>
                    </a:cubicBezTo>
                    <a:cubicBezTo>
                      <a:pt x="325523" y="204567"/>
                      <a:pt x="332080" y="211672"/>
                      <a:pt x="331716" y="220233"/>
                    </a:cubicBezTo>
                    <a:cubicBezTo>
                      <a:pt x="330623" y="248650"/>
                      <a:pt x="318965" y="275428"/>
                      <a:pt x="298745" y="295648"/>
                    </a:cubicBezTo>
                    <a:cubicBezTo>
                      <a:pt x="290912" y="303481"/>
                      <a:pt x="281986" y="310039"/>
                      <a:pt x="272514" y="315321"/>
                    </a:cubicBezTo>
                    <a:cubicBezTo>
                      <a:pt x="270328" y="316597"/>
                      <a:pt x="267777" y="317143"/>
                      <a:pt x="265409" y="317143"/>
                    </a:cubicBezTo>
                    <a:cubicBezTo>
                      <a:pt x="259945" y="317143"/>
                      <a:pt x="254480" y="314228"/>
                      <a:pt x="251747" y="308946"/>
                    </a:cubicBezTo>
                    <a:cubicBezTo>
                      <a:pt x="247740" y="301477"/>
                      <a:pt x="250472" y="292187"/>
                      <a:pt x="258123" y="288179"/>
                    </a:cubicBezTo>
                    <a:lnTo>
                      <a:pt x="258123" y="288179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71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CBF1FC6-ED98-C376-DE20-C11AAF5EA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3136EF-AC1F-474A-45FD-830E06305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12B43C4-D4D2-7C2E-8747-8CACDDA63D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65760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 dark glass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BE99850-1EBF-1C13-E7E7-B7F44EE7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-5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723AC8-8C1C-9DEA-3DAE-E3824B6E8725}"/>
              </a:ext>
            </a:extLst>
          </p:cNvPr>
          <p:cNvSpPr/>
          <p:nvPr userDrawn="1"/>
        </p:nvSpPr>
        <p:spPr>
          <a:xfrm rot="5400000">
            <a:off x="2563987" y="-2563990"/>
            <a:ext cx="7064023" cy="12192006"/>
          </a:xfrm>
          <a:prstGeom prst="rect">
            <a:avLst/>
          </a:prstGeom>
          <a:gradFill>
            <a:gsLst>
              <a:gs pos="0">
                <a:schemeClr val="tx1"/>
              </a:gs>
              <a:gs pos="30000">
                <a:schemeClr val="tx1">
                  <a:alpha val="59000"/>
                </a:schemeClr>
              </a:gs>
              <a:gs pos="100000">
                <a:schemeClr val="tx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5F6BE89-884F-400E-8CF0-42CA8EF23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281681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637C525-D638-4164-9E3D-DE28D11471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FA4DC53-C6CD-B0E6-4F67-B69F1423A57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FB1490F-FFAC-CF99-C573-28FDA34ACB18}"/>
              </a:ext>
            </a:extLst>
          </p:cNvPr>
          <p:cNvGrpSpPr/>
          <p:nvPr userDrawn="1"/>
        </p:nvGrpSpPr>
        <p:grpSpPr>
          <a:xfrm>
            <a:off x="6611525" y="467263"/>
            <a:ext cx="5018430" cy="5609652"/>
            <a:chOff x="6611525" y="467263"/>
            <a:chExt cx="5018430" cy="5609652"/>
          </a:xfrm>
        </p:grpSpPr>
        <p:grpSp>
          <p:nvGrpSpPr>
            <p:cNvPr id="7" name="Graphic 8">
              <a:extLst>
                <a:ext uri="{FF2B5EF4-FFF2-40B4-BE49-F238E27FC236}">
                  <a16:creationId xmlns:a16="http://schemas.microsoft.com/office/drawing/2014/main" id="{5EB0F61A-26F2-B358-CFBC-6DB4EB522A94}"/>
                </a:ext>
              </a:extLst>
            </p:cNvPr>
            <p:cNvGrpSpPr/>
            <p:nvPr/>
          </p:nvGrpSpPr>
          <p:grpSpPr>
            <a:xfrm>
              <a:off x="6611525" y="5225114"/>
              <a:ext cx="5018430" cy="553158"/>
              <a:chOff x="6611525" y="5225114"/>
              <a:chExt cx="5018430" cy="553158"/>
            </a:xfrm>
            <a:solidFill>
              <a:srgbClr val="789F90"/>
            </a:solidFill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866D1339-DF41-804A-28D7-AFB70776034E}"/>
                  </a:ext>
                </a:extLst>
              </p:cNvPr>
              <p:cNvSpPr/>
              <p:nvPr/>
            </p:nvSpPr>
            <p:spPr>
              <a:xfrm>
                <a:off x="6611525" y="5225114"/>
                <a:ext cx="841060" cy="553158"/>
              </a:xfrm>
              <a:custGeom>
                <a:avLst/>
                <a:gdLst>
                  <a:gd name="connsiteX0" fmla="*/ 99658 w 841060"/>
                  <a:gd name="connsiteY0" fmla="*/ 543574 h 553158"/>
                  <a:gd name="connsiteX1" fmla="*/ 0 w 841060"/>
                  <a:gd name="connsiteY1" fmla="*/ 543574 h 553158"/>
                  <a:gd name="connsiteX2" fmla="*/ 165436 w 841060"/>
                  <a:gd name="connsiteY2" fmla="*/ 98997 h 553158"/>
                  <a:gd name="connsiteX3" fmla="*/ 291206 w 841060"/>
                  <a:gd name="connsiteY3" fmla="*/ 0 h 553158"/>
                  <a:gd name="connsiteX4" fmla="*/ 409870 w 841060"/>
                  <a:gd name="connsiteY4" fmla="*/ 116350 h 553158"/>
                  <a:gd name="connsiteX5" fmla="*/ 409870 w 841060"/>
                  <a:gd name="connsiteY5" fmla="*/ 432016 h 553158"/>
                  <a:gd name="connsiteX6" fmla="*/ 436809 w 841060"/>
                  <a:gd name="connsiteY6" fmla="*/ 462095 h 553158"/>
                  <a:gd name="connsiteX7" fmla="*/ 466888 w 841060"/>
                  <a:gd name="connsiteY7" fmla="*/ 439949 h 553158"/>
                  <a:gd name="connsiteX8" fmla="*/ 596626 w 841060"/>
                  <a:gd name="connsiteY8" fmla="*/ 99162 h 553158"/>
                  <a:gd name="connsiteX9" fmla="*/ 722396 w 841060"/>
                  <a:gd name="connsiteY9" fmla="*/ 165 h 553158"/>
                  <a:gd name="connsiteX10" fmla="*/ 841060 w 841060"/>
                  <a:gd name="connsiteY10" fmla="*/ 116515 h 553158"/>
                  <a:gd name="connsiteX11" fmla="*/ 841060 w 841060"/>
                  <a:gd name="connsiteY11" fmla="*/ 543574 h 553158"/>
                  <a:gd name="connsiteX12" fmla="*/ 746856 w 841060"/>
                  <a:gd name="connsiteY12" fmla="*/ 543574 h 553158"/>
                  <a:gd name="connsiteX13" fmla="*/ 746856 w 841060"/>
                  <a:gd name="connsiteY13" fmla="*/ 121143 h 553158"/>
                  <a:gd name="connsiteX14" fmla="*/ 719917 w 841060"/>
                  <a:gd name="connsiteY14" fmla="*/ 90402 h 553158"/>
                  <a:gd name="connsiteX15" fmla="*/ 690664 w 841060"/>
                  <a:gd name="connsiteY15" fmla="*/ 113375 h 553158"/>
                  <a:gd name="connsiteX16" fmla="*/ 560927 w 841060"/>
                  <a:gd name="connsiteY16" fmla="*/ 454328 h 553158"/>
                  <a:gd name="connsiteX17" fmla="*/ 434330 w 841060"/>
                  <a:gd name="connsiteY17" fmla="*/ 553159 h 553158"/>
                  <a:gd name="connsiteX18" fmla="*/ 316493 w 841060"/>
                  <a:gd name="connsiteY18" fmla="*/ 435982 h 553158"/>
                  <a:gd name="connsiteX19" fmla="*/ 316493 w 841060"/>
                  <a:gd name="connsiteY19" fmla="*/ 121143 h 553158"/>
                  <a:gd name="connsiteX20" fmla="*/ 288892 w 841060"/>
                  <a:gd name="connsiteY20" fmla="*/ 90402 h 553158"/>
                  <a:gd name="connsiteX21" fmla="*/ 259640 w 841060"/>
                  <a:gd name="connsiteY21" fmla="*/ 113375 h 553158"/>
                  <a:gd name="connsiteX22" fmla="*/ 99823 w 841060"/>
                  <a:gd name="connsiteY22" fmla="*/ 543739 h 553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41060" h="553158">
                    <a:moveTo>
                      <a:pt x="99658" y="543574"/>
                    </a:moveTo>
                    <a:lnTo>
                      <a:pt x="0" y="543574"/>
                    </a:lnTo>
                    <a:lnTo>
                      <a:pt x="165436" y="98997"/>
                    </a:lnTo>
                    <a:cubicBezTo>
                      <a:pt x="185929" y="38012"/>
                      <a:pt x="219975" y="0"/>
                      <a:pt x="291206" y="0"/>
                    </a:cubicBezTo>
                    <a:cubicBezTo>
                      <a:pt x="370371" y="0"/>
                      <a:pt x="409870" y="46606"/>
                      <a:pt x="409870" y="116350"/>
                    </a:cubicBezTo>
                    <a:lnTo>
                      <a:pt x="409870" y="432016"/>
                    </a:lnTo>
                    <a:cubicBezTo>
                      <a:pt x="409870" y="450196"/>
                      <a:pt x="420943" y="462095"/>
                      <a:pt x="436809" y="462095"/>
                    </a:cubicBezTo>
                    <a:cubicBezTo>
                      <a:pt x="451022" y="462095"/>
                      <a:pt x="462096" y="453336"/>
                      <a:pt x="466888" y="439949"/>
                    </a:cubicBezTo>
                    <a:lnTo>
                      <a:pt x="596626" y="99162"/>
                    </a:lnTo>
                    <a:cubicBezTo>
                      <a:pt x="617284" y="38177"/>
                      <a:pt x="651165" y="165"/>
                      <a:pt x="722396" y="165"/>
                    </a:cubicBezTo>
                    <a:cubicBezTo>
                      <a:pt x="801395" y="165"/>
                      <a:pt x="841060" y="46771"/>
                      <a:pt x="841060" y="116515"/>
                    </a:cubicBezTo>
                    <a:lnTo>
                      <a:pt x="841060" y="543574"/>
                    </a:lnTo>
                    <a:lnTo>
                      <a:pt x="746856" y="543574"/>
                    </a:lnTo>
                    <a:lnTo>
                      <a:pt x="746856" y="121143"/>
                    </a:lnTo>
                    <a:cubicBezTo>
                      <a:pt x="746856" y="102137"/>
                      <a:pt x="735783" y="90402"/>
                      <a:pt x="719917" y="90402"/>
                    </a:cubicBezTo>
                    <a:cubicBezTo>
                      <a:pt x="706530" y="90402"/>
                      <a:pt x="695457" y="99823"/>
                      <a:pt x="690664" y="113375"/>
                    </a:cubicBezTo>
                    <a:lnTo>
                      <a:pt x="560927" y="454328"/>
                    </a:lnTo>
                    <a:cubicBezTo>
                      <a:pt x="540268" y="515147"/>
                      <a:pt x="505562" y="553159"/>
                      <a:pt x="434330" y="553159"/>
                    </a:cubicBezTo>
                    <a:cubicBezTo>
                      <a:pt x="355992" y="553159"/>
                      <a:pt x="316493" y="506553"/>
                      <a:pt x="316493" y="435982"/>
                    </a:cubicBezTo>
                    <a:lnTo>
                      <a:pt x="316493" y="121143"/>
                    </a:lnTo>
                    <a:cubicBezTo>
                      <a:pt x="316493" y="102137"/>
                      <a:pt x="304758" y="90402"/>
                      <a:pt x="288892" y="90402"/>
                    </a:cubicBezTo>
                    <a:cubicBezTo>
                      <a:pt x="274514" y="90402"/>
                      <a:pt x="265093" y="99823"/>
                      <a:pt x="259640" y="113375"/>
                    </a:cubicBezTo>
                    <a:lnTo>
                      <a:pt x="99823" y="54373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BC53BD98-E8BC-36D5-FD50-E1D7D55FF815}"/>
                  </a:ext>
                </a:extLst>
              </p:cNvPr>
              <p:cNvSpPr/>
              <p:nvPr/>
            </p:nvSpPr>
            <p:spPr>
              <a:xfrm>
                <a:off x="7524147" y="5225278"/>
                <a:ext cx="590841" cy="543408"/>
              </a:xfrm>
              <a:custGeom>
                <a:avLst/>
                <a:gdLst>
                  <a:gd name="connsiteX0" fmla="*/ 102798 w 590841"/>
                  <a:gd name="connsiteY0" fmla="*/ 543409 h 543408"/>
                  <a:gd name="connsiteX1" fmla="*/ 0 w 590841"/>
                  <a:gd name="connsiteY1" fmla="*/ 543409 h 543408"/>
                  <a:gd name="connsiteX2" fmla="*/ 187416 w 590841"/>
                  <a:gd name="connsiteY2" fmla="*/ 68918 h 543408"/>
                  <a:gd name="connsiteX3" fmla="*/ 299800 w 590841"/>
                  <a:gd name="connsiteY3" fmla="*/ 0 h 543408"/>
                  <a:gd name="connsiteX4" fmla="*/ 410531 w 590841"/>
                  <a:gd name="connsiteY4" fmla="*/ 68918 h 543408"/>
                  <a:gd name="connsiteX5" fmla="*/ 590841 w 590841"/>
                  <a:gd name="connsiteY5" fmla="*/ 543409 h 543408"/>
                  <a:gd name="connsiteX6" fmla="*/ 487217 w 590841"/>
                  <a:gd name="connsiteY6" fmla="*/ 543409 h 543408"/>
                  <a:gd name="connsiteX7" fmla="*/ 325087 w 590841"/>
                  <a:gd name="connsiteY7" fmla="*/ 113871 h 543408"/>
                  <a:gd name="connsiteX8" fmla="*/ 298974 w 590841"/>
                  <a:gd name="connsiteY8" fmla="*/ 95692 h 543408"/>
                  <a:gd name="connsiteX9" fmla="*/ 272035 w 590841"/>
                  <a:gd name="connsiteY9" fmla="*/ 113871 h 543408"/>
                  <a:gd name="connsiteX10" fmla="*/ 102798 w 590841"/>
                  <a:gd name="connsiteY10" fmla="*/ 543409 h 54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0841" h="543408">
                    <a:moveTo>
                      <a:pt x="102798" y="543409"/>
                    </a:moveTo>
                    <a:lnTo>
                      <a:pt x="0" y="543409"/>
                    </a:lnTo>
                    <a:lnTo>
                      <a:pt x="187416" y="68918"/>
                    </a:lnTo>
                    <a:cubicBezTo>
                      <a:pt x="207249" y="19006"/>
                      <a:pt x="243608" y="0"/>
                      <a:pt x="299800" y="0"/>
                    </a:cubicBezTo>
                    <a:cubicBezTo>
                      <a:pt x="355992" y="0"/>
                      <a:pt x="391525" y="19006"/>
                      <a:pt x="410531" y="68918"/>
                    </a:cubicBezTo>
                    <a:lnTo>
                      <a:pt x="590841" y="543409"/>
                    </a:lnTo>
                    <a:lnTo>
                      <a:pt x="487217" y="543409"/>
                    </a:lnTo>
                    <a:lnTo>
                      <a:pt x="325087" y="113871"/>
                    </a:lnTo>
                    <a:cubicBezTo>
                      <a:pt x="320294" y="101145"/>
                      <a:pt x="311700" y="95692"/>
                      <a:pt x="298974" y="95692"/>
                    </a:cubicBezTo>
                    <a:cubicBezTo>
                      <a:pt x="286248" y="95692"/>
                      <a:pt x="277654" y="101145"/>
                      <a:pt x="272035" y="113871"/>
                    </a:cubicBezTo>
                    <a:lnTo>
                      <a:pt x="102798" y="54340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65085F13-87A2-0B37-D6D7-41ACF45D6807}"/>
                  </a:ext>
                </a:extLst>
              </p:cNvPr>
              <p:cNvSpPr/>
              <p:nvPr/>
            </p:nvSpPr>
            <p:spPr>
              <a:xfrm>
                <a:off x="8185062" y="5234699"/>
                <a:ext cx="472177" cy="534153"/>
              </a:xfrm>
              <a:custGeom>
                <a:avLst/>
                <a:gdLst>
                  <a:gd name="connsiteX0" fmla="*/ 289388 w 472177"/>
                  <a:gd name="connsiteY0" fmla="*/ 0 h 534153"/>
                  <a:gd name="connsiteX1" fmla="*/ 461104 w 472177"/>
                  <a:gd name="connsiteY1" fmla="*/ 159817 h 534153"/>
                  <a:gd name="connsiteX2" fmla="*/ 347894 w 472177"/>
                  <a:gd name="connsiteY2" fmla="*/ 320459 h 534153"/>
                  <a:gd name="connsiteX3" fmla="*/ 472177 w 472177"/>
                  <a:gd name="connsiteY3" fmla="*/ 534154 h 534153"/>
                  <a:gd name="connsiteX4" fmla="*/ 368553 w 472177"/>
                  <a:gd name="connsiteY4" fmla="*/ 534154 h 534153"/>
                  <a:gd name="connsiteX5" fmla="*/ 246748 w 472177"/>
                  <a:gd name="connsiteY5" fmla="*/ 327731 h 534153"/>
                  <a:gd name="connsiteX6" fmla="*/ 107591 w 472177"/>
                  <a:gd name="connsiteY6" fmla="*/ 327731 h 534153"/>
                  <a:gd name="connsiteX7" fmla="*/ 94204 w 472177"/>
                  <a:gd name="connsiteY7" fmla="*/ 341118 h 534153"/>
                  <a:gd name="connsiteX8" fmla="*/ 94204 w 472177"/>
                  <a:gd name="connsiteY8" fmla="*/ 534154 h 534153"/>
                  <a:gd name="connsiteX9" fmla="*/ 826 w 472177"/>
                  <a:gd name="connsiteY9" fmla="*/ 534154 h 534153"/>
                  <a:gd name="connsiteX10" fmla="*/ 826 w 472177"/>
                  <a:gd name="connsiteY10" fmla="*/ 322938 h 534153"/>
                  <a:gd name="connsiteX11" fmla="*/ 84618 w 472177"/>
                  <a:gd name="connsiteY11" fmla="*/ 238320 h 534153"/>
                  <a:gd name="connsiteX12" fmla="*/ 292694 w 472177"/>
                  <a:gd name="connsiteY12" fmla="*/ 238320 h 534153"/>
                  <a:gd name="connsiteX13" fmla="*/ 367065 w 472177"/>
                  <a:gd name="connsiteY13" fmla="*/ 163948 h 534153"/>
                  <a:gd name="connsiteX14" fmla="*/ 292694 w 472177"/>
                  <a:gd name="connsiteY14" fmla="*/ 93543 h 534153"/>
                  <a:gd name="connsiteX15" fmla="*/ 0 w 472177"/>
                  <a:gd name="connsiteY15" fmla="*/ 93543 h 534153"/>
                  <a:gd name="connsiteX16" fmla="*/ 0 w 472177"/>
                  <a:gd name="connsiteY16" fmla="*/ 165 h 534153"/>
                  <a:gd name="connsiteX17" fmla="*/ 289388 w 472177"/>
                  <a:gd name="connsiteY17" fmla="*/ 165 h 534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72177" h="534153">
                    <a:moveTo>
                      <a:pt x="289388" y="0"/>
                    </a:moveTo>
                    <a:cubicBezTo>
                      <a:pt x="409705" y="0"/>
                      <a:pt x="461104" y="74372"/>
                      <a:pt x="461104" y="159817"/>
                    </a:cubicBezTo>
                    <a:cubicBezTo>
                      <a:pt x="461104" y="226255"/>
                      <a:pt x="429537" y="297486"/>
                      <a:pt x="347894" y="320459"/>
                    </a:cubicBezTo>
                    <a:lnTo>
                      <a:pt x="472177" y="534154"/>
                    </a:lnTo>
                    <a:lnTo>
                      <a:pt x="368553" y="534154"/>
                    </a:lnTo>
                    <a:lnTo>
                      <a:pt x="246748" y="327731"/>
                    </a:lnTo>
                    <a:lnTo>
                      <a:pt x="107591" y="327731"/>
                    </a:lnTo>
                    <a:cubicBezTo>
                      <a:pt x="98832" y="327731"/>
                      <a:pt x="94204" y="331698"/>
                      <a:pt x="94204" y="341118"/>
                    </a:cubicBezTo>
                    <a:lnTo>
                      <a:pt x="94204" y="534154"/>
                    </a:lnTo>
                    <a:lnTo>
                      <a:pt x="826" y="534154"/>
                    </a:lnTo>
                    <a:lnTo>
                      <a:pt x="826" y="322938"/>
                    </a:lnTo>
                    <a:cubicBezTo>
                      <a:pt x="826" y="262780"/>
                      <a:pt x="26113" y="238320"/>
                      <a:pt x="84618" y="238320"/>
                    </a:cubicBezTo>
                    <a:lnTo>
                      <a:pt x="292694" y="238320"/>
                    </a:lnTo>
                    <a:cubicBezTo>
                      <a:pt x="345745" y="238320"/>
                      <a:pt x="367065" y="201960"/>
                      <a:pt x="367065" y="163948"/>
                    </a:cubicBezTo>
                    <a:cubicBezTo>
                      <a:pt x="367065" y="125936"/>
                      <a:pt x="344093" y="93543"/>
                      <a:pt x="292694" y="93543"/>
                    </a:cubicBezTo>
                    <a:lnTo>
                      <a:pt x="0" y="93543"/>
                    </a:lnTo>
                    <a:lnTo>
                      <a:pt x="0" y="165"/>
                    </a:lnTo>
                    <a:lnTo>
                      <a:pt x="289388" y="165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2DDBDE8-7C47-B42B-067A-5E256B346231}"/>
                  </a:ext>
                </a:extLst>
              </p:cNvPr>
              <p:cNvSpPr/>
              <p:nvPr/>
            </p:nvSpPr>
            <p:spPr>
              <a:xfrm>
                <a:off x="8719381" y="5234699"/>
                <a:ext cx="476804" cy="533988"/>
              </a:xfrm>
              <a:custGeom>
                <a:avLst/>
                <a:gdLst>
                  <a:gd name="connsiteX0" fmla="*/ 436479 w 476804"/>
                  <a:gd name="connsiteY0" fmla="*/ 0 h 533988"/>
                  <a:gd name="connsiteX1" fmla="*/ 436479 w 476804"/>
                  <a:gd name="connsiteY1" fmla="*/ 93378 h 533988"/>
                  <a:gd name="connsiteX2" fmla="*/ 162791 w 476804"/>
                  <a:gd name="connsiteY2" fmla="*/ 93378 h 533988"/>
                  <a:gd name="connsiteX3" fmla="*/ 93212 w 476804"/>
                  <a:gd name="connsiteY3" fmla="*/ 156676 h 533988"/>
                  <a:gd name="connsiteX4" fmla="*/ 172377 w 476804"/>
                  <a:gd name="connsiteY4" fmla="*/ 219975 h 533988"/>
                  <a:gd name="connsiteX5" fmla="*/ 297321 w 476804"/>
                  <a:gd name="connsiteY5" fmla="*/ 219975 h 533988"/>
                  <a:gd name="connsiteX6" fmla="*/ 476805 w 476804"/>
                  <a:gd name="connsiteY6" fmla="*/ 377312 h 533988"/>
                  <a:gd name="connsiteX7" fmla="*/ 306742 w 476804"/>
                  <a:gd name="connsiteY7" fmla="*/ 533988 h 533988"/>
                  <a:gd name="connsiteX8" fmla="*/ 9420 w 476804"/>
                  <a:gd name="connsiteY8" fmla="*/ 533988 h 533988"/>
                  <a:gd name="connsiteX9" fmla="*/ 9420 w 476804"/>
                  <a:gd name="connsiteY9" fmla="*/ 440611 h 533988"/>
                  <a:gd name="connsiteX10" fmla="*/ 310047 w 476804"/>
                  <a:gd name="connsiteY10" fmla="*/ 440611 h 533988"/>
                  <a:gd name="connsiteX11" fmla="*/ 383592 w 476804"/>
                  <a:gd name="connsiteY11" fmla="*/ 374172 h 533988"/>
                  <a:gd name="connsiteX12" fmla="*/ 299800 w 476804"/>
                  <a:gd name="connsiteY12" fmla="*/ 307733 h 533988"/>
                  <a:gd name="connsiteX13" fmla="*/ 175682 w 476804"/>
                  <a:gd name="connsiteY13" fmla="*/ 307733 h 533988"/>
                  <a:gd name="connsiteX14" fmla="*/ 0 w 476804"/>
                  <a:gd name="connsiteY14" fmla="*/ 153536 h 533988"/>
                  <a:gd name="connsiteX15" fmla="*/ 166097 w 476804"/>
                  <a:gd name="connsiteY15" fmla="*/ 0 h 533988"/>
                  <a:gd name="connsiteX16" fmla="*/ 436644 w 476804"/>
                  <a:gd name="connsiteY16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6804" h="533988">
                    <a:moveTo>
                      <a:pt x="436479" y="0"/>
                    </a:moveTo>
                    <a:lnTo>
                      <a:pt x="436479" y="93378"/>
                    </a:lnTo>
                    <a:lnTo>
                      <a:pt x="162791" y="93378"/>
                    </a:lnTo>
                    <a:cubicBezTo>
                      <a:pt x="114532" y="93378"/>
                      <a:pt x="93212" y="119491"/>
                      <a:pt x="93212" y="156676"/>
                    </a:cubicBezTo>
                    <a:cubicBezTo>
                      <a:pt x="93212" y="189069"/>
                      <a:pt x="109905" y="219975"/>
                      <a:pt x="172377" y="219975"/>
                    </a:cubicBezTo>
                    <a:lnTo>
                      <a:pt x="297321" y="219975"/>
                    </a:lnTo>
                    <a:cubicBezTo>
                      <a:pt x="442759" y="219975"/>
                      <a:pt x="476805" y="300627"/>
                      <a:pt x="476805" y="377312"/>
                    </a:cubicBezTo>
                    <a:cubicBezTo>
                      <a:pt x="476805" y="467384"/>
                      <a:pt x="428546" y="533988"/>
                      <a:pt x="306742" y="533988"/>
                    </a:cubicBezTo>
                    <a:lnTo>
                      <a:pt x="9420" y="533988"/>
                    </a:lnTo>
                    <a:lnTo>
                      <a:pt x="9420" y="440611"/>
                    </a:lnTo>
                    <a:lnTo>
                      <a:pt x="310047" y="440611"/>
                    </a:lnTo>
                    <a:cubicBezTo>
                      <a:pt x="360620" y="440611"/>
                      <a:pt x="383592" y="412845"/>
                      <a:pt x="383592" y="374172"/>
                    </a:cubicBezTo>
                    <a:cubicBezTo>
                      <a:pt x="383592" y="339465"/>
                      <a:pt x="365412" y="307733"/>
                      <a:pt x="299800" y="307733"/>
                    </a:cubicBezTo>
                    <a:lnTo>
                      <a:pt x="175682" y="307733"/>
                    </a:lnTo>
                    <a:cubicBezTo>
                      <a:pt x="33219" y="307733"/>
                      <a:pt x="0" y="227908"/>
                      <a:pt x="0" y="153536"/>
                    </a:cubicBezTo>
                    <a:cubicBezTo>
                      <a:pt x="0" y="64951"/>
                      <a:pt x="47598" y="0"/>
                      <a:pt x="166097" y="0"/>
                    </a:cubicBezTo>
                    <a:lnTo>
                      <a:pt x="436644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F9B1FB5-447D-FAC6-F817-3AA918856004}"/>
                  </a:ext>
                </a:extLst>
              </p:cNvPr>
              <p:cNvSpPr/>
              <p:nvPr/>
            </p:nvSpPr>
            <p:spPr>
              <a:xfrm>
                <a:off x="9483756" y="5234699"/>
                <a:ext cx="484241" cy="533988"/>
              </a:xfrm>
              <a:custGeom>
                <a:avLst/>
                <a:gdLst>
                  <a:gd name="connsiteX0" fmla="*/ 323599 w 484241"/>
                  <a:gd name="connsiteY0" fmla="*/ 0 h 533988"/>
                  <a:gd name="connsiteX1" fmla="*/ 484242 w 484241"/>
                  <a:gd name="connsiteY1" fmla="*/ 151057 h 533988"/>
                  <a:gd name="connsiteX2" fmla="*/ 359959 w 484241"/>
                  <a:gd name="connsiteY2" fmla="*/ 294181 h 533988"/>
                  <a:gd name="connsiteX3" fmla="*/ 137670 w 484241"/>
                  <a:gd name="connsiteY3" fmla="*/ 344093 h 533988"/>
                  <a:gd name="connsiteX4" fmla="*/ 93378 w 484241"/>
                  <a:gd name="connsiteY4" fmla="*/ 402598 h 533988"/>
                  <a:gd name="connsiteX5" fmla="*/ 93378 w 484241"/>
                  <a:gd name="connsiteY5" fmla="*/ 429537 h 533988"/>
                  <a:gd name="connsiteX6" fmla="*/ 103625 w 484241"/>
                  <a:gd name="connsiteY6" fmla="*/ 440611 h 533988"/>
                  <a:gd name="connsiteX7" fmla="*/ 469863 w 484241"/>
                  <a:gd name="connsiteY7" fmla="*/ 440611 h 533988"/>
                  <a:gd name="connsiteX8" fmla="*/ 469863 w 484241"/>
                  <a:gd name="connsiteY8" fmla="*/ 533988 h 533988"/>
                  <a:gd name="connsiteX9" fmla="*/ 44293 w 484241"/>
                  <a:gd name="connsiteY9" fmla="*/ 533988 h 533988"/>
                  <a:gd name="connsiteX10" fmla="*/ 0 w 484241"/>
                  <a:gd name="connsiteY10" fmla="*/ 490522 h 533988"/>
                  <a:gd name="connsiteX11" fmla="*/ 0 w 484241"/>
                  <a:gd name="connsiteY11" fmla="*/ 409870 h 533988"/>
                  <a:gd name="connsiteX12" fmla="*/ 117177 w 484241"/>
                  <a:gd name="connsiteY12" fmla="*/ 256334 h 533988"/>
                  <a:gd name="connsiteX13" fmla="*/ 341779 w 484241"/>
                  <a:gd name="connsiteY13" fmla="*/ 204935 h 533988"/>
                  <a:gd name="connsiteX14" fmla="*/ 391691 w 484241"/>
                  <a:gd name="connsiteY14" fmla="*/ 152710 h 533988"/>
                  <a:gd name="connsiteX15" fmla="*/ 325913 w 484241"/>
                  <a:gd name="connsiteY15" fmla="*/ 93378 h 533988"/>
                  <a:gd name="connsiteX16" fmla="*/ 17353 w 484241"/>
                  <a:gd name="connsiteY16" fmla="*/ 93378 h 533988"/>
                  <a:gd name="connsiteX17" fmla="*/ 17353 w 484241"/>
                  <a:gd name="connsiteY17" fmla="*/ 0 h 533988"/>
                  <a:gd name="connsiteX18" fmla="*/ 323599 w 484241"/>
                  <a:gd name="connsiteY18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4241" h="533988">
                    <a:moveTo>
                      <a:pt x="323599" y="0"/>
                    </a:moveTo>
                    <a:cubicBezTo>
                      <a:pt x="426397" y="0"/>
                      <a:pt x="484242" y="53052"/>
                      <a:pt x="484242" y="151057"/>
                    </a:cubicBezTo>
                    <a:cubicBezTo>
                      <a:pt x="484242" y="230221"/>
                      <a:pt x="446230" y="274514"/>
                      <a:pt x="359959" y="294181"/>
                    </a:cubicBezTo>
                    <a:lnTo>
                      <a:pt x="137670" y="344093"/>
                    </a:lnTo>
                    <a:cubicBezTo>
                      <a:pt x="100650" y="352852"/>
                      <a:pt x="93378" y="372519"/>
                      <a:pt x="93378" y="402598"/>
                    </a:cubicBezTo>
                    <a:lnTo>
                      <a:pt x="93378" y="429537"/>
                    </a:lnTo>
                    <a:cubicBezTo>
                      <a:pt x="93378" y="438296"/>
                      <a:pt x="96518" y="440611"/>
                      <a:pt x="103625" y="440611"/>
                    </a:cubicBezTo>
                    <a:lnTo>
                      <a:pt x="469863" y="440611"/>
                    </a:lnTo>
                    <a:lnTo>
                      <a:pt x="469863" y="533988"/>
                    </a:lnTo>
                    <a:lnTo>
                      <a:pt x="44293" y="533988"/>
                    </a:lnTo>
                    <a:cubicBezTo>
                      <a:pt x="14213" y="533988"/>
                      <a:pt x="0" y="519775"/>
                      <a:pt x="0" y="490522"/>
                    </a:cubicBezTo>
                    <a:lnTo>
                      <a:pt x="0" y="409870"/>
                    </a:lnTo>
                    <a:cubicBezTo>
                      <a:pt x="0" y="322773"/>
                      <a:pt x="26113" y="276993"/>
                      <a:pt x="117177" y="256334"/>
                    </a:cubicBezTo>
                    <a:lnTo>
                      <a:pt x="341779" y="204935"/>
                    </a:lnTo>
                    <a:cubicBezTo>
                      <a:pt x="379791" y="196176"/>
                      <a:pt x="391691" y="177996"/>
                      <a:pt x="391691" y="152710"/>
                    </a:cubicBezTo>
                    <a:cubicBezTo>
                      <a:pt x="391691" y="117011"/>
                      <a:pt x="368718" y="93378"/>
                      <a:pt x="325913" y="93378"/>
                    </a:cubicBezTo>
                    <a:lnTo>
                      <a:pt x="17353" y="93378"/>
                    </a:lnTo>
                    <a:lnTo>
                      <a:pt x="17353" y="0"/>
                    </a:lnTo>
                    <a:lnTo>
                      <a:pt x="323599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FE9B9063-99A6-D0B0-1A0A-57F41CF1EFCE}"/>
                  </a:ext>
                </a:extLst>
              </p:cNvPr>
              <p:cNvSpPr/>
              <p:nvPr/>
            </p:nvSpPr>
            <p:spPr>
              <a:xfrm>
                <a:off x="10032122" y="5226931"/>
                <a:ext cx="482589" cy="549688"/>
              </a:xfrm>
              <a:custGeom>
                <a:avLst/>
                <a:gdLst>
                  <a:gd name="connsiteX0" fmla="*/ 482589 w 482589"/>
                  <a:gd name="connsiteY0" fmla="*/ 275175 h 549688"/>
                  <a:gd name="connsiteX1" fmla="*/ 241295 w 482589"/>
                  <a:gd name="connsiteY1" fmla="*/ 549689 h 549688"/>
                  <a:gd name="connsiteX2" fmla="*/ 0 w 482589"/>
                  <a:gd name="connsiteY2" fmla="*/ 275175 h 549688"/>
                  <a:gd name="connsiteX3" fmla="*/ 241295 w 482589"/>
                  <a:gd name="connsiteY3" fmla="*/ 0 h 549688"/>
                  <a:gd name="connsiteX4" fmla="*/ 482589 w 482589"/>
                  <a:gd name="connsiteY4" fmla="*/ 275175 h 549688"/>
                  <a:gd name="connsiteX5" fmla="*/ 91890 w 482589"/>
                  <a:gd name="connsiteY5" fmla="*/ 274514 h 549688"/>
                  <a:gd name="connsiteX6" fmla="*/ 241460 w 482589"/>
                  <a:gd name="connsiteY6" fmla="*/ 456476 h 549688"/>
                  <a:gd name="connsiteX7" fmla="*/ 390203 w 482589"/>
                  <a:gd name="connsiteY7" fmla="*/ 274514 h 549688"/>
                  <a:gd name="connsiteX8" fmla="*/ 241460 w 482589"/>
                  <a:gd name="connsiteY8" fmla="*/ 93378 h 549688"/>
                  <a:gd name="connsiteX9" fmla="*/ 91890 w 482589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9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5" y="549689"/>
                    </a:cubicBezTo>
                    <a:cubicBezTo>
                      <a:pt x="85445" y="549689"/>
                      <a:pt x="0" y="453997"/>
                      <a:pt x="0" y="275175"/>
                    </a:cubicBezTo>
                    <a:cubicBezTo>
                      <a:pt x="0" y="96352"/>
                      <a:pt x="86271" y="0"/>
                      <a:pt x="241295" y="0"/>
                    </a:cubicBezTo>
                    <a:cubicBezTo>
                      <a:pt x="396318" y="0"/>
                      <a:pt x="482589" y="95692"/>
                      <a:pt x="482589" y="275175"/>
                    </a:cubicBezTo>
                    <a:close/>
                    <a:moveTo>
                      <a:pt x="91890" y="274514"/>
                    </a:moveTo>
                    <a:cubicBezTo>
                      <a:pt x="91890" y="397144"/>
                      <a:pt x="137009" y="456476"/>
                      <a:pt x="241460" y="456476"/>
                    </a:cubicBezTo>
                    <a:cubicBezTo>
                      <a:pt x="345910" y="456476"/>
                      <a:pt x="390203" y="397144"/>
                      <a:pt x="390203" y="274514"/>
                    </a:cubicBezTo>
                    <a:cubicBezTo>
                      <a:pt x="390203" y="151883"/>
                      <a:pt x="345084" y="93378"/>
                      <a:pt x="241460" y="93378"/>
                    </a:cubicBezTo>
                    <a:cubicBezTo>
                      <a:pt x="137835" y="93378"/>
                      <a:pt x="91890" y="152710"/>
                      <a:pt x="91890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1E17615D-B210-8F02-2C40-3967C6CA871C}"/>
                  </a:ext>
                </a:extLst>
              </p:cNvPr>
              <p:cNvSpPr/>
              <p:nvPr/>
            </p:nvSpPr>
            <p:spPr>
              <a:xfrm>
                <a:off x="10618005" y="5234203"/>
                <a:ext cx="447717" cy="534318"/>
              </a:xfrm>
              <a:custGeom>
                <a:avLst/>
                <a:gdLst>
                  <a:gd name="connsiteX0" fmla="*/ 267242 w 447717"/>
                  <a:gd name="connsiteY0" fmla="*/ 496 h 534318"/>
                  <a:gd name="connsiteX1" fmla="*/ 446064 w 447717"/>
                  <a:gd name="connsiteY1" fmla="*/ 143620 h 534318"/>
                  <a:gd name="connsiteX2" fmla="*/ 370205 w 447717"/>
                  <a:gd name="connsiteY2" fmla="*/ 266250 h 534318"/>
                  <a:gd name="connsiteX3" fmla="*/ 447717 w 447717"/>
                  <a:gd name="connsiteY3" fmla="*/ 391194 h 534318"/>
                  <a:gd name="connsiteX4" fmla="*/ 269721 w 447717"/>
                  <a:gd name="connsiteY4" fmla="*/ 534318 h 534318"/>
                  <a:gd name="connsiteX5" fmla="*/ 0 w 447717"/>
                  <a:gd name="connsiteY5" fmla="*/ 534318 h 534318"/>
                  <a:gd name="connsiteX6" fmla="*/ 0 w 447717"/>
                  <a:gd name="connsiteY6" fmla="*/ 440941 h 534318"/>
                  <a:gd name="connsiteX7" fmla="*/ 269721 w 447717"/>
                  <a:gd name="connsiteY7" fmla="*/ 440941 h 534318"/>
                  <a:gd name="connsiteX8" fmla="*/ 350373 w 447717"/>
                  <a:gd name="connsiteY8" fmla="*/ 372850 h 534318"/>
                  <a:gd name="connsiteX9" fmla="*/ 268895 w 447717"/>
                  <a:gd name="connsiteY9" fmla="*/ 308725 h 534318"/>
                  <a:gd name="connsiteX10" fmla="*/ 104285 w 447717"/>
                  <a:gd name="connsiteY10" fmla="*/ 308725 h 534318"/>
                  <a:gd name="connsiteX11" fmla="*/ 104285 w 447717"/>
                  <a:gd name="connsiteY11" fmla="*/ 223941 h 534318"/>
                  <a:gd name="connsiteX12" fmla="*/ 266416 w 447717"/>
                  <a:gd name="connsiteY12" fmla="*/ 223941 h 534318"/>
                  <a:gd name="connsiteX13" fmla="*/ 347894 w 447717"/>
                  <a:gd name="connsiteY13" fmla="*/ 159816 h 534318"/>
                  <a:gd name="connsiteX14" fmla="*/ 267242 w 447717"/>
                  <a:gd name="connsiteY14" fmla="*/ 93378 h 534318"/>
                  <a:gd name="connsiteX15" fmla="*/ 661 w 447717"/>
                  <a:gd name="connsiteY15" fmla="*/ 93378 h 534318"/>
                  <a:gd name="connsiteX16" fmla="*/ 661 w 447717"/>
                  <a:gd name="connsiteY16" fmla="*/ 0 h 534318"/>
                  <a:gd name="connsiteX17" fmla="*/ 267242 w 447717"/>
                  <a:gd name="connsiteY17" fmla="*/ 0 h 53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7717" h="534318">
                    <a:moveTo>
                      <a:pt x="267242" y="496"/>
                    </a:moveTo>
                    <a:cubicBezTo>
                      <a:pt x="393013" y="496"/>
                      <a:pt x="446064" y="61481"/>
                      <a:pt x="446064" y="143620"/>
                    </a:cubicBezTo>
                    <a:cubicBezTo>
                      <a:pt x="446064" y="206918"/>
                      <a:pt x="419125" y="245757"/>
                      <a:pt x="370205" y="266250"/>
                    </a:cubicBezTo>
                    <a:cubicBezTo>
                      <a:pt x="420778" y="287736"/>
                      <a:pt x="447717" y="327235"/>
                      <a:pt x="447717" y="391194"/>
                    </a:cubicBezTo>
                    <a:cubicBezTo>
                      <a:pt x="447717" y="471020"/>
                      <a:pt x="395492" y="534318"/>
                      <a:pt x="269721" y="534318"/>
                    </a:cubicBezTo>
                    <a:lnTo>
                      <a:pt x="0" y="534318"/>
                    </a:lnTo>
                    <a:lnTo>
                      <a:pt x="0" y="440941"/>
                    </a:lnTo>
                    <a:lnTo>
                      <a:pt x="269721" y="440941"/>
                    </a:lnTo>
                    <a:cubicBezTo>
                      <a:pt x="324260" y="440941"/>
                      <a:pt x="350373" y="415655"/>
                      <a:pt x="350373" y="372850"/>
                    </a:cubicBezTo>
                    <a:cubicBezTo>
                      <a:pt x="350373" y="330045"/>
                      <a:pt x="322608" y="308725"/>
                      <a:pt x="268895" y="308725"/>
                    </a:cubicBezTo>
                    <a:lnTo>
                      <a:pt x="104285" y="308725"/>
                    </a:lnTo>
                    <a:lnTo>
                      <a:pt x="104285" y="223941"/>
                    </a:lnTo>
                    <a:lnTo>
                      <a:pt x="266416" y="223941"/>
                    </a:lnTo>
                    <a:cubicBezTo>
                      <a:pt x="320955" y="223941"/>
                      <a:pt x="347894" y="204274"/>
                      <a:pt x="347894" y="159816"/>
                    </a:cubicBezTo>
                    <a:cubicBezTo>
                      <a:pt x="347894" y="119491"/>
                      <a:pt x="323434" y="93378"/>
                      <a:pt x="267242" y="93378"/>
                    </a:cubicBezTo>
                    <a:lnTo>
                      <a:pt x="661" y="93378"/>
                    </a:lnTo>
                    <a:lnTo>
                      <a:pt x="661" y="0"/>
                    </a:lnTo>
                    <a:lnTo>
                      <a:pt x="267242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1C83E7B4-E80A-634A-9567-40DFBAE2B82D}"/>
                  </a:ext>
                </a:extLst>
              </p:cNvPr>
              <p:cNvSpPr/>
              <p:nvPr/>
            </p:nvSpPr>
            <p:spPr>
              <a:xfrm>
                <a:off x="11147366" y="5226931"/>
                <a:ext cx="482588" cy="549688"/>
              </a:xfrm>
              <a:custGeom>
                <a:avLst/>
                <a:gdLst>
                  <a:gd name="connsiteX0" fmla="*/ 482589 w 482588"/>
                  <a:gd name="connsiteY0" fmla="*/ 275175 h 549688"/>
                  <a:gd name="connsiteX1" fmla="*/ 241294 w 482588"/>
                  <a:gd name="connsiteY1" fmla="*/ 549689 h 549688"/>
                  <a:gd name="connsiteX2" fmla="*/ 0 w 482588"/>
                  <a:gd name="connsiteY2" fmla="*/ 275175 h 549688"/>
                  <a:gd name="connsiteX3" fmla="*/ 241294 w 482588"/>
                  <a:gd name="connsiteY3" fmla="*/ 0 h 549688"/>
                  <a:gd name="connsiteX4" fmla="*/ 482589 w 482588"/>
                  <a:gd name="connsiteY4" fmla="*/ 275175 h 549688"/>
                  <a:gd name="connsiteX5" fmla="*/ 91725 w 482588"/>
                  <a:gd name="connsiteY5" fmla="*/ 274514 h 549688"/>
                  <a:gd name="connsiteX6" fmla="*/ 241129 w 482588"/>
                  <a:gd name="connsiteY6" fmla="*/ 456476 h 549688"/>
                  <a:gd name="connsiteX7" fmla="*/ 389872 w 482588"/>
                  <a:gd name="connsiteY7" fmla="*/ 274514 h 549688"/>
                  <a:gd name="connsiteX8" fmla="*/ 241129 w 482588"/>
                  <a:gd name="connsiteY8" fmla="*/ 93378 h 549688"/>
                  <a:gd name="connsiteX9" fmla="*/ 91725 w 482588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8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4" y="549689"/>
                    </a:cubicBezTo>
                    <a:cubicBezTo>
                      <a:pt x="85444" y="549689"/>
                      <a:pt x="0" y="453997"/>
                      <a:pt x="0" y="275175"/>
                    </a:cubicBezTo>
                    <a:cubicBezTo>
                      <a:pt x="0" y="96352"/>
                      <a:pt x="86106" y="0"/>
                      <a:pt x="241294" y="0"/>
                    </a:cubicBezTo>
                    <a:cubicBezTo>
                      <a:pt x="396483" y="0"/>
                      <a:pt x="482589" y="95692"/>
                      <a:pt x="482589" y="275175"/>
                    </a:cubicBezTo>
                    <a:close/>
                    <a:moveTo>
                      <a:pt x="91725" y="274514"/>
                    </a:moveTo>
                    <a:cubicBezTo>
                      <a:pt x="91725" y="397144"/>
                      <a:pt x="136678" y="456476"/>
                      <a:pt x="241129" y="456476"/>
                    </a:cubicBezTo>
                    <a:cubicBezTo>
                      <a:pt x="345580" y="456476"/>
                      <a:pt x="389872" y="397144"/>
                      <a:pt x="389872" y="274514"/>
                    </a:cubicBezTo>
                    <a:cubicBezTo>
                      <a:pt x="389872" y="151883"/>
                      <a:pt x="344919" y="93378"/>
                      <a:pt x="241129" y="93378"/>
                    </a:cubicBezTo>
                    <a:cubicBezTo>
                      <a:pt x="137340" y="93378"/>
                      <a:pt x="91725" y="152710"/>
                      <a:pt x="91725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" name="Graphic 8">
              <a:extLst>
                <a:ext uri="{FF2B5EF4-FFF2-40B4-BE49-F238E27FC236}">
                  <a16:creationId xmlns:a16="http://schemas.microsoft.com/office/drawing/2014/main" id="{41AA86B9-14EF-918F-2D74-4D4286107D42}"/>
                </a:ext>
              </a:extLst>
            </p:cNvPr>
            <p:cNvGrpSpPr/>
            <p:nvPr/>
          </p:nvGrpSpPr>
          <p:grpSpPr>
            <a:xfrm>
              <a:off x="6611525" y="5883880"/>
              <a:ext cx="5018265" cy="193035"/>
              <a:chOff x="6611525" y="5883880"/>
              <a:chExt cx="5018265" cy="193035"/>
            </a:xfrm>
            <a:solidFill>
              <a:srgbClr val="FFFFFF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97227CAE-9034-5FA2-3341-7F6DE0166178}"/>
                  </a:ext>
                </a:extLst>
              </p:cNvPr>
              <p:cNvSpPr/>
              <p:nvPr/>
            </p:nvSpPr>
            <p:spPr>
              <a:xfrm>
                <a:off x="6611525" y="5897929"/>
                <a:ext cx="212206" cy="139322"/>
              </a:xfrm>
              <a:custGeom>
                <a:avLst/>
                <a:gdLst>
                  <a:gd name="connsiteX0" fmla="*/ 25121 w 212206"/>
                  <a:gd name="connsiteY0" fmla="*/ 137009 h 139322"/>
                  <a:gd name="connsiteX1" fmla="*/ 0 w 212206"/>
                  <a:gd name="connsiteY1" fmla="*/ 137009 h 139322"/>
                  <a:gd name="connsiteX2" fmla="*/ 41813 w 212206"/>
                  <a:gd name="connsiteY2" fmla="*/ 24955 h 139322"/>
                  <a:gd name="connsiteX3" fmla="*/ 73545 w 212206"/>
                  <a:gd name="connsiteY3" fmla="*/ 0 h 139322"/>
                  <a:gd name="connsiteX4" fmla="*/ 103459 w 212206"/>
                  <a:gd name="connsiteY4" fmla="*/ 29253 h 139322"/>
                  <a:gd name="connsiteX5" fmla="*/ 103459 w 212206"/>
                  <a:gd name="connsiteY5" fmla="*/ 108913 h 139322"/>
                  <a:gd name="connsiteX6" fmla="*/ 110235 w 212206"/>
                  <a:gd name="connsiteY6" fmla="*/ 116515 h 139322"/>
                  <a:gd name="connsiteX7" fmla="*/ 117838 w 212206"/>
                  <a:gd name="connsiteY7" fmla="*/ 110896 h 139322"/>
                  <a:gd name="connsiteX8" fmla="*/ 150561 w 212206"/>
                  <a:gd name="connsiteY8" fmla="*/ 24955 h 139322"/>
                  <a:gd name="connsiteX9" fmla="*/ 182293 w 212206"/>
                  <a:gd name="connsiteY9" fmla="*/ 0 h 139322"/>
                  <a:gd name="connsiteX10" fmla="*/ 212207 w 212206"/>
                  <a:gd name="connsiteY10" fmla="*/ 29253 h 139322"/>
                  <a:gd name="connsiteX11" fmla="*/ 212207 w 212206"/>
                  <a:gd name="connsiteY11" fmla="*/ 137009 h 139322"/>
                  <a:gd name="connsiteX12" fmla="*/ 188408 w 212206"/>
                  <a:gd name="connsiteY12" fmla="*/ 137009 h 139322"/>
                  <a:gd name="connsiteX13" fmla="*/ 188408 w 212206"/>
                  <a:gd name="connsiteY13" fmla="*/ 30410 h 139322"/>
                  <a:gd name="connsiteX14" fmla="*/ 181632 w 212206"/>
                  <a:gd name="connsiteY14" fmla="*/ 22642 h 139322"/>
                  <a:gd name="connsiteX15" fmla="*/ 174195 w 212206"/>
                  <a:gd name="connsiteY15" fmla="*/ 28427 h 139322"/>
                  <a:gd name="connsiteX16" fmla="*/ 141471 w 212206"/>
                  <a:gd name="connsiteY16" fmla="*/ 114367 h 139322"/>
                  <a:gd name="connsiteX17" fmla="*/ 109574 w 212206"/>
                  <a:gd name="connsiteY17" fmla="*/ 139323 h 139322"/>
                  <a:gd name="connsiteX18" fmla="*/ 79826 w 212206"/>
                  <a:gd name="connsiteY18" fmla="*/ 109739 h 139322"/>
                  <a:gd name="connsiteX19" fmla="*/ 79826 w 212206"/>
                  <a:gd name="connsiteY19" fmla="*/ 30410 h 139322"/>
                  <a:gd name="connsiteX20" fmla="*/ 72884 w 212206"/>
                  <a:gd name="connsiteY20" fmla="*/ 22642 h 139322"/>
                  <a:gd name="connsiteX21" fmla="*/ 65447 w 212206"/>
                  <a:gd name="connsiteY21" fmla="*/ 28427 h 139322"/>
                  <a:gd name="connsiteX22" fmla="*/ 25121 w 212206"/>
                  <a:gd name="connsiteY22" fmla="*/ 137009 h 13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12206" h="139322">
                    <a:moveTo>
                      <a:pt x="25121" y="137009"/>
                    </a:moveTo>
                    <a:lnTo>
                      <a:pt x="0" y="137009"/>
                    </a:lnTo>
                    <a:lnTo>
                      <a:pt x="41813" y="24955"/>
                    </a:lnTo>
                    <a:cubicBezTo>
                      <a:pt x="46937" y="9585"/>
                      <a:pt x="55531" y="0"/>
                      <a:pt x="73545" y="0"/>
                    </a:cubicBezTo>
                    <a:cubicBezTo>
                      <a:pt x="93543" y="0"/>
                      <a:pt x="103459" y="11734"/>
                      <a:pt x="103459" y="29253"/>
                    </a:cubicBezTo>
                    <a:lnTo>
                      <a:pt x="103459" y="108913"/>
                    </a:lnTo>
                    <a:cubicBezTo>
                      <a:pt x="103459" y="113541"/>
                      <a:pt x="106269" y="116515"/>
                      <a:pt x="110235" y="116515"/>
                    </a:cubicBezTo>
                    <a:cubicBezTo>
                      <a:pt x="113871" y="116515"/>
                      <a:pt x="116681" y="114367"/>
                      <a:pt x="117838" y="110896"/>
                    </a:cubicBezTo>
                    <a:lnTo>
                      <a:pt x="150561" y="24955"/>
                    </a:lnTo>
                    <a:cubicBezTo>
                      <a:pt x="155685" y="9585"/>
                      <a:pt x="164279" y="0"/>
                      <a:pt x="182293" y="0"/>
                    </a:cubicBezTo>
                    <a:cubicBezTo>
                      <a:pt x="202291" y="0"/>
                      <a:pt x="212207" y="11734"/>
                      <a:pt x="212207" y="29253"/>
                    </a:cubicBezTo>
                    <a:lnTo>
                      <a:pt x="212207" y="137009"/>
                    </a:lnTo>
                    <a:lnTo>
                      <a:pt x="188408" y="137009"/>
                    </a:lnTo>
                    <a:lnTo>
                      <a:pt x="188408" y="30410"/>
                    </a:lnTo>
                    <a:cubicBezTo>
                      <a:pt x="188408" y="25617"/>
                      <a:pt x="185598" y="22642"/>
                      <a:pt x="181632" y="22642"/>
                    </a:cubicBezTo>
                    <a:cubicBezTo>
                      <a:pt x="178161" y="22642"/>
                      <a:pt x="175517" y="24955"/>
                      <a:pt x="174195" y="28427"/>
                    </a:cubicBezTo>
                    <a:lnTo>
                      <a:pt x="141471" y="114367"/>
                    </a:lnTo>
                    <a:cubicBezTo>
                      <a:pt x="136348" y="129737"/>
                      <a:pt x="127423" y="139323"/>
                      <a:pt x="109574" y="139323"/>
                    </a:cubicBezTo>
                    <a:cubicBezTo>
                      <a:pt x="89742" y="139323"/>
                      <a:pt x="79826" y="127589"/>
                      <a:pt x="79826" y="109739"/>
                    </a:cubicBezTo>
                    <a:lnTo>
                      <a:pt x="79826" y="30410"/>
                    </a:lnTo>
                    <a:cubicBezTo>
                      <a:pt x="79826" y="25617"/>
                      <a:pt x="76851" y="22642"/>
                      <a:pt x="72884" y="22642"/>
                    </a:cubicBezTo>
                    <a:cubicBezTo>
                      <a:pt x="69248" y="22642"/>
                      <a:pt x="66934" y="24955"/>
                      <a:pt x="65447" y="28427"/>
                    </a:cubicBezTo>
                    <a:lnTo>
                      <a:pt x="25121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EE3D8FF-6BFA-8207-D88A-46FFB3AE825D}"/>
                  </a:ext>
                </a:extLst>
              </p:cNvPr>
              <p:cNvSpPr/>
              <p:nvPr/>
            </p:nvSpPr>
            <p:spPr>
              <a:xfrm>
                <a:off x="6851662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386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3" y="84949"/>
                      <a:pt x="92386" y="75528"/>
                      <a:pt x="92386" y="52886"/>
                    </a:cubicBezTo>
                    <a:cubicBezTo>
                      <a:pt x="92386" y="30244"/>
                      <a:pt x="84123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772EEB5-93CF-20B8-D4CF-C7C8FEF58F4C}"/>
                  </a:ext>
                </a:extLst>
              </p:cNvPr>
              <p:cNvSpPr/>
              <p:nvPr/>
            </p:nvSpPr>
            <p:spPr>
              <a:xfrm>
                <a:off x="6987184" y="5883880"/>
                <a:ext cx="113705" cy="151057"/>
              </a:xfrm>
              <a:custGeom>
                <a:avLst/>
                <a:gdLst>
                  <a:gd name="connsiteX0" fmla="*/ 113541 w 113705"/>
                  <a:gd name="connsiteY0" fmla="*/ 0 h 151057"/>
                  <a:gd name="connsiteX1" fmla="*/ 113541 w 113705"/>
                  <a:gd name="connsiteY1" fmla="*/ 105938 h 151057"/>
                  <a:gd name="connsiteX2" fmla="*/ 74867 w 113705"/>
                  <a:gd name="connsiteY2" fmla="*/ 151057 h 151057"/>
                  <a:gd name="connsiteX3" fmla="*/ 45780 w 113705"/>
                  <a:gd name="connsiteY3" fmla="*/ 151057 h 151057"/>
                  <a:gd name="connsiteX4" fmla="*/ 0 w 113705"/>
                  <a:gd name="connsiteY4" fmla="*/ 98336 h 151057"/>
                  <a:gd name="connsiteX5" fmla="*/ 45780 w 113705"/>
                  <a:gd name="connsiteY5" fmla="*/ 45615 h 151057"/>
                  <a:gd name="connsiteX6" fmla="*/ 92386 w 113705"/>
                  <a:gd name="connsiteY6" fmla="*/ 45615 h 151057"/>
                  <a:gd name="connsiteX7" fmla="*/ 92386 w 113705"/>
                  <a:gd name="connsiteY7" fmla="*/ 0 h 151057"/>
                  <a:gd name="connsiteX8" fmla="*/ 113706 w 113705"/>
                  <a:gd name="connsiteY8" fmla="*/ 0 h 151057"/>
                  <a:gd name="connsiteX9" fmla="*/ 92221 w 113705"/>
                  <a:gd name="connsiteY9" fmla="*/ 104947 h 151057"/>
                  <a:gd name="connsiteX10" fmla="*/ 92221 w 113705"/>
                  <a:gd name="connsiteY10" fmla="*/ 66108 h 151057"/>
                  <a:gd name="connsiteX11" fmla="*/ 47598 w 113705"/>
                  <a:gd name="connsiteY11" fmla="*/ 66108 h 151057"/>
                  <a:gd name="connsiteX12" fmla="*/ 21320 w 113705"/>
                  <a:gd name="connsiteY12" fmla="*/ 98501 h 151057"/>
                  <a:gd name="connsiteX13" fmla="*/ 47598 w 113705"/>
                  <a:gd name="connsiteY13" fmla="*/ 130563 h 151057"/>
                  <a:gd name="connsiteX14" fmla="*/ 68587 w 113705"/>
                  <a:gd name="connsiteY14" fmla="*/ 130563 h 151057"/>
                  <a:gd name="connsiteX15" fmla="*/ 92221 w 113705"/>
                  <a:gd name="connsiteY15" fmla="*/ 105112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705" h="151057">
                    <a:moveTo>
                      <a:pt x="113541" y="0"/>
                    </a:moveTo>
                    <a:lnTo>
                      <a:pt x="113541" y="105938"/>
                    </a:lnTo>
                    <a:cubicBezTo>
                      <a:pt x="113541" y="136183"/>
                      <a:pt x="99989" y="151057"/>
                      <a:pt x="74867" y="151057"/>
                    </a:cubicBezTo>
                    <a:lnTo>
                      <a:pt x="45780" y="151057"/>
                    </a:lnTo>
                    <a:cubicBezTo>
                      <a:pt x="17684" y="151057"/>
                      <a:pt x="0" y="133869"/>
                      <a:pt x="0" y="98336"/>
                    </a:cubicBezTo>
                    <a:cubicBezTo>
                      <a:pt x="0" y="62802"/>
                      <a:pt x="17519" y="45615"/>
                      <a:pt x="45780" y="45615"/>
                    </a:cubicBezTo>
                    <a:lnTo>
                      <a:pt x="92386" y="45615"/>
                    </a:lnTo>
                    <a:lnTo>
                      <a:pt x="92386" y="0"/>
                    </a:lnTo>
                    <a:lnTo>
                      <a:pt x="113706" y="0"/>
                    </a:lnTo>
                    <a:close/>
                    <a:moveTo>
                      <a:pt x="92221" y="104947"/>
                    </a:moveTo>
                    <a:lnTo>
                      <a:pt x="92221" y="66108"/>
                    </a:lnTo>
                    <a:lnTo>
                      <a:pt x="47598" y="66108"/>
                    </a:lnTo>
                    <a:cubicBezTo>
                      <a:pt x="29418" y="66108"/>
                      <a:pt x="21320" y="75694"/>
                      <a:pt x="21320" y="98501"/>
                    </a:cubicBezTo>
                    <a:cubicBezTo>
                      <a:pt x="21320" y="121308"/>
                      <a:pt x="29583" y="130563"/>
                      <a:pt x="47598" y="130563"/>
                    </a:cubicBezTo>
                    <a:lnTo>
                      <a:pt x="68587" y="130563"/>
                    </a:lnTo>
                    <a:cubicBezTo>
                      <a:pt x="85610" y="130563"/>
                      <a:pt x="92221" y="122961"/>
                      <a:pt x="92221" y="1051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DDADFFB-CD00-3977-19DB-1854E2897BC8}"/>
                  </a:ext>
                </a:extLst>
              </p:cNvPr>
              <p:cNvSpPr/>
              <p:nvPr/>
            </p:nvSpPr>
            <p:spPr>
              <a:xfrm>
                <a:off x="7130308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525 w 106268"/>
                  <a:gd name="connsiteY17" fmla="*/ 20328 h 105277"/>
                  <a:gd name="connsiteX18" fmla="*/ 20328 w 106268"/>
                  <a:gd name="connsiteY18" fmla="*/ 34872 h 105277"/>
                  <a:gd name="connsiteX19" fmla="*/ 20328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92AD6A6A-B7F7-B93A-B25C-97F20C76C327}"/>
                  </a:ext>
                </a:extLst>
              </p:cNvPr>
              <p:cNvSpPr/>
              <p:nvPr/>
            </p:nvSpPr>
            <p:spPr>
              <a:xfrm>
                <a:off x="7263681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2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2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0A9DEB-EA46-3C9F-9B88-B0A802486A1F}"/>
                  </a:ext>
                </a:extLst>
              </p:cNvPr>
              <p:cNvSpPr/>
              <p:nvPr/>
            </p:nvSpPr>
            <p:spPr>
              <a:xfrm>
                <a:off x="735772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08F184F0-F808-6C44-C046-0AC15C613633}"/>
                  </a:ext>
                </a:extLst>
              </p:cNvPr>
              <p:cNvSpPr/>
              <p:nvPr/>
            </p:nvSpPr>
            <p:spPr>
              <a:xfrm>
                <a:off x="7500513" y="5889830"/>
                <a:ext cx="21319" cy="144942"/>
              </a:xfrm>
              <a:custGeom>
                <a:avLst/>
                <a:gdLst>
                  <a:gd name="connsiteX0" fmla="*/ 21320 w 21319"/>
                  <a:gd name="connsiteY0" fmla="*/ 0 h 144942"/>
                  <a:gd name="connsiteX1" fmla="*/ 21320 w 21319"/>
                  <a:gd name="connsiteY1" fmla="*/ 24460 h 144942"/>
                  <a:gd name="connsiteX2" fmla="*/ 0 w 21319"/>
                  <a:gd name="connsiteY2" fmla="*/ 24460 h 144942"/>
                  <a:gd name="connsiteX3" fmla="*/ 0 w 21319"/>
                  <a:gd name="connsiteY3" fmla="*/ 0 h 144942"/>
                  <a:gd name="connsiteX4" fmla="*/ 21320 w 21319"/>
                  <a:gd name="connsiteY4" fmla="*/ 0 h 144942"/>
                  <a:gd name="connsiteX5" fmla="*/ 21155 w 21319"/>
                  <a:gd name="connsiteY5" fmla="*/ 39665 h 144942"/>
                  <a:gd name="connsiteX6" fmla="*/ 21155 w 21319"/>
                  <a:gd name="connsiteY6" fmla="*/ 144942 h 144942"/>
                  <a:gd name="connsiteX7" fmla="*/ 0 w 21319"/>
                  <a:gd name="connsiteY7" fmla="*/ 144942 h 144942"/>
                  <a:gd name="connsiteX8" fmla="*/ 0 w 21319"/>
                  <a:gd name="connsiteY8" fmla="*/ 39665 h 144942"/>
                  <a:gd name="connsiteX9" fmla="*/ 21155 w 21319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19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D80EC64-4B0D-6936-F7FA-B8D4CB4BF004}"/>
                  </a:ext>
                </a:extLst>
              </p:cNvPr>
              <p:cNvSpPr/>
              <p:nvPr/>
            </p:nvSpPr>
            <p:spPr>
              <a:xfrm>
                <a:off x="7548276" y="5929495"/>
                <a:ext cx="104450" cy="105277"/>
              </a:xfrm>
              <a:custGeom>
                <a:avLst/>
                <a:gdLst>
                  <a:gd name="connsiteX0" fmla="*/ 77346 w 104450"/>
                  <a:gd name="connsiteY0" fmla="*/ 0 h 105277"/>
                  <a:gd name="connsiteX1" fmla="*/ 104451 w 104450"/>
                  <a:gd name="connsiteY1" fmla="*/ 24129 h 105277"/>
                  <a:gd name="connsiteX2" fmla="*/ 86436 w 104450"/>
                  <a:gd name="connsiteY2" fmla="*/ 49416 h 105277"/>
                  <a:gd name="connsiteX3" fmla="*/ 25947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4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6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6" y="0"/>
                    </a:moveTo>
                    <a:cubicBezTo>
                      <a:pt x="95691" y="0"/>
                      <a:pt x="104451" y="9585"/>
                      <a:pt x="104451" y="24129"/>
                    </a:cubicBezTo>
                    <a:cubicBezTo>
                      <a:pt x="104451" y="37020"/>
                      <a:pt x="97509" y="45449"/>
                      <a:pt x="86436" y="49416"/>
                    </a:cubicBezTo>
                    <a:lnTo>
                      <a:pt x="25947" y="71396"/>
                    </a:lnTo>
                    <a:cubicBezTo>
                      <a:pt x="22311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4" y="59993"/>
                      <a:pt x="18014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3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164D15-199D-FD69-7760-EF835F8C1593}"/>
                  </a:ext>
                </a:extLst>
              </p:cNvPr>
              <p:cNvSpPr/>
              <p:nvPr/>
            </p:nvSpPr>
            <p:spPr>
              <a:xfrm>
                <a:off x="7679335" y="5889830"/>
                <a:ext cx="21485" cy="144942"/>
              </a:xfrm>
              <a:custGeom>
                <a:avLst/>
                <a:gdLst>
                  <a:gd name="connsiteX0" fmla="*/ 21485 w 21485"/>
                  <a:gd name="connsiteY0" fmla="*/ 0 h 144942"/>
                  <a:gd name="connsiteX1" fmla="*/ 21485 w 21485"/>
                  <a:gd name="connsiteY1" fmla="*/ 24460 h 144942"/>
                  <a:gd name="connsiteX2" fmla="*/ 165 w 21485"/>
                  <a:gd name="connsiteY2" fmla="*/ 24460 h 144942"/>
                  <a:gd name="connsiteX3" fmla="*/ 165 w 21485"/>
                  <a:gd name="connsiteY3" fmla="*/ 0 h 144942"/>
                  <a:gd name="connsiteX4" fmla="*/ 21485 w 21485"/>
                  <a:gd name="connsiteY4" fmla="*/ 0 h 144942"/>
                  <a:gd name="connsiteX5" fmla="*/ 21155 w 21485"/>
                  <a:gd name="connsiteY5" fmla="*/ 39665 h 144942"/>
                  <a:gd name="connsiteX6" fmla="*/ 21155 w 21485"/>
                  <a:gd name="connsiteY6" fmla="*/ 144942 h 144942"/>
                  <a:gd name="connsiteX7" fmla="*/ 0 w 21485"/>
                  <a:gd name="connsiteY7" fmla="*/ 144942 h 144942"/>
                  <a:gd name="connsiteX8" fmla="*/ 0 w 21485"/>
                  <a:gd name="connsiteY8" fmla="*/ 39665 h 144942"/>
                  <a:gd name="connsiteX9" fmla="*/ 21155 w 21485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485" h="144942">
                    <a:moveTo>
                      <a:pt x="21485" y="0"/>
                    </a:moveTo>
                    <a:lnTo>
                      <a:pt x="21485" y="24460"/>
                    </a:lnTo>
                    <a:lnTo>
                      <a:pt x="165" y="24460"/>
                    </a:lnTo>
                    <a:lnTo>
                      <a:pt x="165" y="0"/>
                    </a:lnTo>
                    <a:lnTo>
                      <a:pt x="21485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67919FFA-73A2-6CB2-E22C-98E9476E43C9}"/>
                  </a:ext>
                </a:extLst>
              </p:cNvPr>
              <p:cNvSpPr/>
              <p:nvPr/>
            </p:nvSpPr>
            <p:spPr>
              <a:xfrm>
                <a:off x="773238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B9A9E560-FC92-07B6-0341-1ACA1EF3547E}"/>
                  </a:ext>
                </a:extLst>
              </p:cNvPr>
              <p:cNvSpPr/>
              <p:nvPr/>
            </p:nvSpPr>
            <p:spPr>
              <a:xfrm>
                <a:off x="7869892" y="5929495"/>
                <a:ext cx="113705" cy="147420"/>
              </a:xfrm>
              <a:custGeom>
                <a:avLst/>
                <a:gdLst>
                  <a:gd name="connsiteX0" fmla="*/ 75033 w 113705"/>
                  <a:gd name="connsiteY0" fmla="*/ 0 h 147420"/>
                  <a:gd name="connsiteX1" fmla="*/ 113706 w 113705"/>
                  <a:gd name="connsiteY1" fmla="*/ 45118 h 147420"/>
                  <a:gd name="connsiteX2" fmla="*/ 113706 w 113705"/>
                  <a:gd name="connsiteY2" fmla="*/ 105773 h 147420"/>
                  <a:gd name="connsiteX3" fmla="*/ 73711 w 113705"/>
                  <a:gd name="connsiteY3" fmla="*/ 147421 h 147420"/>
                  <a:gd name="connsiteX4" fmla="*/ 11073 w 113705"/>
                  <a:gd name="connsiteY4" fmla="*/ 147421 h 147420"/>
                  <a:gd name="connsiteX5" fmla="*/ 11073 w 113705"/>
                  <a:gd name="connsiteY5" fmla="*/ 127093 h 147420"/>
                  <a:gd name="connsiteX6" fmla="*/ 71397 w 113705"/>
                  <a:gd name="connsiteY6" fmla="*/ 127093 h 147420"/>
                  <a:gd name="connsiteX7" fmla="*/ 92386 w 113705"/>
                  <a:gd name="connsiteY7" fmla="*/ 105773 h 147420"/>
                  <a:gd name="connsiteX8" fmla="*/ 92386 w 113705"/>
                  <a:gd name="connsiteY8" fmla="*/ 100980 h 147420"/>
                  <a:gd name="connsiteX9" fmla="*/ 45780 w 113705"/>
                  <a:gd name="connsiteY9" fmla="*/ 100980 h 147420"/>
                  <a:gd name="connsiteX10" fmla="*/ 0 w 113705"/>
                  <a:gd name="connsiteY10" fmla="*/ 50242 h 147420"/>
                  <a:gd name="connsiteX11" fmla="*/ 45780 w 113705"/>
                  <a:gd name="connsiteY11" fmla="*/ 0 h 147420"/>
                  <a:gd name="connsiteX12" fmla="*/ 74867 w 113705"/>
                  <a:gd name="connsiteY12" fmla="*/ 0 h 147420"/>
                  <a:gd name="connsiteX13" fmla="*/ 47763 w 113705"/>
                  <a:gd name="connsiteY13" fmla="*/ 81808 h 147420"/>
                  <a:gd name="connsiteX14" fmla="*/ 92386 w 113705"/>
                  <a:gd name="connsiteY14" fmla="*/ 81808 h 147420"/>
                  <a:gd name="connsiteX15" fmla="*/ 92386 w 113705"/>
                  <a:gd name="connsiteY15" fmla="*/ 44954 h 147420"/>
                  <a:gd name="connsiteX16" fmla="*/ 68752 w 113705"/>
                  <a:gd name="connsiteY16" fmla="*/ 20493 h 147420"/>
                  <a:gd name="connsiteX17" fmla="*/ 47763 w 113705"/>
                  <a:gd name="connsiteY17" fmla="*/ 20493 h 147420"/>
                  <a:gd name="connsiteX18" fmla="*/ 21485 w 113705"/>
                  <a:gd name="connsiteY18" fmla="*/ 51233 h 147420"/>
                  <a:gd name="connsiteX19" fmla="*/ 47763 w 113705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705" h="147420">
                    <a:moveTo>
                      <a:pt x="75033" y="0"/>
                    </a:moveTo>
                    <a:cubicBezTo>
                      <a:pt x="100154" y="0"/>
                      <a:pt x="113706" y="14709"/>
                      <a:pt x="113706" y="45118"/>
                    </a:cubicBezTo>
                    <a:lnTo>
                      <a:pt x="113706" y="105773"/>
                    </a:lnTo>
                    <a:cubicBezTo>
                      <a:pt x="113706" y="135687"/>
                      <a:pt x="103294" y="147421"/>
                      <a:pt x="73711" y="147421"/>
                    </a:cubicBezTo>
                    <a:lnTo>
                      <a:pt x="11073" y="147421"/>
                    </a:lnTo>
                    <a:lnTo>
                      <a:pt x="11073" y="127093"/>
                    </a:lnTo>
                    <a:lnTo>
                      <a:pt x="71397" y="127093"/>
                    </a:lnTo>
                    <a:cubicBezTo>
                      <a:pt x="87097" y="127093"/>
                      <a:pt x="92386" y="120977"/>
                      <a:pt x="92386" y="105773"/>
                    </a:cubicBezTo>
                    <a:lnTo>
                      <a:pt x="92386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763" y="81808"/>
                    </a:moveTo>
                    <a:lnTo>
                      <a:pt x="92386" y="81808"/>
                    </a:lnTo>
                    <a:lnTo>
                      <a:pt x="92386" y="44954"/>
                    </a:lnTo>
                    <a:cubicBezTo>
                      <a:pt x="92386" y="27765"/>
                      <a:pt x="85775" y="20493"/>
                      <a:pt x="68752" y="20493"/>
                    </a:cubicBezTo>
                    <a:lnTo>
                      <a:pt x="47763" y="20493"/>
                    </a:lnTo>
                    <a:cubicBezTo>
                      <a:pt x="29583" y="20493"/>
                      <a:pt x="21485" y="29583"/>
                      <a:pt x="21485" y="51233"/>
                    </a:cubicBezTo>
                    <a:cubicBezTo>
                      <a:pt x="21485" y="72884"/>
                      <a:pt x="29749" y="81974"/>
                      <a:pt x="4776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D99879B5-BB69-9382-6FF1-9B8D7EC7AE02}"/>
                  </a:ext>
                </a:extLst>
              </p:cNvPr>
              <p:cNvSpPr/>
              <p:nvPr/>
            </p:nvSpPr>
            <p:spPr>
              <a:xfrm>
                <a:off x="8057969" y="5897929"/>
                <a:ext cx="149239" cy="137009"/>
              </a:xfrm>
              <a:custGeom>
                <a:avLst/>
                <a:gdLst>
                  <a:gd name="connsiteX0" fmla="*/ 25947 w 149239"/>
                  <a:gd name="connsiteY0" fmla="*/ 137009 h 137009"/>
                  <a:gd name="connsiteX1" fmla="*/ 0 w 149239"/>
                  <a:gd name="connsiteY1" fmla="*/ 137009 h 137009"/>
                  <a:gd name="connsiteX2" fmla="*/ 47267 w 149239"/>
                  <a:gd name="connsiteY2" fmla="*/ 17353 h 137009"/>
                  <a:gd name="connsiteX3" fmla="*/ 75694 w 149239"/>
                  <a:gd name="connsiteY3" fmla="*/ 0 h 137009"/>
                  <a:gd name="connsiteX4" fmla="*/ 103625 w 149239"/>
                  <a:gd name="connsiteY4" fmla="*/ 17353 h 137009"/>
                  <a:gd name="connsiteX5" fmla="*/ 149239 w 149239"/>
                  <a:gd name="connsiteY5" fmla="*/ 137009 h 137009"/>
                  <a:gd name="connsiteX6" fmla="*/ 123126 w 149239"/>
                  <a:gd name="connsiteY6" fmla="*/ 137009 h 137009"/>
                  <a:gd name="connsiteX7" fmla="*/ 82139 w 149239"/>
                  <a:gd name="connsiteY7" fmla="*/ 28757 h 137009"/>
                  <a:gd name="connsiteX8" fmla="*/ 75528 w 149239"/>
                  <a:gd name="connsiteY8" fmla="*/ 24129 h 137009"/>
                  <a:gd name="connsiteX9" fmla="*/ 68752 w 149239"/>
                  <a:gd name="connsiteY9" fmla="*/ 28757 h 137009"/>
                  <a:gd name="connsiteX10" fmla="*/ 25947 w 149239"/>
                  <a:gd name="connsiteY10" fmla="*/ 137009 h 137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239" h="137009">
                    <a:moveTo>
                      <a:pt x="25947" y="137009"/>
                    </a:moveTo>
                    <a:lnTo>
                      <a:pt x="0" y="137009"/>
                    </a:lnTo>
                    <a:lnTo>
                      <a:pt x="47267" y="17353"/>
                    </a:lnTo>
                    <a:cubicBezTo>
                      <a:pt x="52225" y="4793"/>
                      <a:pt x="61481" y="0"/>
                      <a:pt x="75694" y="0"/>
                    </a:cubicBezTo>
                    <a:cubicBezTo>
                      <a:pt x="89907" y="0"/>
                      <a:pt x="98832" y="4793"/>
                      <a:pt x="103625" y="17353"/>
                    </a:cubicBezTo>
                    <a:lnTo>
                      <a:pt x="149239" y="137009"/>
                    </a:lnTo>
                    <a:lnTo>
                      <a:pt x="123126" y="137009"/>
                    </a:lnTo>
                    <a:lnTo>
                      <a:pt x="82139" y="28757"/>
                    </a:lnTo>
                    <a:cubicBezTo>
                      <a:pt x="80982" y="25617"/>
                      <a:pt x="78669" y="24129"/>
                      <a:pt x="75528" y="24129"/>
                    </a:cubicBezTo>
                    <a:cubicBezTo>
                      <a:pt x="72388" y="24129"/>
                      <a:pt x="70075" y="25452"/>
                      <a:pt x="68752" y="28757"/>
                    </a:cubicBezTo>
                    <a:lnTo>
                      <a:pt x="25947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A847FEC-0B91-426B-0295-22DE8D490CA0}"/>
                  </a:ext>
                </a:extLst>
              </p:cNvPr>
              <p:cNvSpPr/>
              <p:nvPr/>
            </p:nvSpPr>
            <p:spPr>
              <a:xfrm>
                <a:off x="8216464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69409B5-4A8B-70B8-ED2B-50419F4BA759}"/>
                  </a:ext>
                </a:extLst>
              </p:cNvPr>
              <p:cNvSpPr/>
              <p:nvPr/>
            </p:nvSpPr>
            <p:spPr>
              <a:xfrm>
                <a:off x="8338103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AD3003FF-2C32-CA7E-B648-CDE534EF0778}"/>
                  </a:ext>
                </a:extLst>
              </p:cNvPr>
              <p:cNvSpPr/>
              <p:nvPr/>
            </p:nvSpPr>
            <p:spPr>
              <a:xfrm>
                <a:off x="8462716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493 w 106268"/>
                  <a:gd name="connsiteY13" fmla="*/ 46110 h 105277"/>
                  <a:gd name="connsiteX14" fmla="*/ 70075 w 106268"/>
                  <a:gd name="connsiteY14" fmla="*/ 46110 h 105277"/>
                  <a:gd name="connsiteX15" fmla="*/ 85610 w 106268"/>
                  <a:gd name="connsiteY15" fmla="*/ 33550 h 105277"/>
                  <a:gd name="connsiteX16" fmla="*/ 70570 w 106268"/>
                  <a:gd name="connsiteY16" fmla="*/ 20328 h 105277"/>
                  <a:gd name="connsiteX17" fmla="*/ 36690 w 106268"/>
                  <a:gd name="connsiteY17" fmla="*/ 20328 h 105277"/>
                  <a:gd name="connsiteX18" fmla="*/ 20493 w 106268"/>
                  <a:gd name="connsiteY18" fmla="*/ 34872 h 105277"/>
                  <a:gd name="connsiteX19" fmla="*/ 2049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3" y="46110"/>
                    </a:moveTo>
                    <a:lnTo>
                      <a:pt x="70075" y="46110"/>
                    </a:lnTo>
                    <a:cubicBezTo>
                      <a:pt x="81478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0" y="20328"/>
                    </a:cubicBezTo>
                    <a:lnTo>
                      <a:pt x="36690" y="20328"/>
                    </a:lnTo>
                    <a:cubicBezTo>
                      <a:pt x="25121" y="20328"/>
                      <a:pt x="20493" y="26774"/>
                      <a:pt x="20493" y="34872"/>
                    </a:cubicBezTo>
                    <a:lnTo>
                      <a:pt x="2049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BA530AA-33F9-CA2D-D9DE-30FD69110D4C}"/>
                  </a:ext>
                </a:extLst>
              </p:cNvPr>
              <p:cNvSpPr/>
              <p:nvPr/>
            </p:nvSpPr>
            <p:spPr>
              <a:xfrm>
                <a:off x="8591462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EA88E7EC-5D35-828B-E8F5-11F50C41831A}"/>
                  </a:ext>
                </a:extLst>
              </p:cNvPr>
              <p:cNvSpPr/>
              <p:nvPr/>
            </p:nvSpPr>
            <p:spPr>
              <a:xfrm>
                <a:off x="8709961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1823A6CC-7FBF-11D9-5B22-8CE61777A063}"/>
                  </a:ext>
                </a:extLst>
              </p:cNvPr>
              <p:cNvSpPr/>
              <p:nvPr/>
            </p:nvSpPr>
            <p:spPr>
              <a:xfrm>
                <a:off x="8940347" y="5939411"/>
                <a:ext cx="60984" cy="52225"/>
              </a:xfrm>
              <a:custGeom>
                <a:avLst/>
                <a:gdLst>
                  <a:gd name="connsiteX0" fmla="*/ 39004 w 60984"/>
                  <a:gd name="connsiteY0" fmla="*/ 0 h 52225"/>
                  <a:gd name="connsiteX1" fmla="*/ 60985 w 60984"/>
                  <a:gd name="connsiteY1" fmla="*/ 26113 h 52225"/>
                  <a:gd name="connsiteX2" fmla="*/ 39004 w 60984"/>
                  <a:gd name="connsiteY2" fmla="*/ 52225 h 52225"/>
                  <a:gd name="connsiteX3" fmla="*/ 21816 w 60984"/>
                  <a:gd name="connsiteY3" fmla="*/ 52225 h 52225"/>
                  <a:gd name="connsiteX4" fmla="*/ 0 w 60984"/>
                  <a:gd name="connsiteY4" fmla="*/ 26113 h 52225"/>
                  <a:gd name="connsiteX5" fmla="*/ 21816 w 60984"/>
                  <a:gd name="connsiteY5" fmla="*/ 0 h 52225"/>
                  <a:gd name="connsiteX6" fmla="*/ 39004 w 60984"/>
                  <a:gd name="connsiteY6" fmla="*/ 0 h 5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984" h="52225">
                    <a:moveTo>
                      <a:pt x="39004" y="0"/>
                    </a:moveTo>
                    <a:cubicBezTo>
                      <a:pt x="52391" y="0"/>
                      <a:pt x="60985" y="8429"/>
                      <a:pt x="60985" y="26113"/>
                    </a:cubicBezTo>
                    <a:cubicBezTo>
                      <a:pt x="60985" y="43797"/>
                      <a:pt x="52391" y="52225"/>
                      <a:pt x="39004" y="52225"/>
                    </a:cubicBezTo>
                    <a:lnTo>
                      <a:pt x="21816" y="52225"/>
                    </a:lnTo>
                    <a:cubicBezTo>
                      <a:pt x="8429" y="52225"/>
                      <a:pt x="0" y="43797"/>
                      <a:pt x="0" y="26113"/>
                    </a:cubicBezTo>
                    <a:cubicBezTo>
                      <a:pt x="0" y="8429"/>
                      <a:pt x="8429" y="0"/>
                      <a:pt x="21816" y="0"/>
                    </a:cubicBezTo>
                    <a:lnTo>
                      <a:pt x="3900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3B330EAB-DA21-81B9-4E08-9C9D6B5CEB39}"/>
                  </a:ext>
                </a:extLst>
              </p:cNvPr>
              <p:cNvSpPr/>
              <p:nvPr/>
            </p:nvSpPr>
            <p:spPr>
              <a:xfrm>
                <a:off x="9141646" y="5900242"/>
                <a:ext cx="119325" cy="134860"/>
              </a:xfrm>
              <a:custGeom>
                <a:avLst/>
                <a:gdLst>
                  <a:gd name="connsiteX0" fmla="*/ 73215 w 119325"/>
                  <a:gd name="connsiteY0" fmla="*/ 0 h 134860"/>
                  <a:gd name="connsiteX1" fmla="*/ 116516 w 119325"/>
                  <a:gd name="connsiteY1" fmla="*/ 40326 h 134860"/>
                  <a:gd name="connsiteX2" fmla="*/ 87924 w 119325"/>
                  <a:gd name="connsiteY2" fmla="*/ 80817 h 134860"/>
                  <a:gd name="connsiteX3" fmla="*/ 119325 w 119325"/>
                  <a:gd name="connsiteY3" fmla="*/ 134696 h 134860"/>
                  <a:gd name="connsiteX4" fmla="*/ 93212 w 119325"/>
                  <a:gd name="connsiteY4" fmla="*/ 134696 h 134860"/>
                  <a:gd name="connsiteX5" fmla="*/ 62472 w 119325"/>
                  <a:gd name="connsiteY5" fmla="*/ 82635 h 134860"/>
                  <a:gd name="connsiteX6" fmla="*/ 27270 w 119325"/>
                  <a:gd name="connsiteY6" fmla="*/ 82635 h 134860"/>
                  <a:gd name="connsiteX7" fmla="*/ 23799 w 119325"/>
                  <a:gd name="connsiteY7" fmla="*/ 86106 h 134860"/>
                  <a:gd name="connsiteX8" fmla="*/ 23799 w 119325"/>
                  <a:gd name="connsiteY8" fmla="*/ 134861 h 134860"/>
                  <a:gd name="connsiteX9" fmla="*/ 165 w 119325"/>
                  <a:gd name="connsiteY9" fmla="*/ 134861 h 134860"/>
                  <a:gd name="connsiteX10" fmla="*/ 165 w 119325"/>
                  <a:gd name="connsiteY10" fmla="*/ 81644 h 134860"/>
                  <a:gd name="connsiteX11" fmla="*/ 21320 w 119325"/>
                  <a:gd name="connsiteY11" fmla="*/ 60324 h 134860"/>
                  <a:gd name="connsiteX12" fmla="*/ 73876 w 119325"/>
                  <a:gd name="connsiteY12" fmla="*/ 60324 h 134860"/>
                  <a:gd name="connsiteX13" fmla="*/ 92717 w 119325"/>
                  <a:gd name="connsiteY13" fmla="*/ 41648 h 134860"/>
                  <a:gd name="connsiteX14" fmla="*/ 73876 w 119325"/>
                  <a:gd name="connsiteY14" fmla="*/ 23964 h 134860"/>
                  <a:gd name="connsiteX15" fmla="*/ 0 w 119325"/>
                  <a:gd name="connsiteY15" fmla="*/ 23964 h 134860"/>
                  <a:gd name="connsiteX16" fmla="*/ 0 w 119325"/>
                  <a:gd name="connsiteY16" fmla="*/ 496 h 134860"/>
                  <a:gd name="connsiteX17" fmla="*/ 73049 w 119325"/>
                  <a:gd name="connsiteY17" fmla="*/ 496 h 13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9325" h="134860">
                    <a:moveTo>
                      <a:pt x="73215" y="0"/>
                    </a:moveTo>
                    <a:cubicBezTo>
                      <a:pt x="103625" y="0"/>
                      <a:pt x="116516" y="18676"/>
                      <a:pt x="116516" y="40326"/>
                    </a:cubicBezTo>
                    <a:cubicBezTo>
                      <a:pt x="116516" y="57018"/>
                      <a:pt x="108583" y="75033"/>
                      <a:pt x="87924" y="80817"/>
                    </a:cubicBezTo>
                    <a:lnTo>
                      <a:pt x="119325" y="134696"/>
                    </a:lnTo>
                    <a:lnTo>
                      <a:pt x="93212" y="134696"/>
                    </a:lnTo>
                    <a:lnTo>
                      <a:pt x="62472" y="82635"/>
                    </a:lnTo>
                    <a:lnTo>
                      <a:pt x="27270" y="82635"/>
                    </a:lnTo>
                    <a:cubicBezTo>
                      <a:pt x="25121" y="82635"/>
                      <a:pt x="23799" y="83627"/>
                      <a:pt x="23799" y="86106"/>
                    </a:cubicBezTo>
                    <a:lnTo>
                      <a:pt x="23799" y="134861"/>
                    </a:lnTo>
                    <a:lnTo>
                      <a:pt x="165" y="134861"/>
                    </a:lnTo>
                    <a:lnTo>
                      <a:pt x="165" y="81644"/>
                    </a:lnTo>
                    <a:cubicBezTo>
                      <a:pt x="165" y="66439"/>
                      <a:pt x="6611" y="60324"/>
                      <a:pt x="21320" y="60324"/>
                    </a:cubicBezTo>
                    <a:lnTo>
                      <a:pt x="73876" y="60324"/>
                    </a:lnTo>
                    <a:cubicBezTo>
                      <a:pt x="87263" y="60324"/>
                      <a:pt x="92717" y="51068"/>
                      <a:pt x="92717" y="41648"/>
                    </a:cubicBezTo>
                    <a:cubicBezTo>
                      <a:pt x="92717" y="32228"/>
                      <a:pt x="86932" y="23964"/>
                      <a:pt x="73876" y="23964"/>
                    </a:cubicBezTo>
                    <a:lnTo>
                      <a:pt x="0" y="23964"/>
                    </a:lnTo>
                    <a:lnTo>
                      <a:pt x="0" y="496"/>
                    </a:lnTo>
                    <a:lnTo>
                      <a:pt x="73049" y="49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96B460AB-A4F9-27B8-E94D-107312CFA527}"/>
                  </a:ext>
                </a:extLst>
              </p:cNvPr>
              <p:cNvSpPr/>
              <p:nvPr/>
            </p:nvSpPr>
            <p:spPr>
              <a:xfrm>
                <a:off x="9276011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59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59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4654B851-0E8E-0D8C-EC47-474DDEC8C770}"/>
                  </a:ext>
                </a:extLst>
              </p:cNvPr>
              <p:cNvSpPr/>
              <p:nvPr/>
            </p:nvSpPr>
            <p:spPr>
              <a:xfrm>
                <a:off x="9394841" y="5929495"/>
                <a:ext cx="127423" cy="107756"/>
              </a:xfrm>
              <a:custGeom>
                <a:avLst/>
                <a:gdLst>
                  <a:gd name="connsiteX0" fmla="*/ 22146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1 w 127423"/>
                  <a:gd name="connsiteY3" fmla="*/ 84618 h 107756"/>
                  <a:gd name="connsiteX4" fmla="*/ 104616 w 127423"/>
                  <a:gd name="connsiteY4" fmla="*/ 0 h 107756"/>
                  <a:gd name="connsiteX5" fmla="*/ 127423 w 127423"/>
                  <a:gd name="connsiteY5" fmla="*/ 0 h 107756"/>
                  <a:gd name="connsiteX6" fmla="*/ 86767 w 127423"/>
                  <a:gd name="connsiteY6" fmla="*/ 94039 h 107756"/>
                  <a:gd name="connsiteX7" fmla="*/ 62637 w 127423"/>
                  <a:gd name="connsiteY7" fmla="*/ 107756 h 107756"/>
                  <a:gd name="connsiteX8" fmla="*/ 38673 w 127423"/>
                  <a:gd name="connsiteY8" fmla="*/ 94039 h 107756"/>
                  <a:gd name="connsiteX9" fmla="*/ 0 w 127423"/>
                  <a:gd name="connsiteY9" fmla="*/ 0 h 107756"/>
                  <a:gd name="connsiteX10" fmla="*/ 22311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6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1" y="84618"/>
                    </a:cubicBezTo>
                    <a:lnTo>
                      <a:pt x="104616" y="0"/>
                    </a:lnTo>
                    <a:lnTo>
                      <a:pt x="127423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7" y="107756"/>
                    </a:cubicBezTo>
                    <a:cubicBezTo>
                      <a:pt x="50738" y="107756"/>
                      <a:pt x="42640" y="103790"/>
                      <a:pt x="38673" y="94039"/>
                    </a:cubicBezTo>
                    <a:lnTo>
                      <a:pt x="0" y="0"/>
                    </a:lnTo>
                    <a:lnTo>
                      <a:pt x="2231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55969BE2-A4F5-BDF8-F0D8-25959B4E4F11}"/>
                  </a:ext>
                </a:extLst>
              </p:cNvPr>
              <p:cNvSpPr/>
              <p:nvPr/>
            </p:nvSpPr>
            <p:spPr>
              <a:xfrm>
                <a:off x="9531849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2C83CA2-0788-617F-72B8-2C5C543B978A}"/>
                  </a:ext>
                </a:extLst>
              </p:cNvPr>
              <p:cNvSpPr/>
              <p:nvPr/>
            </p:nvSpPr>
            <p:spPr>
              <a:xfrm>
                <a:off x="9672329" y="5883880"/>
                <a:ext cx="21154" cy="151057"/>
              </a:xfrm>
              <a:custGeom>
                <a:avLst/>
                <a:gdLst>
                  <a:gd name="connsiteX0" fmla="*/ 21155 w 21154"/>
                  <a:gd name="connsiteY0" fmla="*/ 0 h 151057"/>
                  <a:gd name="connsiteX1" fmla="*/ 21155 w 21154"/>
                  <a:gd name="connsiteY1" fmla="*/ 151057 h 151057"/>
                  <a:gd name="connsiteX2" fmla="*/ 0 w 21154"/>
                  <a:gd name="connsiteY2" fmla="*/ 151057 h 151057"/>
                  <a:gd name="connsiteX3" fmla="*/ 0 w 21154"/>
                  <a:gd name="connsiteY3" fmla="*/ 0 h 151057"/>
                  <a:gd name="connsiteX4" fmla="*/ 21155 w 21154"/>
                  <a:gd name="connsiteY4" fmla="*/ 0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54" h="151057">
                    <a:moveTo>
                      <a:pt x="21155" y="0"/>
                    </a:moveTo>
                    <a:lnTo>
                      <a:pt x="21155" y="151057"/>
                    </a:lnTo>
                    <a:lnTo>
                      <a:pt x="0" y="151057"/>
                    </a:lnTo>
                    <a:lnTo>
                      <a:pt x="0" y="0"/>
                    </a:lnTo>
                    <a:lnTo>
                      <a:pt x="2115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25E837DA-C682-07B0-8D4C-498075F1869C}"/>
                  </a:ext>
                </a:extLst>
              </p:cNvPr>
              <p:cNvSpPr/>
              <p:nvPr/>
            </p:nvSpPr>
            <p:spPr>
              <a:xfrm>
                <a:off x="9724720" y="5929495"/>
                <a:ext cx="111061" cy="105277"/>
              </a:xfrm>
              <a:custGeom>
                <a:avLst/>
                <a:gdLst>
                  <a:gd name="connsiteX0" fmla="*/ 21320 w 111061"/>
                  <a:gd name="connsiteY0" fmla="*/ 0 h 105277"/>
                  <a:gd name="connsiteX1" fmla="*/ 21320 w 111061"/>
                  <a:gd name="connsiteY1" fmla="*/ 62968 h 105277"/>
                  <a:gd name="connsiteX2" fmla="*/ 47267 w 111061"/>
                  <a:gd name="connsiteY2" fmla="*/ 84784 h 105277"/>
                  <a:gd name="connsiteX3" fmla="*/ 64456 w 111061"/>
                  <a:gd name="connsiteY3" fmla="*/ 84784 h 105277"/>
                  <a:gd name="connsiteX4" fmla="*/ 90238 w 111061"/>
                  <a:gd name="connsiteY4" fmla="*/ 62968 h 105277"/>
                  <a:gd name="connsiteX5" fmla="*/ 90238 w 111061"/>
                  <a:gd name="connsiteY5" fmla="*/ 0 h 105277"/>
                  <a:gd name="connsiteX6" fmla="*/ 111062 w 111061"/>
                  <a:gd name="connsiteY6" fmla="*/ 0 h 105277"/>
                  <a:gd name="connsiteX7" fmla="*/ 111062 w 111061"/>
                  <a:gd name="connsiteY7" fmla="*/ 63794 h 105277"/>
                  <a:gd name="connsiteX8" fmla="*/ 65282 w 111061"/>
                  <a:gd name="connsiteY8" fmla="*/ 105277 h 105277"/>
                  <a:gd name="connsiteX9" fmla="*/ 45780 w 111061"/>
                  <a:gd name="connsiteY9" fmla="*/ 105277 h 105277"/>
                  <a:gd name="connsiteX10" fmla="*/ 0 w 111061"/>
                  <a:gd name="connsiteY10" fmla="*/ 63794 h 105277"/>
                  <a:gd name="connsiteX11" fmla="*/ 0 w 111061"/>
                  <a:gd name="connsiteY11" fmla="*/ 0 h 105277"/>
                  <a:gd name="connsiteX12" fmla="*/ 21320 w 111061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61" h="105277">
                    <a:moveTo>
                      <a:pt x="21320" y="0"/>
                    </a:moveTo>
                    <a:lnTo>
                      <a:pt x="21320" y="62968"/>
                    </a:lnTo>
                    <a:cubicBezTo>
                      <a:pt x="21320" y="75363"/>
                      <a:pt x="30575" y="84784"/>
                      <a:pt x="47267" y="84784"/>
                    </a:cubicBezTo>
                    <a:lnTo>
                      <a:pt x="64456" y="84784"/>
                    </a:lnTo>
                    <a:cubicBezTo>
                      <a:pt x="81148" y="84784"/>
                      <a:pt x="90238" y="75363"/>
                      <a:pt x="90238" y="62968"/>
                    </a:cubicBezTo>
                    <a:lnTo>
                      <a:pt x="90238" y="0"/>
                    </a:lnTo>
                    <a:lnTo>
                      <a:pt x="111062" y="0"/>
                    </a:lnTo>
                    <a:lnTo>
                      <a:pt x="111062" y="63794"/>
                    </a:lnTo>
                    <a:cubicBezTo>
                      <a:pt x="111062" y="88089"/>
                      <a:pt x="95526" y="105277"/>
                      <a:pt x="65282" y="105277"/>
                    </a:cubicBezTo>
                    <a:lnTo>
                      <a:pt x="45780" y="105277"/>
                    </a:lnTo>
                    <a:cubicBezTo>
                      <a:pt x="15535" y="105277"/>
                      <a:pt x="0" y="88089"/>
                      <a:pt x="0" y="63794"/>
                    </a:cubicBezTo>
                    <a:lnTo>
                      <a:pt x="0" y="0"/>
                    </a:lnTo>
                    <a:lnTo>
                      <a:pt x="2132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FBB183A6-89A4-93CE-451A-040C5F38C391}"/>
                  </a:ext>
                </a:extLst>
              </p:cNvPr>
              <p:cNvSpPr/>
              <p:nvPr/>
            </p:nvSpPr>
            <p:spPr>
              <a:xfrm>
                <a:off x="9856110" y="5904539"/>
                <a:ext cx="64951" cy="130233"/>
              </a:xfrm>
              <a:custGeom>
                <a:avLst/>
                <a:gdLst>
                  <a:gd name="connsiteX0" fmla="*/ 14544 w 64951"/>
                  <a:gd name="connsiteY0" fmla="*/ 24956 h 130233"/>
                  <a:gd name="connsiteX1" fmla="*/ 14544 w 64951"/>
                  <a:gd name="connsiteY1" fmla="*/ 0 h 130233"/>
                  <a:gd name="connsiteX2" fmla="*/ 35864 w 64951"/>
                  <a:gd name="connsiteY2" fmla="*/ 0 h 130233"/>
                  <a:gd name="connsiteX3" fmla="*/ 35864 w 64951"/>
                  <a:gd name="connsiteY3" fmla="*/ 24956 h 130233"/>
                  <a:gd name="connsiteX4" fmla="*/ 64951 w 64951"/>
                  <a:gd name="connsiteY4" fmla="*/ 24956 h 130233"/>
                  <a:gd name="connsiteX5" fmla="*/ 64951 w 64951"/>
                  <a:gd name="connsiteY5" fmla="*/ 45284 h 130233"/>
                  <a:gd name="connsiteX6" fmla="*/ 35864 w 64951"/>
                  <a:gd name="connsiteY6" fmla="*/ 45284 h 130233"/>
                  <a:gd name="connsiteX7" fmla="*/ 35864 w 64951"/>
                  <a:gd name="connsiteY7" fmla="*/ 95196 h 130233"/>
                  <a:gd name="connsiteX8" fmla="*/ 50077 w 64951"/>
                  <a:gd name="connsiteY8" fmla="*/ 110896 h 130233"/>
                  <a:gd name="connsiteX9" fmla="*/ 64620 w 64951"/>
                  <a:gd name="connsiteY9" fmla="*/ 110896 h 130233"/>
                  <a:gd name="connsiteX10" fmla="*/ 64620 w 64951"/>
                  <a:gd name="connsiteY10" fmla="*/ 130233 h 130233"/>
                  <a:gd name="connsiteX11" fmla="*/ 45614 w 64951"/>
                  <a:gd name="connsiteY11" fmla="*/ 130233 h 130233"/>
                  <a:gd name="connsiteX12" fmla="*/ 14378 w 64951"/>
                  <a:gd name="connsiteY12" fmla="*/ 93873 h 130233"/>
                  <a:gd name="connsiteX13" fmla="*/ 14378 w 64951"/>
                  <a:gd name="connsiteY13" fmla="*/ 45119 h 130233"/>
                  <a:gd name="connsiteX14" fmla="*/ 0 w 64951"/>
                  <a:gd name="connsiteY14" fmla="*/ 45119 h 130233"/>
                  <a:gd name="connsiteX15" fmla="*/ 0 w 64951"/>
                  <a:gd name="connsiteY15" fmla="*/ 24791 h 130233"/>
                  <a:gd name="connsiteX16" fmla="*/ 14378 w 64951"/>
                  <a:gd name="connsiteY16" fmla="*/ 24791 h 13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951" h="130233">
                    <a:moveTo>
                      <a:pt x="14544" y="24956"/>
                    </a:moveTo>
                    <a:lnTo>
                      <a:pt x="14544" y="0"/>
                    </a:lnTo>
                    <a:lnTo>
                      <a:pt x="35864" y="0"/>
                    </a:lnTo>
                    <a:lnTo>
                      <a:pt x="35864" y="24956"/>
                    </a:lnTo>
                    <a:lnTo>
                      <a:pt x="64951" y="24956"/>
                    </a:lnTo>
                    <a:lnTo>
                      <a:pt x="64951" y="45284"/>
                    </a:lnTo>
                    <a:lnTo>
                      <a:pt x="35864" y="45284"/>
                    </a:lnTo>
                    <a:lnTo>
                      <a:pt x="35864" y="95196"/>
                    </a:lnTo>
                    <a:cubicBezTo>
                      <a:pt x="35864" y="106930"/>
                      <a:pt x="39995" y="110896"/>
                      <a:pt x="50077" y="110896"/>
                    </a:cubicBezTo>
                    <a:lnTo>
                      <a:pt x="64620" y="110896"/>
                    </a:lnTo>
                    <a:lnTo>
                      <a:pt x="64620" y="130233"/>
                    </a:lnTo>
                    <a:lnTo>
                      <a:pt x="45614" y="130233"/>
                    </a:lnTo>
                    <a:cubicBezTo>
                      <a:pt x="23799" y="130233"/>
                      <a:pt x="14378" y="121474"/>
                      <a:pt x="14378" y="93873"/>
                    </a:cubicBezTo>
                    <a:lnTo>
                      <a:pt x="14378" y="45119"/>
                    </a:lnTo>
                    <a:lnTo>
                      <a:pt x="0" y="45119"/>
                    </a:lnTo>
                    <a:lnTo>
                      <a:pt x="0" y="24791"/>
                    </a:lnTo>
                    <a:lnTo>
                      <a:pt x="14378" y="2479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DCFB61A3-2693-295E-5B62-E10314DB1B07}"/>
                  </a:ext>
                </a:extLst>
              </p:cNvPr>
              <p:cNvSpPr/>
              <p:nvPr/>
            </p:nvSpPr>
            <p:spPr>
              <a:xfrm>
                <a:off x="9943207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9AC28D4E-93C3-4406-9798-5F05E0774E5F}"/>
                  </a:ext>
                </a:extLst>
              </p:cNvPr>
              <p:cNvSpPr/>
              <p:nvPr/>
            </p:nvSpPr>
            <p:spPr>
              <a:xfrm>
                <a:off x="9991136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F1921A37-A830-C077-3720-F0503F9190DA}"/>
                  </a:ext>
                </a:extLst>
              </p:cNvPr>
              <p:cNvSpPr/>
              <p:nvPr/>
            </p:nvSpPr>
            <p:spPr>
              <a:xfrm>
                <a:off x="1013145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B4552DCE-97D0-C806-2814-16379AE1608B}"/>
                  </a:ext>
                </a:extLst>
              </p:cNvPr>
              <p:cNvSpPr/>
              <p:nvPr/>
            </p:nvSpPr>
            <p:spPr>
              <a:xfrm>
                <a:off x="10274243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F4B2B2E3-9CD2-185D-EAD6-171E218F3573}"/>
                  </a:ext>
                </a:extLst>
              </p:cNvPr>
              <p:cNvSpPr/>
              <p:nvPr/>
            </p:nvSpPr>
            <p:spPr>
              <a:xfrm>
                <a:off x="10322006" y="5929495"/>
                <a:ext cx="104450" cy="105277"/>
              </a:xfrm>
              <a:custGeom>
                <a:avLst/>
                <a:gdLst>
                  <a:gd name="connsiteX0" fmla="*/ 77347 w 104450"/>
                  <a:gd name="connsiteY0" fmla="*/ 0 h 105277"/>
                  <a:gd name="connsiteX1" fmla="*/ 104451 w 104450"/>
                  <a:gd name="connsiteY1" fmla="*/ 24129 h 105277"/>
                  <a:gd name="connsiteX2" fmla="*/ 86437 w 104450"/>
                  <a:gd name="connsiteY2" fmla="*/ 49416 h 105277"/>
                  <a:gd name="connsiteX3" fmla="*/ 25948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5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7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7" y="0"/>
                    </a:moveTo>
                    <a:cubicBezTo>
                      <a:pt x="95692" y="0"/>
                      <a:pt x="104451" y="9585"/>
                      <a:pt x="104451" y="24129"/>
                    </a:cubicBezTo>
                    <a:cubicBezTo>
                      <a:pt x="104451" y="37020"/>
                      <a:pt x="97510" y="45449"/>
                      <a:pt x="86437" y="49416"/>
                    </a:cubicBezTo>
                    <a:lnTo>
                      <a:pt x="25948" y="71396"/>
                    </a:lnTo>
                    <a:cubicBezTo>
                      <a:pt x="22312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5" y="59993"/>
                      <a:pt x="18015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4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4ECA2287-C6E1-9BD4-3B6B-8F48A9888E74}"/>
                  </a:ext>
                </a:extLst>
              </p:cNvPr>
              <p:cNvSpPr/>
              <p:nvPr/>
            </p:nvSpPr>
            <p:spPr>
              <a:xfrm>
                <a:off x="10453231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142804A6-986E-6504-0C58-E71A8261612D}"/>
                  </a:ext>
                </a:extLst>
              </p:cNvPr>
              <p:cNvSpPr/>
              <p:nvPr/>
            </p:nvSpPr>
            <p:spPr>
              <a:xfrm>
                <a:off x="1050611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FCF04A31-6D4C-6C1C-9593-B6EC0234DADD}"/>
                  </a:ext>
                </a:extLst>
              </p:cNvPr>
              <p:cNvSpPr/>
              <p:nvPr/>
            </p:nvSpPr>
            <p:spPr>
              <a:xfrm>
                <a:off x="10643788" y="5929495"/>
                <a:ext cx="113540" cy="147420"/>
              </a:xfrm>
              <a:custGeom>
                <a:avLst/>
                <a:gdLst>
                  <a:gd name="connsiteX0" fmla="*/ 74867 w 113540"/>
                  <a:gd name="connsiteY0" fmla="*/ 0 h 147420"/>
                  <a:gd name="connsiteX1" fmla="*/ 113541 w 113540"/>
                  <a:gd name="connsiteY1" fmla="*/ 45118 h 147420"/>
                  <a:gd name="connsiteX2" fmla="*/ 113541 w 113540"/>
                  <a:gd name="connsiteY2" fmla="*/ 105773 h 147420"/>
                  <a:gd name="connsiteX3" fmla="*/ 73545 w 113540"/>
                  <a:gd name="connsiteY3" fmla="*/ 147421 h 147420"/>
                  <a:gd name="connsiteX4" fmla="*/ 10908 w 113540"/>
                  <a:gd name="connsiteY4" fmla="*/ 147421 h 147420"/>
                  <a:gd name="connsiteX5" fmla="*/ 10908 w 113540"/>
                  <a:gd name="connsiteY5" fmla="*/ 127093 h 147420"/>
                  <a:gd name="connsiteX6" fmla="*/ 71231 w 113540"/>
                  <a:gd name="connsiteY6" fmla="*/ 127093 h 147420"/>
                  <a:gd name="connsiteX7" fmla="*/ 92221 w 113540"/>
                  <a:gd name="connsiteY7" fmla="*/ 105773 h 147420"/>
                  <a:gd name="connsiteX8" fmla="*/ 92221 w 113540"/>
                  <a:gd name="connsiteY8" fmla="*/ 100980 h 147420"/>
                  <a:gd name="connsiteX9" fmla="*/ 45780 w 113540"/>
                  <a:gd name="connsiteY9" fmla="*/ 100980 h 147420"/>
                  <a:gd name="connsiteX10" fmla="*/ 0 w 113540"/>
                  <a:gd name="connsiteY10" fmla="*/ 50242 h 147420"/>
                  <a:gd name="connsiteX11" fmla="*/ 45780 w 113540"/>
                  <a:gd name="connsiteY11" fmla="*/ 0 h 147420"/>
                  <a:gd name="connsiteX12" fmla="*/ 74867 w 113540"/>
                  <a:gd name="connsiteY12" fmla="*/ 0 h 147420"/>
                  <a:gd name="connsiteX13" fmla="*/ 47598 w 113540"/>
                  <a:gd name="connsiteY13" fmla="*/ 81808 h 147420"/>
                  <a:gd name="connsiteX14" fmla="*/ 92056 w 113540"/>
                  <a:gd name="connsiteY14" fmla="*/ 81808 h 147420"/>
                  <a:gd name="connsiteX15" fmla="*/ 92056 w 113540"/>
                  <a:gd name="connsiteY15" fmla="*/ 44954 h 147420"/>
                  <a:gd name="connsiteX16" fmla="*/ 68422 w 113540"/>
                  <a:gd name="connsiteY16" fmla="*/ 20493 h 147420"/>
                  <a:gd name="connsiteX17" fmla="*/ 47433 w 113540"/>
                  <a:gd name="connsiteY17" fmla="*/ 20493 h 147420"/>
                  <a:gd name="connsiteX18" fmla="*/ 21155 w 113540"/>
                  <a:gd name="connsiteY18" fmla="*/ 51233 h 147420"/>
                  <a:gd name="connsiteX19" fmla="*/ 47433 w 113540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540" h="147420">
                    <a:moveTo>
                      <a:pt x="74867" y="0"/>
                    </a:moveTo>
                    <a:cubicBezTo>
                      <a:pt x="99989" y="0"/>
                      <a:pt x="113541" y="14709"/>
                      <a:pt x="113541" y="45118"/>
                    </a:cubicBezTo>
                    <a:lnTo>
                      <a:pt x="113541" y="105773"/>
                    </a:lnTo>
                    <a:cubicBezTo>
                      <a:pt x="113541" y="135687"/>
                      <a:pt x="103129" y="147421"/>
                      <a:pt x="73545" y="147421"/>
                    </a:cubicBezTo>
                    <a:lnTo>
                      <a:pt x="10908" y="147421"/>
                    </a:lnTo>
                    <a:lnTo>
                      <a:pt x="10908" y="127093"/>
                    </a:lnTo>
                    <a:lnTo>
                      <a:pt x="71231" y="127093"/>
                    </a:lnTo>
                    <a:cubicBezTo>
                      <a:pt x="86932" y="127093"/>
                      <a:pt x="92221" y="120977"/>
                      <a:pt x="92221" y="105773"/>
                    </a:cubicBezTo>
                    <a:lnTo>
                      <a:pt x="92221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598" y="81808"/>
                    </a:moveTo>
                    <a:lnTo>
                      <a:pt x="92056" y="81808"/>
                    </a:lnTo>
                    <a:lnTo>
                      <a:pt x="92056" y="44954"/>
                    </a:lnTo>
                    <a:cubicBezTo>
                      <a:pt x="92056" y="27765"/>
                      <a:pt x="85445" y="20493"/>
                      <a:pt x="68422" y="20493"/>
                    </a:cubicBezTo>
                    <a:lnTo>
                      <a:pt x="47433" y="20493"/>
                    </a:lnTo>
                    <a:cubicBezTo>
                      <a:pt x="29253" y="20493"/>
                      <a:pt x="21155" y="29583"/>
                      <a:pt x="21155" y="51233"/>
                    </a:cubicBezTo>
                    <a:cubicBezTo>
                      <a:pt x="21155" y="72884"/>
                      <a:pt x="29418" y="81974"/>
                      <a:pt x="4743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A3602EEB-C8F7-F111-1C50-74C26E16E067}"/>
                  </a:ext>
                </a:extLst>
              </p:cNvPr>
              <p:cNvSpPr/>
              <p:nvPr/>
            </p:nvSpPr>
            <p:spPr>
              <a:xfrm>
                <a:off x="10838145" y="5900242"/>
                <a:ext cx="120481" cy="134530"/>
              </a:xfrm>
              <a:custGeom>
                <a:avLst/>
                <a:gdLst>
                  <a:gd name="connsiteX0" fmla="*/ 110235 w 120481"/>
                  <a:gd name="connsiteY0" fmla="*/ 0 h 134530"/>
                  <a:gd name="connsiteX1" fmla="*/ 110235 w 120481"/>
                  <a:gd name="connsiteY1" fmla="*/ 23469 h 134530"/>
                  <a:gd name="connsiteX2" fmla="*/ 41152 w 120481"/>
                  <a:gd name="connsiteY2" fmla="*/ 23469 h 134530"/>
                  <a:gd name="connsiteX3" fmla="*/ 23634 w 120481"/>
                  <a:gd name="connsiteY3" fmla="*/ 39500 h 134530"/>
                  <a:gd name="connsiteX4" fmla="*/ 43631 w 120481"/>
                  <a:gd name="connsiteY4" fmla="*/ 55366 h 134530"/>
                  <a:gd name="connsiteX5" fmla="*/ 75198 w 120481"/>
                  <a:gd name="connsiteY5" fmla="*/ 55366 h 134530"/>
                  <a:gd name="connsiteX6" fmla="*/ 120482 w 120481"/>
                  <a:gd name="connsiteY6" fmla="*/ 95030 h 134530"/>
                  <a:gd name="connsiteX7" fmla="*/ 77512 w 120481"/>
                  <a:gd name="connsiteY7" fmla="*/ 134530 h 134530"/>
                  <a:gd name="connsiteX8" fmla="*/ 2479 w 120481"/>
                  <a:gd name="connsiteY8" fmla="*/ 134530 h 134530"/>
                  <a:gd name="connsiteX9" fmla="*/ 2479 w 120481"/>
                  <a:gd name="connsiteY9" fmla="*/ 111062 h 134530"/>
                  <a:gd name="connsiteX10" fmla="*/ 78338 w 120481"/>
                  <a:gd name="connsiteY10" fmla="*/ 111062 h 134530"/>
                  <a:gd name="connsiteX11" fmla="*/ 96848 w 120481"/>
                  <a:gd name="connsiteY11" fmla="*/ 94370 h 134530"/>
                  <a:gd name="connsiteX12" fmla="*/ 75694 w 120481"/>
                  <a:gd name="connsiteY12" fmla="*/ 77677 h 134530"/>
                  <a:gd name="connsiteX13" fmla="*/ 44293 w 120481"/>
                  <a:gd name="connsiteY13" fmla="*/ 77677 h 134530"/>
                  <a:gd name="connsiteX14" fmla="*/ 0 w 120481"/>
                  <a:gd name="connsiteY14" fmla="*/ 38839 h 134530"/>
                  <a:gd name="connsiteX15" fmla="*/ 41979 w 120481"/>
                  <a:gd name="connsiteY15" fmla="*/ 165 h 134530"/>
                  <a:gd name="connsiteX16" fmla="*/ 110235 w 120481"/>
                  <a:gd name="connsiteY16" fmla="*/ 165 h 13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481" h="134530">
                    <a:moveTo>
                      <a:pt x="110235" y="0"/>
                    </a:moveTo>
                    <a:lnTo>
                      <a:pt x="110235" y="23469"/>
                    </a:lnTo>
                    <a:lnTo>
                      <a:pt x="41152" y="23469"/>
                    </a:lnTo>
                    <a:cubicBezTo>
                      <a:pt x="28922" y="23469"/>
                      <a:pt x="23634" y="30079"/>
                      <a:pt x="23634" y="39500"/>
                    </a:cubicBezTo>
                    <a:cubicBezTo>
                      <a:pt x="23634" y="47598"/>
                      <a:pt x="27766" y="55366"/>
                      <a:pt x="43631" y="55366"/>
                    </a:cubicBezTo>
                    <a:lnTo>
                      <a:pt x="75198" y="55366"/>
                    </a:lnTo>
                    <a:cubicBezTo>
                      <a:pt x="111888" y="55366"/>
                      <a:pt x="120482" y="75694"/>
                      <a:pt x="120482" y="95030"/>
                    </a:cubicBezTo>
                    <a:cubicBezTo>
                      <a:pt x="120482" y="117838"/>
                      <a:pt x="108252" y="134530"/>
                      <a:pt x="77512" y="134530"/>
                    </a:cubicBezTo>
                    <a:lnTo>
                      <a:pt x="2479" y="134530"/>
                    </a:lnTo>
                    <a:lnTo>
                      <a:pt x="2479" y="111062"/>
                    </a:lnTo>
                    <a:lnTo>
                      <a:pt x="78338" y="111062"/>
                    </a:lnTo>
                    <a:cubicBezTo>
                      <a:pt x="91064" y="111062"/>
                      <a:pt x="96848" y="104121"/>
                      <a:pt x="96848" y="94370"/>
                    </a:cubicBezTo>
                    <a:cubicBezTo>
                      <a:pt x="96848" y="85610"/>
                      <a:pt x="92221" y="77677"/>
                      <a:pt x="75694" y="77677"/>
                    </a:cubicBezTo>
                    <a:lnTo>
                      <a:pt x="44293" y="77677"/>
                    </a:lnTo>
                    <a:cubicBezTo>
                      <a:pt x="8263" y="77677"/>
                      <a:pt x="0" y="57514"/>
                      <a:pt x="0" y="38839"/>
                    </a:cubicBezTo>
                    <a:cubicBezTo>
                      <a:pt x="0" y="16527"/>
                      <a:pt x="12065" y="165"/>
                      <a:pt x="41979" y="165"/>
                    </a:cubicBezTo>
                    <a:lnTo>
                      <a:pt x="110235" y="1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C5373C7C-F932-5AD7-FBD3-25632BD91A89}"/>
                  </a:ext>
                </a:extLst>
              </p:cNvPr>
              <p:cNvSpPr/>
              <p:nvPr/>
            </p:nvSpPr>
            <p:spPr>
              <a:xfrm>
                <a:off x="10982922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60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60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8FD4F94-C488-2843-896F-0F026355CC2D}"/>
                  </a:ext>
                </a:extLst>
              </p:cNvPr>
              <p:cNvSpPr/>
              <p:nvPr/>
            </p:nvSpPr>
            <p:spPr>
              <a:xfrm>
                <a:off x="11116295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1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1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545165E2-6AB2-91B0-78A0-8E9A602F7C0F}"/>
                  </a:ext>
                </a:extLst>
              </p:cNvPr>
              <p:cNvSpPr/>
              <p:nvPr/>
            </p:nvSpPr>
            <p:spPr>
              <a:xfrm>
                <a:off x="11203227" y="5929495"/>
                <a:ext cx="127423" cy="107756"/>
              </a:xfrm>
              <a:custGeom>
                <a:avLst/>
                <a:gdLst>
                  <a:gd name="connsiteX0" fmla="*/ 22147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2 w 127423"/>
                  <a:gd name="connsiteY3" fmla="*/ 84618 h 107756"/>
                  <a:gd name="connsiteX4" fmla="*/ 104616 w 127423"/>
                  <a:gd name="connsiteY4" fmla="*/ 0 h 107756"/>
                  <a:gd name="connsiteX5" fmla="*/ 127424 w 127423"/>
                  <a:gd name="connsiteY5" fmla="*/ 0 h 107756"/>
                  <a:gd name="connsiteX6" fmla="*/ 86767 w 127423"/>
                  <a:gd name="connsiteY6" fmla="*/ 94039 h 107756"/>
                  <a:gd name="connsiteX7" fmla="*/ 62638 w 127423"/>
                  <a:gd name="connsiteY7" fmla="*/ 107756 h 107756"/>
                  <a:gd name="connsiteX8" fmla="*/ 38674 w 127423"/>
                  <a:gd name="connsiteY8" fmla="*/ 94039 h 107756"/>
                  <a:gd name="connsiteX9" fmla="*/ 0 w 127423"/>
                  <a:gd name="connsiteY9" fmla="*/ 0 h 107756"/>
                  <a:gd name="connsiteX10" fmla="*/ 22312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7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2" y="84618"/>
                    </a:cubicBezTo>
                    <a:lnTo>
                      <a:pt x="104616" y="0"/>
                    </a:lnTo>
                    <a:lnTo>
                      <a:pt x="127424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8" y="107756"/>
                    </a:cubicBezTo>
                    <a:cubicBezTo>
                      <a:pt x="50738" y="107756"/>
                      <a:pt x="42640" y="103790"/>
                      <a:pt x="38674" y="94039"/>
                    </a:cubicBezTo>
                    <a:lnTo>
                      <a:pt x="0" y="0"/>
                    </a:lnTo>
                    <a:lnTo>
                      <a:pt x="223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A0B6AA01-AE9C-40BF-B85D-A941B7D25172}"/>
                  </a:ext>
                </a:extLst>
              </p:cNvPr>
              <p:cNvSpPr/>
              <p:nvPr/>
            </p:nvSpPr>
            <p:spPr>
              <a:xfrm>
                <a:off x="11351144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D44A3B16-74BD-072A-0715-BC998E5BC3BF}"/>
                  </a:ext>
                </a:extLst>
              </p:cNvPr>
              <p:cNvSpPr/>
              <p:nvPr/>
            </p:nvSpPr>
            <p:spPr>
              <a:xfrm>
                <a:off x="11398907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91369293-F349-1533-550E-BDF040CA3F7A}"/>
                  </a:ext>
                </a:extLst>
              </p:cNvPr>
              <p:cNvSpPr/>
              <p:nvPr/>
            </p:nvSpPr>
            <p:spPr>
              <a:xfrm>
                <a:off x="11523521" y="5929495"/>
                <a:ext cx="106269" cy="105277"/>
              </a:xfrm>
              <a:custGeom>
                <a:avLst/>
                <a:gdLst>
                  <a:gd name="connsiteX0" fmla="*/ 70736 w 106269"/>
                  <a:gd name="connsiteY0" fmla="*/ 0 h 105277"/>
                  <a:gd name="connsiteX1" fmla="*/ 106269 w 106269"/>
                  <a:gd name="connsiteY1" fmla="*/ 32393 h 105277"/>
                  <a:gd name="connsiteX2" fmla="*/ 70571 w 106269"/>
                  <a:gd name="connsiteY2" fmla="*/ 62637 h 105277"/>
                  <a:gd name="connsiteX3" fmla="*/ 20494 w 106269"/>
                  <a:gd name="connsiteY3" fmla="*/ 62637 h 105277"/>
                  <a:gd name="connsiteX4" fmla="*/ 20494 w 106269"/>
                  <a:gd name="connsiteY4" fmla="*/ 70240 h 105277"/>
                  <a:gd name="connsiteX5" fmla="*/ 36690 w 106269"/>
                  <a:gd name="connsiteY5" fmla="*/ 84784 h 105277"/>
                  <a:gd name="connsiteX6" fmla="*/ 101145 w 106269"/>
                  <a:gd name="connsiteY6" fmla="*/ 84784 h 105277"/>
                  <a:gd name="connsiteX7" fmla="*/ 101145 w 106269"/>
                  <a:gd name="connsiteY7" fmla="*/ 105277 h 105277"/>
                  <a:gd name="connsiteX8" fmla="*/ 36690 w 106269"/>
                  <a:gd name="connsiteY8" fmla="*/ 105277 h 105277"/>
                  <a:gd name="connsiteX9" fmla="*/ 0 w 106269"/>
                  <a:gd name="connsiteY9" fmla="*/ 70570 h 105277"/>
                  <a:gd name="connsiteX10" fmla="*/ 0 w 106269"/>
                  <a:gd name="connsiteY10" fmla="*/ 34706 h 105277"/>
                  <a:gd name="connsiteX11" fmla="*/ 36690 w 106269"/>
                  <a:gd name="connsiteY11" fmla="*/ 0 h 105277"/>
                  <a:gd name="connsiteX12" fmla="*/ 70901 w 106269"/>
                  <a:gd name="connsiteY12" fmla="*/ 0 h 105277"/>
                  <a:gd name="connsiteX13" fmla="*/ 20494 w 106269"/>
                  <a:gd name="connsiteY13" fmla="*/ 46110 h 105277"/>
                  <a:gd name="connsiteX14" fmla="*/ 70075 w 106269"/>
                  <a:gd name="connsiteY14" fmla="*/ 46110 h 105277"/>
                  <a:gd name="connsiteX15" fmla="*/ 85610 w 106269"/>
                  <a:gd name="connsiteY15" fmla="*/ 33550 h 105277"/>
                  <a:gd name="connsiteX16" fmla="*/ 70571 w 106269"/>
                  <a:gd name="connsiteY16" fmla="*/ 20328 h 105277"/>
                  <a:gd name="connsiteX17" fmla="*/ 36525 w 106269"/>
                  <a:gd name="connsiteY17" fmla="*/ 20328 h 105277"/>
                  <a:gd name="connsiteX18" fmla="*/ 20328 w 106269"/>
                  <a:gd name="connsiteY18" fmla="*/ 34872 h 105277"/>
                  <a:gd name="connsiteX19" fmla="*/ 20328 w 106269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9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1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4" y="46110"/>
                    </a:moveTo>
                    <a:lnTo>
                      <a:pt x="70075" y="46110"/>
                    </a:lnTo>
                    <a:cubicBezTo>
                      <a:pt x="81479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1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3" name="Graphic 8">
              <a:extLst>
                <a:ext uri="{FF2B5EF4-FFF2-40B4-BE49-F238E27FC236}">
                  <a16:creationId xmlns:a16="http://schemas.microsoft.com/office/drawing/2014/main" id="{E13A2696-6C4A-FCBD-22AC-75F07D2E0A26}"/>
                </a:ext>
              </a:extLst>
            </p:cNvPr>
            <p:cNvGrpSpPr/>
            <p:nvPr/>
          </p:nvGrpSpPr>
          <p:grpSpPr>
            <a:xfrm>
              <a:off x="7596585" y="467263"/>
              <a:ext cx="3048167" cy="4652212"/>
              <a:chOff x="7596585" y="467263"/>
              <a:chExt cx="3048167" cy="4652212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FAAA179C-58F5-0E0A-3B97-E6DE4BEED716}"/>
                  </a:ext>
                </a:extLst>
              </p:cNvPr>
              <p:cNvSpPr/>
              <p:nvPr/>
            </p:nvSpPr>
            <p:spPr>
              <a:xfrm>
                <a:off x="9438356" y="3891725"/>
                <a:ext cx="1206396" cy="930285"/>
              </a:xfrm>
              <a:custGeom>
                <a:avLst/>
                <a:gdLst>
                  <a:gd name="connsiteX0" fmla="*/ 1191549 w 1206396"/>
                  <a:gd name="connsiteY0" fmla="*/ 925501 h 930285"/>
                  <a:gd name="connsiteX1" fmla="*/ 1154363 w 1206396"/>
                  <a:gd name="connsiteY1" fmla="*/ 916742 h 930285"/>
                  <a:gd name="connsiteX2" fmla="*/ 1151553 w 1206396"/>
                  <a:gd name="connsiteY2" fmla="*/ 894100 h 930285"/>
                  <a:gd name="connsiteX3" fmla="*/ 990415 w 1206396"/>
                  <a:gd name="connsiteY3" fmla="*/ 608183 h 930285"/>
                  <a:gd name="connsiteX4" fmla="*/ 706811 w 1206396"/>
                  <a:gd name="connsiteY4" fmla="*/ 614132 h 930285"/>
                  <a:gd name="connsiteX5" fmla="*/ 666981 w 1206396"/>
                  <a:gd name="connsiteY5" fmla="*/ 647186 h 930285"/>
                  <a:gd name="connsiteX6" fmla="*/ 630621 w 1206396"/>
                  <a:gd name="connsiteY6" fmla="*/ 686356 h 930285"/>
                  <a:gd name="connsiteX7" fmla="*/ 616573 w 1206396"/>
                  <a:gd name="connsiteY7" fmla="*/ 703048 h 930285"/>
                  <a:gd name="connsiteX8" fmla="*/ 582032 w 1206396"/>
                  <a:gd name="connsiteY8" fmla="*/ 698916 h 930285"/>
                  <a:gd name="connsiteX9" fmla="*/ 572777 w 1206396"/>
                  <a:gd name="connsiteY9" fmla="*/ 671647 h 930285"/>
                  <a:gd name="connsiteX10" fmla="*/ 558894 w 1206396"/>
                  <a:gd name="connsiteY10" fmla="*/ 640245 h 930285"/>
                  <a:gd name="connsiteX11" fmla="*/ 492621 w 1206396"/>
                  <a:gd name="connsiteY11" fmla="*/ 649500 h 930285"/>
                  <a:gd name="connsiteX12" fmla="*/ 446014 w 1206396"/>
                  <a:gd name="connsiteY12" fmla="*/ 656441 h 930285"/>
                  <a:gd name="connsiteX13" fmla="*/ 438577 w 1206396"/>
                  <a:gd name="connsiteY13" fmla="*/ 636279 h 930285"/>
                  <a:gd name="connsiteX14" fmla="*/ 442709 w 1206396"/>
                  <a:gd name="connsiteY14" fmla="*/ 620082 h 930285"/>
                  <a:gd name="connsiteX15" fmla="*/ 446841 w 1206396"/>
                  <a:gd name="connsiteY15" fmla="*/ 588185 h 930285"/>
                  <a:gd name="connsiteX16" fmla="*/ 442544 w 1206396"/>
                  <a:gd name="connsiteY16" fmla="*/ 553644 h 930285"/>
                  <a:gd name="connsiteX17" fmla="*/ 413787 w 1206396"/>
                  <a:gd name="connsiteY17" fmla="*/ 507368 h 930285"/>
                  <a:gd name="connsiteX18" fmla="*/ 264878 w 1206396"/>
                  <a:gd name="connsiteY18" fmla="*/ 493981 h 930285"/>
                  <a:gd name="connsiteX19" fmla="*/ 231659 w 1206396"/>
                  <a:gd name="connsiteY19" fmla="*/ 501088 h 930285"/>
                  <a:gd name="connsiteX20" fmla="*/ 207695 w 1206396"/>
                  <a:gd name="connsiteY20" fmla="*/ 486709 h 930285"/>
                  <a:gd name="connsiteX21" fmla="*/ 150677 w 1206396"/>
                  <a:gd name="connsiteY21" fmla="*/ 406884 h 930285"/>
                  <a:gd name="connsiteX22" fmla="*/ 45234 w 1206396"/>
                  <a:gd name="connsiteY22" fmla="*/ 186909 h 930285"/>
                  <a:gd name="connsiteX23" fmla="*/ 115 w 1206396"/>
                  <a:gd name="connsiteY23" fmla="*/ 30398 h 930285"/>
                  <a:gd name="connsiteX24" fmla="*/ 47383 w 1206396"/>
                  <a:gd name="connsiteY24" fmla="*/ 10235 h 930285"/>
                  <a:gd name="connsiteX25" fmla="*/ 59117 w 1206396"/>
                  <a:gd name="connsiteY25" fmla="*/ 45272 h 930285"/>
                  <a:gd name="connsiteX26" fmla="*/ 134150 w 1206396"/>
                  <a:gd name="connsiteY26" fmla="*/ 257645 h 930285"/>
                  <a:gd name="connsiteX27" fmla="*/ 229510 w 1206396"/>
                  <a:gd name="connsiteY27" fmla="*/ 417791 h 930285"/>
                  <a:gd name="connsiteX28" fmla="*/ 246203 w 1206396"/>
                  <a:gd name="connsiteY28" fmla="*/ 441260 h 930285"/>
                  <a:gd name="connsiteX29" fmla="*/ 251657 w 1206396"/>
                  <a:gd name="connsiteY29" fmla="*/ 439111 h 930285"/>
                  <a:gd name="connsiteX30" fmla="*/ 363545 w 1206396"/>
                  <a:gd name="connsiteY30" fmla="*/ 424402 h 930285"/>
                  <a:gd name="connsiteX31" fmla="*/ 457583 w 1206396"/>
                  <a:gd name="connsiteY31" fmla="*/ 473983 h 930285"/>
                  <a:gd name="connsiteX32" fmla="*/ 500884 w 1206396"/>
                  <a:gd name="connsiteY32" fmla="*/ 564386 h 930285"/>
                  <a:gd name="connsiteX33" fmla="*/ 503033 w 1206396"/>
                  <a:gd name="connsiteY33" fmla="*/ 578104 h 930285"/>
                  <a:gd name="connsiteX34" fmla="*/ 514601 w 1206396"/>
                  <a:gd name="connsiteY34" fmla="*/ 576120 h 930285"/>
                  <a:gd name="connsiteX35" fmla="*/ 563687 w 1206396"/>
                  <a:gd name="connsiteY35" fmla="*/ 580913 h 930285"/>
                  <a:gd name="connsiteX36" fmla="*/ 603352 w 1206396"/>
                  <a:gd name="connsiteY36" fmla="*/ 607852 h 930285"/>
                  <a:gd name="connsiteX37" fmla="*/ 613764 w 1206396"/>
                  <a:gd name="connsiteY37" fmla="*/ 619586 h 930285"/>
                  <a:gd name="connsiteX38" fmla="*/ 626655 w 1206396"/>
                  <a:gd name="connsiteY38" fmla="*/ 607356 h 930285"/>
                  <a:gd name="connsiteX39" fmla="*/ 931083 w 1206396"/>
                  <a:gd name="connsiteY39" fmla="*/ 527200 h 930285"/>
                  <a:gd name="connsiteX40" fmla="*/ 1206092 w 1206396"/>
                  <a:gd name="connsiteY40" fmla="*/ 887655 h 930285"/>
                  <a:gd name="connsiteX41" fmla="*/ 1197663 w 1206396"/>
                  <a:gd name="connsiteY41" fmla="*/ 919882 h 930285"/>
                  <a:gd name="connsiteX42" fmla="*/ 1191383 w 1206396"/>
                  <a:gd name="connsiteY42" fmla="*/ 925336 h 930285"/>
                  <a:gd name="connsiteX43" fmla="*/ 1191383 w 1206396"/>
                  <a:gd name="connsiteY43" fmla="*/ 925336 h 93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06396" h="930285">
                    <a:moveTo>
                      <a:pt x="1191549" y="925501"/>
                    </a:moveTo>
                    <a:cubicBezTo>
                      <a:pt x="1176509" y="934261"/>
                      <a:pt x="1161635" y="930790"/>
                      <a:pt x="1154363" y="916742"/>
                    </a:cubicBezTo>
                    <a:cubicBezTo>
                      <a:pt x="1151388" y="910958"/>
                      <a:pt x="1150892" y="906826"/>
                      <a:pt x="1151553" y="894100"/>
                    </a:cubicBezTo>
                    <a:cubicBezTo>
                      <a:pt x="1157668" y="776262"/>
                      <a:pt x="1094535" y="664375"/>
                      <a:pt x="990415" y="608183"/>
                    </a:cubicBezTo>
                    <a:cubicBezTo>
                      <a:pt x="899681" y="559263"/>
                      <a:pt x="793908" y="561411"/>
                      <a:pt x="706811" y="614132"/>
                    </a:cubicBezTo>
                    <a:cubicBezTo>
                      <a:pt x="694911" y="621239"/>
                      <a:pt x="690119" y="625371"/>
                      <a:pt x="666981" y="647186"/>
                    </a:cubicBezTo>
                    <a:cubicBezTo>
                      <a:pt x="643843" y="669167"/>
                      <a:pt x="639546" y="673795"/>
                      <a:pt x="630621" y="686356"/>
                    </a:cubicBezTo>
                    <a:cubicBezTo>
                      <a:pt x="624672" y="694784"/>
                      <a:pt x="619052" y="701726"/>
                      <a:pt x="616573" y="703048"/>
                    </a:cubicBezTo>
                    <a:cubicBezTo>
                      <a:pt x="605335" y="709824"/>
                      <a:pt x="590626" y="708006"/>
                      <a:pt x="582032" y="698916"/>
                    </a:cubicBezTo>
                    <a:cubicBezTo>
                      <a:pt x="575421" y="691975"/>
                      <a:pt x="573107" y="685033"/>
                      <a:pt x="572777" y="671647"/>
                    </a:cubicBezTo>
                    <a:cubicBezTo>
                      <a:pt x="572446" y="658425"/>
                      <a:pt x="567819" y="647517"/>
                      <a:pt x="558894" y="640245"/>
                    </a:cubicBezTo>
                    <a:cubicBezTo>
                      <a:pt x="538566" y="623387"/>
                      <a:pt x="510966" y="627189"/>
                      <a:pt x="492621" y="649500"/>
                    </a:cubicBezTo>
                    <a:cubicBezTo>
                      <a:pt x="477912" y="667349"/>
                      <a:pt x="459071" y="670159"/>
                      <a:pt x="446014" y="656441"/>
                    </a:cubicBezTo>
                    <a:cubicBezTo>
                      <a:pt x="441552" y="651649"/>
                      <a:pt x="438082" y="642228"/>
                      <a:pt x="438577" y="636279"/>
                    </a:cubicBezTo>
                    <a:cubicBezTo>
                      <a:pt x="438743" y="634295"/>
                      <a:pt x="440560" y="627023"/>
                      <a:pt x="442709" y="620082"/>
                    </a:cubicBezTo>
                    <a:cubicBezTo>
                      <a:pt x="445188" y="611984"/>
                      <a:pt x="446676" y="600911"/>
                      <a:pt x="446841" y="588185"/>
                    </a:cubicBezTo>
                    <a:cubicBezTo>
                      <a:pt x="447171" y="571823"/>
                      <a:pt x="446510" y="566369"/>
                      <a:pt x="442544" y="553644"/>
                    </a:cubicBezTo>
                    <a:cubicBezTo>
                      <a:pt x="436429" y="534142"/>
                      <a:pt x="427669" y="520094"/>
                      <a:pt x="413787" y="507368"/>
                    </a:cubicBezTo>
                    <a:cubicBezTo>
                      <a:pt x="375775" y="472330"/>
                      <a:pt x="319252" y="467207"/>
                      <a:pt x="264878" y="493981"/>
                    </a:cubicBezTo>
                    <a:cubicBezTo>
                      <a:pt x="247690" y="502410"/>
                      <a:pt x="241906" y="503732"/>
                      <a:pt x="231659" y="501088"/>
                    </a:cubicBezTo>
                    <a:cubicBezTo>
                      <a:pt x="221412" y="498443"/>
                      <a:pt x="215628" y="495138"/>
                      <a:pt x="207695" y="486709"/>
                    </a:cubicBezTo>
                    <a:cubicBezTo>
                      <a:pt x="197613" y="476132"/>
                      <a:pt x="171996" y="440103"/>
                      <a:pt x="150677" y="406884"/>
                    </a:cubicBezTo>
                    <a:cubicBezTo>
                      <a:pt x="116300" y="352840"/>
                      <a:pt x="74818" y="266404"/>
                      <a:pt x="45234" y="186909"/>
                    </a:cubicBezTo>
                    <a:cubicBezTo>
                      <a:pt x="27716" y="139807"/>
                      <a:pt x="1768" y="49569"/>
                      <a:pt x="115" y="30398"/>
                    </a:cubicBezTo>
                    <a:cubicBezTo>
                      <a:pt x="-2198" y="3128"/>
                      <a:pt x="30856" y="-10920"/>
                      <a:pt x="47383" y="10235"/>
                    </a:cubicBezTo>
                    <a:cubicBezTo>
                      <a:pt x="51019" y="14863"/>
                      <a:pt x="53498" y="22134"/>
                      <a:pt x="59117" y="45272"/>
                    </a:cubicBezTo>
                    <a:cubicBezTo>
                      <a:pt x="76966" y="117330"/>
                      <a:pt x="103079" y="191536"/>
                      <a:pt x="134150" y="257645"/>
                    </a:cubicBezTo>
                    <a:cubicBezTo>
                      <a:pt x="159601" y="312018"/>
                      <a:pt x="185549" y="355485"/>
                      <a:pt x="229510" y="417791"/>
                    </a:cubicBezTo>
                    <a:lnTo>
                      <a:pt x="246203" y="441260"/>
                    </a:lnTo>
                    <a:lnTo>
                      <a:pt x="251657" y="439111"/>
                    </a:lnTo>
                    <a:cubicBezTo>
                      <a:pt x="294296" y="422584"/>
                      <a:pt x="327020" y="418287"/>
                      <a:pt x="363545" y="424402"/>
                    </a:cubicBezTo>
                    <a:cubicBezTo>
                      <a:pt x="400565" y="430683"/>
                      <a:pt x="432297" y="447375"/>
                      <a:pt x="457583" y="473983"/>
                    </a:cubicBezTo>
                    <a:cubicBezTo>
                      <a:pt x="482374" y="500096"/>
                      <a:pt x="496918" y="530506"/>
                      <a:pt x="500884" y="564386"/>
                    </a:cubicBezTo>
                    <a:cubicBezTo>
                      <a:pt x="501710" y="571989"/>
                      <a:pt x="502702" y="578104"/>
                      <a:pt x="503033" y="578104"/>
                    </a:cubicBezTo>
                    <a:cubicBezTo>
                      <a:pt x="503528" y="577938"/>
                      <a:pt x="508487" y="577277"/>
                      <a:pt x="514601" y="576120"/>
                    </a:cubicBezTo>
                    <a:cubicBezTo>
                      <a:pt x="529972" y="573476"/>
                      <a:pt x="548813" y="575294"/>
                      <a:pt x="563687" y="580913"/>
                    </a:cubicBezTo>
                    <a:cubicBezTo>
                      <a:pt x="581701" y="587524"/>
                      <a:pt x="590957" y="593804"/>
                      <a:pt x="603352" y="607852"/>
                    </a:cubicBezTo>
                    <a:lnTo>
                      <a:pt x="613764" y="619586"/>
                    </a:lnTo>
                    <a:lnTo>
                      <a:pt x="626655" y="607356"/>
                    </a:lnTo>
                    <a:cubicBezTo>
                      <a:pt x="706646" y="531332"/>
                      <a:pt x="821178" y="501253"/>
                      <a:pt x="931083" y="527200"/>
                    </a:cubicBezTo>
                    <a:cubicBezTo>
                      <a:pt x="1095196" y="566039"/>
                      <a:pt x="1213199" y="720732"/>
                      <a:pt x="1206092" y="887655"/>
                    </a:cubicBezTo>
                    <a:cubicBezTo>
                      <a:pt x="1205266" y="906330"/>
                      <a:pt x="1204109" y="911123"/>
                      <a:pt x="1197663" y="919882"/>
                    </a:cubicBezTo>
                    <a:cubicBezTo>
                      <a:pt x="1196341" y="921535"/>
                      <a:pt x="1193532" y="924014"/>
                      <a:pt x="1191383" y="925336"/>
                    </a:cubicBezTo>
                    <a:lnTo>
                      <a:pt x="1191383" y="92533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553330C6-B723-49ED-9ADE-D9F8EBCCBA18}"/>
                  </a:ext>
                </a:extLst>
              </p:cNvPr>
              <p:cNvSpPr/>
              <p:nvPr/>
            </p:nvSpPr>
            <p:spPr>
              <a:xfrm>
                <a:off x="9263243" y="4301106"/>
                <a:ext cx="876635" cy="818369"/>
              </a:xfrm>
              <a:custGeom>
                <a:avLst/>
                <a:gdLst>
                  <a:gd name="connsiteX0" fmla="*/ 860109 w 876635"/>
                  <a:gd name="connsiteY0" fmla="*/ 816416 h 818369"/>
                  <a:gd name="connsiteX1" fmla="*/ 836971 w 876635"/>
                  <a:gd name="connsiteY1" fmla="*/ 815425 h 818369"/>
                  <a:gd name="connsiteX2" fmla="*/ 820444 w 876635"/>
                  <a:gd name="connsiteY2" fmla="*/ 779231 h 818369"/>
                  <a:gd name="connsiteX3" fmla="*/ 793505 w 876635"/>
                  <a:gd name="connsiteY3" fmla="*/ 705024 h 818369"/>
                  <a:gd name="connsiteX4" fmla="*/ 747890 w 876635"/>
                  <a:gd name="connsiteY4" fmla="*/ 655774 h 818369"/>
                  <a:gd name="connsiteX5" fmla="*/ 546591 w 876635"/>
                  <a:gd name="connsiteY5" fmla="*/ 654451 h 818369"/>
                  <a:gd name="connsiteX6" fmla="*/ 510397 w 876635"/>
                  <a:gd name="connsiteY6" fmla="*/ 684035 h 818369"/>
                  <a:gd name="connsiteX7" fmla="*/ 478169 w 876635"/>
                  <a:gd name="connsiteY7" fmla="*/ 719568 h 818369"/>
                  <a:gd name="connsiteX8" fmla="*/ 461146 w 876635"/>
                  <a:gd name="connsiteY8" fmla="*/ 737086 h 818369"/>
                  <a:gd name="connsiteX9" fmla="*/ 434868 w 876635"/>
                  <a:gd name="connsiteY9" fmla="*/ 735764 h 818369"/>
                  <a:gd name="connsiteX10" fmla="*/ 421647 w 876635"/>
                  <a:gd name="connsiteY10" fmla="*/ 712296 h 818369"/>
                  <a:gd name="connsiteX11" fmla="*/ 411070 w 876635"/>
                  <a:gd name="connsiteY11" fmla="*/ 692133 h 818369"/>
                  <a:gd name="connsiteX12" fmla="*/ 377354 w 876635"/>
                  <a:gd name="connsiteY12" fmla="*/ 683209 h 818369"/>
                  <a:gd name="connsiteX13" fmla="*/ 340003 w 876635"/>
                  <a:gd name="connsiteY13" fmla="*/ 664533 h 818369"/>
                  <a:gd name="connsiteX14" fmla="*/ 342152 w 876635"/>
                  <a:gd name="connsiteY14" fmla="*/ 641395 h 818369"/>
                  <a:gd name="connsiteX15" fmla="*/ 348101 w 876635"/>
                  <a:gd name="connsiteY15" fmla="*/ 627347 h 818369"/>
                  <a:gd name="connsiteX16" fmla="*/ 278357 w 876635"/>
                  <a:gd name="connsiteY16" fmla="*/ 523557 h 818369"/>
                  <a:gd name="connsiteX17" fmla="*/ 218199 w 876635"/>
                  <a:gd name="connsiteY17" fmla="*/ 543720 h 818369"/>
                  <a:gd name="connsiteX18" fmla="*/ 202829 w 876635"/>
                  <a:gd name="connsiteY18" fmla="*/ 552976 h 818369"/>
                  <a:gd name="connsiteX19" fmla="*/ 165147 w 876635"/>
                  <a:gd name="connsiteY19" fmla="*/ 541406 h 818369"/>
                  <a:gd name="connsiteX20" fmla="*/ 129118 w 876635"/>
                  <a:gd name="connsiteY20" fmla="*/ 471828 h 818369"/>
                  <a:gd name="connsiteX21" fmla="*/ 3183 w 876635"/>
                  <a:gd name="connsiteY21" fmla="*/ 65098 h 818369"/>
                  <a:gd name="connsiteX22" fmla="*/ 3513 w 876635"/>
                  <a:gd name="connsiteY22" fmla="*/ 12707 h 818369"/>
                  <a:gd name="connsiteX23" fmla="*/ 43343 w 876635"/>
                  <a:gd name="connsiteY23" fmla="*/ 6923 h 818369"/>
                  <a:gd name="connsiteX24" fmla="*/ 55408 w 876635"/>
                  <a:gd name="connsiteY24" fmla="*/ 42456 h 818369"/>
                  <a:gd name="connsiteX25" fmla="*/ 158041 w 876635"/>
                  <a:gd name="connsiteY25" fmla="*/ 402249 h 818369"/>
                  <a:gd name="connsiteX26" fmla="*/ 197540 w 876635"/>
                  <a:gd name="connsiteY26" fmla="*/ 488355 h 818369"/>
                  <a:gd name="connsiteX27" fmla="*/ 208448 w 876635"/>
                  <a:gd name="connsiteY27" fmla="*/ 484223 h 818369"/>
                  <a:gd name="connsiteX28" fmla="*/ 342152 w 876635"/>
                  <a:gd name="connsiteY28" fmla="*/ 487363 h 818369"/>
                  <a:gd name="connsiteX29" fmla="*/ 401484 w 876635"/>
                  <a:gd name="connsiteY29" fmla="*/ 562892 h 818369"/>
                  <a:gd name="connsiteX30" fmla="*/ 406938 w 876635"/>
                  <a:gd name="connsiteY30" fmla="*/ 615117 h 818369"/>
                  <a:gd name="connsiteX31" fmla="*/ 405450 w 876635"/>
                  <a:gd name="connsiteY31" fmla="*/ 627182 h 818369"/>
                  <a:gd name="connsiteX32" fmla="*/ 417515 w 876635"/>
                  <a:gd name="connsiteY32" fmla="*/ 631644 h 818369"/>
                  <a:gd name="connsiteX33" fmla="*/ 452057 w 876635"/>
                  <a:gd name="connsiteY33" fmla="*/ 653295 h 818369"/>
                  <a:gd name="connsiteX34" fmla="*/ 456684 w 876635"/>
                  <a:gd name="connsiteY34" fmla="*/ 658253 h 818369"/>
                  <a:gd name="connsiteX35" fmla="*/ 466931 w 876635"/>
                  <a:gd name="connsiteY35" fmla="*/ 647841 h 818369"/>
                  <a:gd name="connsiteX36" fmla="*/ 544773 w 876635"/>
                  <a:gd name="connsiteY36" fmla="*/ 593467 h 818369"/>
                  <a:gd name="connsiteX37" fmla="*/ 777969 w 876635"/>
                  <a:gd name="connsiteY37" fmla="*/ 609829 h 818369"/>
                  <a:gd name="connsiteX38" fmla="*/ 839119 w 876635"/>
                  <a:gd name="connsiteY38" fmla="*/ 674284 h 818369"/>
                  <a:gd name="connsiteX39" fmla="*/ 876636 w 876635"/>
                  <a:gd name="connsiteY39" fmla="*/ 788155 h 818369"/>
                  <a:gd name="connsiteX40" fmla="*/ 859943 w 876635"/>
                  <a:gd name="connsiteY40" fmla="*/ 816747 h 818369"/>
                  <a:gd name="connsiteX41" fmla="*/ 859943 w 876635"/>
                  <a:gd name="connsiteY41" fmla="*/ 816747 h 8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876635" h="818369">
                    <a:moveTo>
                      <a:pt x="860109" y="816416"/>
                    </a:moveTo>
                    <a:cubicBezTo>
                      <a:pt x="854324" y="819391"/>
                      <a:pt x="842755" y="818895"/>
                      <a:pt x="836971" y="815425"/>
                    </a:cubicBezTo>
                    <a:cubicBezTo>
                      <a:pt x="828212" y="810136"/>
                      <a:pt x="824080" y="801046"/>
                      <a:pt x="820444" y="779231"/>
                    </a:cubicBezTo>
                    <a:cubicBezTo>
                      <a:pt x="815816" y="750969"/>
                      <a:pt x="807057" y="726840"/>
                      <a:pt x="793505" y="705024"/>
                    </a:cubicBezTo>
                    <a:cubicBezTo>
                      <a:pt x="785076" y="691472"/>
                      <a:pt x="759459" y="663707"/>
                      <a:pt x="747890" y="655774"/>
                    </a:cubicBezTo>
                    <a:cubicBezTo>
                      <a:pt x="687567" y="614622"/>
                      <a:pt x="613856" y="614126"/>
                      <a:pt x="546591" y="654451"/>
                    </a:cubicBezTo>
                    <a:cubicBezTo>
                      <a:pt x="534526" y="661723"/>
                      <a:pt x="529899" y="665525"/>
                      <a:pt x="510397" y="684035"/>
                    </a:cubicBezTo>
                    <a:cubicBezTo>
                      <a:pt x="491226" y="702215"/>
                      <a:pt x="486598" y="707338"/>
                      <a:pt x="478169" y="719568"/>
                    </a:cubicBezTo>
                    <a:cubicBezTo>
                      <a:pt x="468749" y="733120"/>
                      <a:pt x="467922" y="733947"/>
                      <a:pt x="461146" y="737086"/>
                    </a:cubicBezTo>
                    <a:cubicBezTo>
                      <a:pt x="452718" y="741053"/>
                      <a:pt x="442636" y="740557"/>
                      <a:pt x="434868" y="735764"/>
                    </a:cubicBezTo>
                    <a:cubicBezTo>
                      <a:pt x="427597" y="731302"/>
                      <a:pt x="424787" y="726344"/>
                      <a:pt x="421647" y="712296"/>
                    </a:cubicBezTo>
                    <a:cubicBezTo>
                      <a:pt x="419168" y="701058"/>
                      <a:pt x="418507" y="699901"/>
                      <a:pt x="411070" y="692133"/>
                    </a:cubicBezTo>
                    <a:cubicBezTo>
                      <a:pt x="400823" y="681225"/>
                      <a:pt x="393881" y="679573"/>
                      <a:pt x="377354" y="683209"/>
                    </a:cubicBezTo>
                    <a:cubicBezTo>
                      <a:pt x="358183" y="687505"/>
                      <a:pt x="344796" y="680895"/>
                      <a:pt x="340003" y="664533"/>
                    </a:cubicBezTo>
                    <a:cubicBezTo>
                      <a:pt x="338020" y="657922"/>
                      <a:pt x="339342" y="644040"/>
                      <a:pt x="342152" y="641395"/>
                    </a:cubicBezTo>
                    <a:cubicBezTo>
                      <a:pt x="342813" y="640734"/>
                      <a:pt x="345622" y="634454"/>
                      <a:pt x="348101" y="627347"/>
                    </a:cubicBezTo>
                    <a:cubicBezTo>
                      <a:pt x="365620" y="578592"/>
                      <a:pt x="330748" y="526532"/>
                      <a:pt x="278357" y="523557"/>
                    </a:cubicBezTo>
                    <a:cubicBezTo>
                      <a:pt x="255715" y="522235"/>
                      <a:pt x="237370" y="528350"/>
                      <a:pt x="218199" y="543720"/>
                    </a:cubicBezTo>
                    <a:cubicBezTo>
                      <a:pt x="212745" y="548018"/>
                      <a:pt x="206300" y="551984"/>
                      <a:pt x="202829" y="552976"/>
                    </a:cubicBezTo>
                    <a:cubicBezTo>
                      <a:pt x="190930" y="556446"/>
                      <a:pt x="174898" y="551653"/>
                      <a:pt x="165147" y="541406"/>
                    </a:cubicBezTo>
                    <a:cubicBezTo>
                      <a:pt x="159693" y="535787"/>
                      <a:pt x="149447" y="515624"/>
                      <a:pt x="129118" y="471828"/>
                    </a:cubicBezTo>
                    <a:cubicBezTo>
                      <a:pt x="67803" y="339281"/>
                      <a:pt x="20371" y="185910"/>
                      <a:pt x="3183" y="65098"/>
                    </a:cubicBezTo>
                    <a:cubicBezTo>
                      <a:pt x="-1114" y="34357"/>
                      <a:pt x="-1114" y="20475"/>
                      <a:pt x="3513" y="12707"/>
                    </a:cubicBezTo>
                    <a:cubicBezTo>
                      <a:pt x="12272" y="-1506"/>
                      <a:pt x="30948" y="-4316"/>
                      <a:pt x="43343" y="6923"/>
                    </a:cubicBezTo>
                    <a:cubicBezTo>
                      <a:pt x="50946" y="13699"/>
                      <a:pt x="52598" y="18822"/>
                      <a:pt x="55408" y="42456"/>
                    </a:cubicBezTo>
                    <a:cubicBezTo>
                      <a:pt x="67638" y="143766"/>
                      <a:pt x="105320" y="275817"/>
                      <a:pt x="158041" y="402249"/>
                    </a:cubicBezTo>
                    <a:cubicBezTo>
                      <a:pt x="167792" y="425387"/>
                      <a:pt x="195722" y="486372"/>
                      <a:pt x="197540" y="488355"/>
                    </a:cubicBezTo>
                    <a:cubicBezTo>
                      <a:pt x="198201" y="489016"/>
                      <a:pt x="202994" y="487198"/>
                      <a:pt x="208448" y="484223"/>
                    </a:cubicBezTo>
                    <a:cubicBezTo>
                      <a:pt x="247783" y="462407"/>
                      <a:pt x="302487" y="463730"/>
                      <a:pt x="342152" y="487363"/>
                    </a:cubicBezTo>
                    <a:cubicBezTo>
                      <a:pt x="371735" y="505212"/>
                      <a:pt x="391402" y="530003"/>
                      <a:pt x="401484" y="562892"/>
                    </a:cubicBezTo>
                    <a:cubicBezTo>
                      <a:pt x="407268" y="581732"/>
                      <a:pt x="409086" y="598590"/>
                      <a:pt x="406938" y="615117"/>
                    </a:cubicBezTo>
                    <a:lnTo>
                      <a:pt x="405450" y="627182"/>
                    </a:lnTo>
                    <a:lnTo>
                      <a:pt x="417515" y="631644"/>
                    </a:lnTo>
                    <a:cubicBezTo>
                      <a:pt x="430241" y="636272"/>
                      <a:pt x="444124" y="645031"/>
                      <a:pt x="452057" y="653295"/>
                    </a:cubicBezTo>
                    <a:lnTo>
                      <a:pt x="456684" y="658253"/>
                    </a:lnTo>
                    <a:lnTo>
                      <a:pt x="466931" y="647841"/>
                    </a:lnTo>
                    <a:cubicBezTo>
                      <a:pt x="486433" y="628008"/>
                      <a:pt x="517338" y="606358"/>
                      <a:pt x="544773" y="593467"/>
                    </a:cubicBezTo>
                    <a:cubicBezTo>
                      <a:pt x="622946" y="556942"/>
                      <a:pt x="708721" y="562892"/>
                      <a:pt x="777969" y="609829"/>
                    </a:cubicBezTo>
                    <a:cubicBezTo>
                      <a:pt x="793505" y="620241"/>
                      <a:pt x="829369" y="658087"/>
                      <a:pt x="839119" y="674284"/>
                    </a:cubicBezTo>
                    <a:cubicBezTo>
                      <a:pt x="859778" y="708164"/>
                      <a:pt x="876305" y="758572"/>
                      <a:pt x="876636" y="788155"/>
                    </a:cubicBezTo>
                    <a:cubicBezTo>
                      <a:pt x="876636" y="800715"/>
                      <a:pt x="870521" y="811293"/>
                      <a:pt x="859943" y="816747"/>
                    </a:cubicBezTo>
                    <a:lnTo>
                      <a:pt x="859943" y="816747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203E5C38-7963-2F42-9B64-D1218CB79182}"/>
                  </a:ext>
                </a:extLst>
              </p:cNvPr>
              <p:cNvSpPr/>
              <p:nvPr/>
            </p:nvSpPr>
            <p:spPr>
              <a:xfrm>
                <a:off x="8094383" y="4297816"/>
                <a:ext cx="893895" cy="798957"/>
              </a:xfrm>
              <a:custGeom>
                <a:avLst/>
                <a:gdLst>
                  <a:gd name="connsiteX0" fmla="*/ 708790 w 893895"/>
                  <a:gd name="connsiteY0" fmla="*/ 544201 h 798957"/>
                  <a:gd name="connsiteX1" fmla="*/ 678050 w 893895"/>
                  <a:gd name="connsiteY1" fmla="*/ 548003 h 798957"/>
                  <a:gd name="connsiteX2" fmla="*/ 661853 w 893895"/>
                  <a:gd name="connsiteY2" fmla="*/ 537260 h 798957"/>
                  <a:gd name="connsiteX3" fmla="*/ 607480 w 893895"/>
                  <a:gd name="connsiteY3" fmla="*/ 517097 h 798957"/>
                  <a:gd name="connsiteX4" fmla="*/ 549139 w 893895"/>
                  <a:gd name="connsiteY4" fmla="*/ 542383 h 798957"/>
                  <a:gd name="connsiteX5" fmla="*/ 534595 w 893895"/>
                  <a:gd name="connsiteY5" fmla="*/ 626671 h 798957"/>
                  <a:gd name="connsiteX6" fmla="*/ 529802 w 893895"/>
                  <a:gd name="connsiteY6" fmla="*/ 669972 h 798957"/>
                  <a:gd name="connsiteX7" fmla="*/ 499558 w 893895"/>
                  <a:gd name="connsiteY7" fmla="*/ 674104 h 798957"/>
                  <a:gd name="connsiteX8" fmla="*/ 467826 w 893895"/>
                  <a:gd name="connsiteY8" fmla="*/ 681376 h 798957"/>
                  <a:gd name="connsiteX9" fmla="*/ 458406 w 893895"/>
                  <a:gd name="connsiteY9" fmla="*/ 696415 h 798957"/>
                  <a:gd name="connsiteX10" fmla="*/ 445184 w 893895"/>
                  <a:gd name="connsiteY10" fmla="*/ 723189 h 798957"/>
                  <a:gd name="connsiteX11" fmla="*/ 416758 w 893895"/>
                  <a:gd name="connsiteY11" fmla="*/ 726494 h 798957"/>
                  <a:gd name="connsiteX12" fmla="*/ 400231 w 893895"/>
                  <a:gd name="connsiteY12" fmla="*/ 709141 h 798957"/>
                  <a:gd name="connsiteX13" fmla="*/ 339246 w 893895"/>
                  <a:gd name="connsiteY13" fmla="*/ 646008 h 798957"/>
                  <a:gd name="connsiteX14" fmla="*/ 231986 w 893895"/>
                  <a:gd name="connsiteY14" fmla="*/ 609814 h 798957"/>
                  <a:gd name="connsiteX15" fmla="*/ 74979 w 893895"/>
                  <a:gd name="connsiteY15" fmla="*/ 703357 h 798957"/>
                  <a:gd name="connsiteX16" fmla="*/ 56138 w 893895"/>
                  <a:gd name="connsiteY16" fmla="*/ 759879 h 798957"/>
                  <a:gd name="connsiteX17" fmla="*/ 43247 w 893895"/>
                  <a:gd name="connsiteY17" fmla="*/ 792272 h 798957"/>
                  <a:gd name="connsiteX18" fmla="*/ 1103 w 893895"/>
                  <a:gd name="connsiteY18" fmla="*/ 778224 h 798957"/>
                  <a:gd name="connsiteX19" fmla="*/ 27546 w 893895"/>
                  <a:gd name="connsiteY19" fmla="*/ 675757 h 798957"/>
                  <a:gd name="connsiteX20" fmla="*/ 73161 w 893895"/>
                  <a:gd name="connsiteY20" fmla="*/ 617085 h 798957"/>
                  <a:gd name="connsiteX21" fmla="*/ 108363 w 893895"/>
                  <a:gd name="connsiteY21" fmla="*/ 588163 h 798957"/>
                  <a:gd name="connsiteX22" fmla="*/ 248182 w 893895"/>
                  <a:gd name="connsiteY22" fmla="*/ 555605 h 798957"/>
                  <a:gd name="connsiteX23" fmla="*/ 371308 w 893895"/>
                  <a:gd name="connsiteY23" fmla="*/ 601881 h 798957"/>
                  <a:gd name="connsiteX24" fmla="*/ 418080 w 893895"/>
                  <a:gd name="connsiteY24" fmla="*/ 642537 h 798957"/>
                  <a:gd name="connsiteX25" fmla="*/ 422377 w 893895"/>
                  <a:gd name="connsiteY25" fmla="*/ 647826 h 798957"/>
                  <a:gd name="connsiteX26" fmla="*/ 428492 w 893895"/>
                  <a:gd name="connsiteY26" fmla="*/ 642041 h 798957"/>
                  <a:gd name="connsiteX27" fmla="*/ 462207 w 893895"/>
                  <a:gd name="connsiteY27" fmla="*/ 622044 h 798957"/>
                  <a:gd name="connsiteX28" fmla="*/ 474602 w 893895"/>
                  <a:gd name="connsiteY28" fmla="*/ 617912 h 798957"/>
                  <a:gd name="connsiteX29" fmla="*/ 473776 w 893895"/>
                  <a:gd name="connsiteY29" fmla="*/ 612623 h 798957"/>
                  <a:gd name="connsiteX30" fmla="*/ 477908 w 893895"/>
                  <a:gd name="connsiteY30" fmla="*/ 559406 h 798957"/>
                  <a:gd name="connsiteX31" fmla="*/ 525010 w 893895"/>
                  <a:gd name="connsiteY31" fmla="*/ 489993 h 798957"/>
                  <a:gd name="connsiteX32" fmla="*/ 655573 w 893895"/>
                  <a:gd name="connsiteY32" fmla="*/ 470987 h 798957"/>
                  <a:gd name="connsiteX33" fmla="*/ 677389 w 893895"/>
                  <a:gd name="connsiteY33" fmla="*/ 480737 h 798957"/>
                  <a:gd name="connsiteX34" fmla="*/ 684991 w 893895"/>
                  <a:gd name="connsiteY34" fmla="*/ 485200 h 798957"/>
                  <a:gd name="connsiteX35" fmla="*/ 693751 w 893895"/>
                  <a:gd name="connsiteY35" fmla="*/ 467846 h 798957"/>
                  <a:gd name="connsiteX36" fmla="*/ 772584 w 893895"/>
                  <a:gd name="connsiteY36" fmla="*/ 284397 h 798957"/>
                  <a:gd name="connsiteX37" fmla="*/ 837536 w 893895"/>
                  <a:gd name="connsiteY37" fmla="*/ 41615 h 798957"/>
                  <a:gd name="connsiteX38" fmla="*/ 842824 w 893895"/>
                  <a:gd name="connsiteY38" fmla="*/ 16163 h 798957"/>
                  <a:gd name="connsiteX39" fmla="*/ 892571 w 893895"/>
                  <a:gd name="connsiteY39" fmla="*/ 19138 h 798957"/>
                  <a:gd name="connsiteX40" fmla="*/ 888604 w 893895"/>
                  <a:gd name="connsiteY40" fmla="*/ 70537 h 798957"/>
                  <a:gd name="connsiteX41" fmla="*/ 735234 w 893895"/>
                  <a:gd name="connsiteY41" fmla="*/ 507181 h 798957"/>
                  <a:gd name="connsiteX42" fmla="*/ 708790 w 893895"/>
                  <a:gd name="connsiteY42" fmla="*/ 544201 h 798957"/>
                  <a:gd name="connsiteX43" fmla="*/ 708790 w 893895"/>
                  <a:gd name="connsiteY43" fmla="*/ 544201 h 79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893895" h="798957">
                    <a:moveTo>
                      <a:pt x="708790" y="544201"/>
                    </a:moveTo>
                    <a:cubicBezTo>
                      <a:pt x="697552" y="550316"/>
                      <a:pt x="687636" y="551473"/>
                      <a:pt x="678050" y="548003"/>
                    </a:cubicBezTo>
                    <a:cubicBezTo>
                      <a:pt x="674414" y="546680"/>
                      <a:pt x="667638" y="542218"/>
                      <a:pt x="661853" y="537260"/>
                    </a:cubicBezTo>
                    <a:cubicBezTo>
                      <a:pt x="645161" y="522882"/>
                      <a:pt x="629626" y="517097"/>
                      <a:pt x="607480" y="517097"/>
                    </a:cubicBezTo>
                    <a:cubicBezTo>
                      <a:pt x="584838" y="517097"/>
                      <a:pt x="564840" y="525691"/>
                      <a:pt x="549139" y="542383"/>
                    </a:cubicBezTo>
                    <a:cubicBezTo>
                      <a:pt x="527158" y="565687"/>
                      <a:pt x="522035" y="596096"/>
                      <a:pt x="534595" y="626671"/>
                    </a:cubicBezTo>
                    <a:cubicBezTo>
                      <a:pt x="543685" y="648322"/>
                      <a:pt x="542363" y="659560"/>
                      <a:pt x="529802" y="669972"/>
                    </a:cubicBezTo>
                    <a:cubicBezTo>
                      <a:pt x="521374" y="676913"/>
                      <a:pt x="513771" y="677905"/>
                      <a:pt x="499558" y="674104"/>
                    </a:cubicBezTo>
                    <a:cubicBezTo>
                      <a:pt x="485841" y="670302"/>
                      <a:pt x="477412" y="672286"/>
                      <a:pt x="467826" y="681376"/>
                    </a:cubicBezTo>
                    <a:cubicBezTo>
                      <a:pt x="462042" y="686829"/>
                      <a:pt x="460389" y="689639"/>
                      <a:pt x="458406" y="696415"/>
                    </a:cubicBezTo>
                    <a:cubicBezTo>
                      <a:pt x="452291" y="717239"/>
                      <a:pt x="452291" y="717405"/>
                      <a:pt x="445184" y="723189"/>
                    </a:cubicBezTo>
                    <a:cubicBezTo>
                      <a:pt x="436425" y="730296"/>
                      <a:pt x="427004" y="731453"/>
                      <a:pt x="416758" y="726494"/>
                    </a:cubicBezTo>
                    <a:cubicBezTo>
                      <a:pt x="409816" y="723189"/>
                      <a:pt x="409320" y="722693"/>
                      <a:pt x="400231" y="709141"/>
                    </a:cubicBezTo>
                    <a:cubicBezTo>
                      <a:pt x="386513" y="688648"/>
                      <a:pt x="356930" y="658238"/>
                      <a:pt x="339246" y="646008"/>
                    </a:cubicBezTo>
                    <a:cubicBezTo>
                      <a:pt x="304705" y="622374"/>
                      <a:pt x="270328" y="610805"/>
                      <a:pt x="231986" y="609814"/>
                    </a:cubicBezTo>
                    <a:cubicBezTo>
                      <a:pt x="164555" y="608161"/>
                      <a:pt x="106876" y="642372"/>
                      <a:pt x="74979" y="703357"/>
                    </a:cubicBezTo>
                    <a:cubicBezTo>
                      <a:pt x="67707" y="717239"/>
                      <a:pt x="58617" y="744344"/>
                      <a:pt x="56138" y="759879"/>
                    </a:cubicBezTo>
                    <a:cubicBezTo>
                      <a:pt x="53328" y="777067"/>
                      <a:pt x="49858" y="785826"/>
                      <a:pt x="43247" y="792272"/>
                    </a:cubicBezTo>
                    <a:cubicBezTo>
                      <a:pt x="29695" y="805493"/>
                      <a:pt x="7383" y="798221"/>
                      <a:pt x="1103" y="778224"/>
                    </a:cubicBezTo>
                    <a:cubicBezTo>
                      <a:pt x="-4020" y="762028"/>
                      <a:pt x="9367" y="709967"/>
                      <a:pt x="27546" y="675757"/>
                    </a:cubicBezTo>
                    <a:cubicBezTo>
                      <a:pt x="41264" y="649974"/>
                      <a:pt x="49031" y="639893"/>
                      <a:pt x="73161" y="617085"/>
                    </a:cubicBezTo>
                    <a:cubicBezTo>
                      <a:pt x="91671" y="599401"/>
                      <a:pt x="96960" y="595105"/>
                      <a:pt x="108363" y="588163"/>
                    </a:cubicBezTo>
                    <a:cubicBezTo>
                      <a:pt x="150838" y="562381"/>
                      <a:pt x="200584" y="550812"/>
                      <a:pt x="248182" y="555605"/>
                    </a:cubicBezTo>
                    <a:cubicBezTo>
                      <a:pt x="290822" y="559902"/>
                      <a:pt x="335445" y="576595"/>
                      <a:pt x="371308" y="601881"/>
                    </a:cubicBezTo>
                    <a:cubicBezTo>
                      <a:pt x="385687" y="611962"/>
                      <a:pt x="411634" y="634604"/>
                      <a:pt x="418080" y="642537"/>
                    </a:cubicBezTo>
                    <a:lnTo>
                      <a:pt x="422377" y="647826"/>
                    </a:lnTo>
                    <a:lnTo>
                      <a:pt x="428492" y="642041"/>
                    </a:lnTo>
                    <a:cubicBezTo>
                      <a:pt x="438078" y="632951"/>
                      <a:pt x="448820" y="626671"/>
                      <a:pt x="462207" y="622044"/>
                    </a:cubicBezTo>
                    <a:lnTo>
                      <a:pt x="474602" y="617912"/>
                    </a:lnTo>
                    <a:lnTo>
                      <a:pt x="473776" y="612623"/>
                    </a:lnTo>
                    <a:cubicBezTo>
                      <a:pt x="471958" y="601385"/>
                      <a:pt x="474272" y="572463"/>
                      <a:pt x="477908" y="559406"/>
                    </a:cubicBezTo>
                    <a:cubicBezTo>
                      <a:pt x="485675" y="532137"/>
                      <a:pt x="503194" y="506189"/>
                      <a:pt x="525010" y="489993"/>
                    </a:cubicBezTo>
                    <a:cubicBezTo>
                      <a:pt x="563518" y="461566"/>
                      <a:pt x="611611" y="454460"/>
                      <a:pt x="655573" y="470987"/>
                    </a:cubicBezTo>
                    <a:cubicBezTo>
                      <a:pt x="663341" y="473961"/>
                      <a:pt x="673092" y="478259"/>
                      <a:pt x="677389" y="480737"/>
                    </a:cubicBezTo>
                    <a:lnTo>
                      <a:pt x="684991" y="485200"/>
                    </a:lnTo>
                    <a:lnTo>
                      <a:pt x="693751" y="467846"/>
                    </a:lnTo>
                    <a:cubicBezTo>
                      <a:pt x="722673" y="410663"/>
                      <a:pt x="748455" y="351000"/>
                      <a:pt x="772584" y="284397"/>
                    </a:cubicBezTo>
                    <a:cubicBezTo>
                      <a:pt x="805969" y="192341"/>
                      <a:pt x="826628" y="115160"/>
                      <a:pt x="837536" y="41615"/>
                    </a:cubicBezTo>
                    <a:cubicBezTo>
                      <a:pt x="839188" y="30541"/>
                      <a:pt x="841667" y="18972"/>
                      <a:pt x="842824" y="16163"/>
                    </a:cubicBezTo>
                    <a:cubicBezTo>
                      <a:pt x="852906" y="-6810"/>
                      <a:pt x="884803" y="-4826"/>
                      <a:pt x="892571" y="19138"/>
                    </a:cubicBezTo>
                    <a:cubicBezTo>
                      <a:pt x="895050" y="26740"/>
                      <a:pt x="894223" y="36161"/>
                      <a:pt x="888604" y="70537"/>
                    </a:cubicBezTo>
                    <a:cubicBezTo>
                      <a:pt x="867119" y="198786"/>
                      <a:pt x="807457" y="368684"/>
                      <a:pt x="735234" y="507181"/>
                    </a:cubicBezTo>
                    <a:cubicBezTo>
                      <a:pt x="723003" y="530649"/>
                      <a:pt x="716227" y="540235"/>
                      <a:pt x="708790" y="544201"/>
                    </a:cubicBezTo>
                    <a:lnTo>
                      <a:pt x="708790" y="54420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EEE06ADA-78B0-3789-47E7-D7C2485D0363}"/>
                  </a:ext>
                </a:extLst>
              </p:cNvPr>
              <p:cNvSpPr/>
              <p:nvPr/>
            </p:nvSpPr>
            <p:spPr>
              <a:xfrm>
                <a:off x="8262097" y="467263"/>
                <a:ext cx="1759274" cy="3892558"/>
              </a:xfrm>
              <a:custGeom>
                <a:avLst/>
                <a:gdLst>
                  <a:gd name="connsiteX0" fmla="*/ 1757135 w 1759274"/>
                  <a:gd name="connsiteY0" fmla="*/ 2427871 h 3892558"/>
                  <a:gd name="connsiteX1" fmla="*/ 1702430 w 1759274"/>
                  <a:gd name="connsiteY1" fmla="*/ 2290861 h 3892558"/>
                  <a:gd name="connsiteX2" fmla="*/ 1533854 w 1759274"/>
                  <a:gd name="connsiteY2" fmla="*/ 2059648 h 3892558"/>
                  <a:gd name="connsiteX3" fmla="*/ 1429239 w 1759274"/>
                  <a:gd name="connsiteY3" fmla="*/ 1952884 h 3892558"/>
                  <a:gd name="connsiteX4" fmla="*/ 1402795 w 1759274"/>
                  <a:gd name="connsiteY4" fmla="*/ 1921978 h 3892558"/>
                  <a:gd name="connsiteX5" fmla="*/ 1406596 w 1759274"/>
                  <a:gd name="connsiteY5" fmla="*/ 1872397 h 3892558"/>
                  <a:gd name="connsiteX6" fmla="*/ 1437998 w 1759274"/>
                  <a:gd name="connsiteY6" fmla="*/ 1357250 h 3892558"/>
                  <a:gd name="connsiteX7" fmla="*/ 1053083 w 1759274"/>
                  <a:gd name="connsiteY7" fmla="*/ 106485 h 3892558"/>
                  <a:gd name="connsiteX8" fmla="*/ 952599 w 1759274"/>
                  <a:gd name="connsiteY8" fmla="*/ 10793 h 3892558"/>
                  <a:gd name="connsiteX9" fmla="*/ 847653 w 1759274"/>
                  <a:gd name="connsiteY9" fmla="*/ 17073 h 3892558"/>
                  <a:gd name="connsiteX10" fmla="*/ 769976 w 1759274"/>
                  <a:gd name="connsiteY10" fmla="*/ 90619 h 3892558"/>
                  <a:gd name="connsiteX11" fmla="*/ 535127 w 1759274"/>
                  <a:gd name="connsiteY11" fmla="*/ 492225 h 3892558"/>
                  <a:gd name="connsiteX12" fmla="*/ 343248 w 1759274"/>
                  <a:gd name="connsiteY12" fmla="*/ 1422036 h 3892558"/>
                  <a:gd name="connsiteX13" fmla="*/ 343909 w 1759274"/>
                  <a:gd name="connsiteY13" fmla="*/ 1593256 h 3892558"/>
                  <a:gd name="connsiteX14" fmla="*/ 345562 w 1759274"/>
                  <a:gd name="connsiteY14" fmla="*/ 1633416 h 3892558"/>
                  <a:gd name="connsiteX15" fmla="*/ 365394 w 1759274"/>
                  <a:gd name="connsiteY15" fmla="*/ 1859671 h 3892558"/>
                  <a:gd name="connsiteX16" fmla="*/ 367543 w 1759274"/>
                  <a:gd name="connsiteY16" fmla="*/ 1911731 h 3892558"/>
                  <a:gd name="connsiteX17" fmla="*/ 329696 w 1759274"/>
                  <a:gd name="connsiteY17" fmla="*/ 1950074 h 3892558"/>
                  <a:gd name="connsiteX18" fmla="*/ 81294 w 1759274"/>
                  <a:gd name="connsiteY18" fmla="*/ 2238967 h 3892558"/>
                  <a:gd name="connsiteX19" fmla="*/ 6592 w 1759274"/>
                  <a:gd name="connsiteY19" fmla="*/ 2383743 h 3892558"/>
                  <a:gd name="connsiteX20" fmla="*/ 2956 w 1759274"/>
                  <a:gd name="connsiteY20" fmla="*/ 2486376 h 3892558"/>
                  <a:gd name="connsiteX21" fmla="*/ 28904 w 1759274"/>
                  <a:gd name="connsiteY21" fmla="*/ 2615452 h 3892558"/>
                  <a:gd name="connsiteX22" fmla="*/ 189051 w 1759274"/>
                  <a:gd name="connsiteY22" fmla="*/ 3085150 h 3892558"/>
                  <a:gd name="connsiteX23" fmla="*/ 239789 w 1759274"/>
                  <a:gd name="connsiteY23" fmla="*/ 3134401 h 3892558"/>
                  <a:gd name="connsiteX24" fmla="*/ 314821 w 1759274"/>
                  <a:gd name="connsiteY24" fmla="*/ 3117378 h 3892558"/>
                  <a:gd name="connsiteX25" fmla="*/ 335315 w 1759274"/>
                  <a:gd name="connsiteY25" fmla="*/ 3067962 h 3892558"/>
                  <a:gd name="connsiteX26" fmla="*/ 331018 w 1759274"/>
                  <a:gd name="connsiteY26" fmla="*/ 2928639 h 3892558"/>
                  <a:gd name="connsiteX27" fmla="*/ 328043 w 1759274"/>
                  <a:gd name="connsiteY27" fmla="*/ 2853276 h 3892558"/>
                  <a:gd name="connsiteX28" fmla="*/ 324903 w 1759274"/>
                  <a:gd name="connsiteY28" fmla="*/ 2770145 h 3892558"/>
                  <a:gd name="connsiteX29" fmla="*/ 323911 w 1759274"/>
                  <a:gd name="connsiteY29" fmla="*/ 2601735 h 3892558"/>
                  <a:gd name="connsiteX30" fmla="*/ 356635 w 1759274"/>
                  <a:gd name="connsiteY30" fmla="*/ 2508192 h 3892558"/>
                  <a:gd name="connsiteX31" fmla="*/ 414314 w 1759274"/>
                  <a:gd name="connsiteY31" fmla="*/ 2456462 h 3892558"/>
                  <a:gd name="connsiteX32" fmla="*/ 467696 w 1759274"/>
                  <a:gd name="connsiteY32" fmla="*/ 2413988 h 3892558"/>
                  <a:gd name="connsiteX33" fmla="*/ 488520 w 1759274"/>
                  <a:gd name="connsiteY33" fmla="*/ 2398122 h 3892558"/>
                  <a:gd name="connsiteX34" fmla="*/ 493644 w 1759274"/>
                  <a:gd name="connsiteY34" fmla="*/ 2410517 h 3892558"/>
                  <a:gd name="connsiteX35" fmla="*/ 527028 w 1759274"/>
                  <a:gd name="connsiteY35" fmla="*/ 2500094 h 3892558"/>
                  <a:gd name="connsiteX36" fmla="*/ 557438 w 1759274"/>
                  <a:gd name="connsiteY36" fmla="*/ 2550005 h 3892558"/>
                  <a:gd name="connsiteX37" fmla="*/ 567024 w 1759274"/>
                  <a:gd name="connsiteY37" fmla="*/ 2558765 h 3892558"/>
                  <a:gd name="connsiteX38" fmla="*/ 541737 w 1759274"/>
                  <a:gd name="connsiteY38" fmla="*/ 2630161 h 3892558"/>
                  <a:gd name="connsiteX39" fmla="*/ 513311 w 1759274"/>
                  <a:gd name="connsiteY39" fmla="*/ 2736761 h 3892558"/>
                  <a:gd name="connsiteX40" fmla="*/ 553141 w 1759274"/>
                  <a:gd name="connsiteY40" fmla="*/ 2791300 h 3892558"/>
                  <a:gd name="connsiteX41" fmla="*/ 564875 w 1759274"/>
                  <a:gd name="connsiteY41" fmla="*/ 2799729 h 3892558"/>
                  <a:gd name="connsiteX42" fmla="*/ 556612 w 1759274"/>
                  <a:gd name="connsiteY42" fmla="*/ 2815925 h 3892558"/>
                  <a:gd name="connsiteX43" fmla="*/ 512154 w 1759274"/>
                  <a:gd name="connsiteY43" fmla="*/ 2964999 h 3892558"/>
                  <a:gd name="connsiteX44" fmla="*/ 510832 w 1759274"/>
                  <a:gd name="connsiteY44" fmla="*/ 3075895 h 3892558"/>
                  <a:gd name="connsiteX45" fmla="*/ 553967 w 1759274"/>
                  <a:gd name="connsiteY45" fmla="*/ 3258519 h 3892558"/>
                  <a:gd name="connsiteX46" fmla="*/ 658583 w 1759274"/>
                  <a:gd name="connsiteY46" fmla="*/ 3467751 h 3892558"/>
                  <a:gd name="connsiteX47" fmla="*/ 699736 w 1759274"/>
                  <a:gd name="connsiteY47" fmla="*/ 3543940 h 3892558"/>
                  <a:gd name="connsiteX48" fmla="*/ 820383 w 1759274"/>
                  <a:gd name="connsiteY48" fmla="*/ 3840270 h 3892558"/>
                  <a:gd name="connsiteX49" fmla="*/ 845504 w 1759274"/>
                  <a:gd name="connsiteY49" fmla="*/ 3888198 h 3892558"/>
                  <a:gd name="connsiteX50" fmla="*/ 876740 w 1759274"/>
                  <a:gd name="connsiteY50" fmla="*/ 3890182 h 3892558"/>
                  <a:gd name="connsiteX51" fmla="*/ 876740 w 1759274"/>
                  <a:gd name="connsiteY51" fmla="*/ 3890182 h 3892558"/>
                  <a:gd name="connsiteX52" fmla="*/ 906324 w 1759274"/>
                  <a:gd name="connsiteY52" fmla="*/ 3839278 h 3892558"/>
                  <a:gd name="connsiteX53" fmla="*/ 1004329 w 1759274"/>
                  <a:gd name="connsiteY53" fmla="*/ 3603272 h 3892558"/>
                  <a:gd name="connsiteX54" fmla="*/ 1071098 w 1759274"/>
                  <a:gd name="connsiteY54" fmla="*/ 3480973 h 3892558"/>
                  <a:gd name="connsiteX55" fmla="*/ 1204802 w 1759274"/>
                  <a:gd name="connsiteY55" fmla="*/ 3211251 h 3892558"/>
                  <a:gd name="connsiteX56" fmla="*/ 1235707 w 1759274"/>
                  <a:gd name="connsiteY56" fmla="*/ 3013423 h 3892558"/>
                  <a:gd name="connsiteX57" fmla="*/ 1217031 w 1759274"/>
                  <a:gd name="connsiteY57" fmla="*/ 2886330 h 3892558"/>
                  <a:gd name="connsiteX58" fmla="*/ 1193233 w 1759274"/>
                  <a:gd name="connsiteY58" fmla="*/ 2823693 h 3892558"/>
                  <a:gd name="connsiteX59" fmla="*/ 1185795 w 1759274"/>
                  <a:gd name="connsiteY59" fmla="*/ 2807331 h 3892558"/>
                  <a:gd name="connsiteX60" fmla="*/ 1198025 w 1759274"/>
                  <a:gd name="connsiteY60" fmla="*/ 2798241 h 3892558"/>
                  <a:gd name="connsiteX61" fmla="*/ 1228435 w 1759274"/>
                  <a:gd name="connsiteY61" fmla="*/ 2770476 h 3892558"/>
                  <a:gd name="connsiteX62" fmla="*/ 1237029 w 1759274"/>
                  <a:gd name="connsiteY62" fmla="*/ 2718911 h 3892558"/>
                  <a:gd name="connsiteX63" fmla="*/ 1212074 w 1759274"/>
                  <a:gd name="connsiteY63" fmla="*/ 2636772 h 3892558"/>
                  <a:gd name="connsiteX64" fmla="*/ 1189266 w 1759274"/>
                  <a:gd name="connsiteY64" fmla="*/ 2566532 h 3892558"/>
                  <a:gd name="connsiteX65" fmla="*/ 1197034 w 1759274"/>
                  <a:gd name="connsiteY65" fmla="*/ 2559591 h 3892558"/>
                  <a:gd name="connsiteX66" fmla="*/ 1222320 w 1759274"/>
                  <a:gd name="connsiteY66" fmla="*/ 2526206 h 3892558"/>
                  <a:gd name="connsiteX67" fmla="*/ 1260498 w 1759274"/>
                  <a:gd name="connsiteY67" fmla="*/ 2432994 h 3892558"/>
                  <a:gd name="connsiteX68" fmla="*/ 1271240 w 1759274"/>
                  <a:gd name="connsiteY68" fmla="*/ 2407377 h 3892558"/>
                  <a:gd name="connsiteX69" fmla="*/ 1321152 w 1759274"/>
                  <a:gd name="connsiteY69" fmla="*/ 2447868 h 3892558"/>
                  <a:gd name="connsiteX70" fmla="*/ 1430561 w 1759274"/>
                  <a:gd name="connsiteY70" fmla="*/ 2611320 h 3892558"/>
                  <a:gd name="connsiteX71" fmla="*/ 1421801 w 1759274"/>
                  <a:gd name="connsiteY71" fmla="*/ 2850797 h 3892558"/>
                  <a:gd name="connsiteX72" fmla="*/ 1415356 w 1759274"/>
                  <a:gd name="connsiteY72" fmla="*/ 2955744 h 3892558"/>
                  <a:gd name="connsiteX73" fmla="*/ 1409406 w 1759274"/>
                  <a:gd name="connsiteY73" fmla="*/ 3050443 h 3892558"/>
                  <a:gd name="connsiteX74" fmla="*/ 1429569 w 1759274"/>
                  <a:gd name="connsiteY74" fmla="*/ 3131426 h 3892558"/>
                  <a:gd name="connsiteX75" fmla="*/ 1499644 w 1759274"/>
                  <a:gd name="connsiteY75" fmla="*/ 3149936 h 3892558"/>
                  <a:gd name="connsiteX76" fmla="*/ 1555174 w 1759274"/>
                  <a:gd name="connsiteY76" fmla="*/ 3100520 h 3892558"/>
                  <a:gd name="connsiteX77" fmla="*/ 1739285 w 1759274"/>
                  <a:gd name="connsiteY77" fmla="*/ 2580250 h 3892558"/>
                  <a:gd name="connsiteX78" fmla="*/ 1757465 w 1759274"/>
                  <a:gd name="connsiteY78" fmla="*/ 2427871 h 3892558"/>
                  <a:gd name="connsiteX79" fmla="*/ 607515 w 1759274"/>
                  <a:gd name="connsiteY79" fmla="*/ 469418 h 3892558"/>
                  <a:gd name="connsiteX80" fmla="*/ 793940 w 1759274"/>
                  <a:gd name="connsiteY80" fmla="*/ 153091 h 3892558"/>
                  <a:gd name="connsiteX81" fmla="*/ 889962 w 1759274"/>
                  <a:gd name="connsiteY81" fmla="*/ 64341 h 3892558"/>
                  <a:gd name="connsiteX82" fmla="*/ 942352 w 1759274"/>
                  <a:gd name="connsiteY82" fmla="*/ 73761 h 3892558"/>
                  <a:gd name="connsiteX83" fmla="*/ 975241 w 1759274"/>
                  <a:gd name="connsiteY83" fmla="*/ 103510 h 3892558"/>
                  <a:gd name="connsiteX84" fmla="*/ 1041515 w 1759274"/>
                  <a:gd name="connsiteY84" fmla="*/ 189781 h 3892558"/>
                  <a:gd name="connsiteX85" fmla="*/ 1193894 w 1759274"/>
                  <a:gd name="connsiteY85" fmla="*/ 469583 h 3892558"/>
                  <a:gd name="connsiteX86" fmla="*/ 1193894 w 1759274"/>
                  <a:gd name="connsiteY86" fmla="*/ 469583 h 3892558"/>
                  <a:gd name="connsiteX87" fmla="*/ 1204967 w 1759274"/>
                  <a:gd name="connsiteY87" fmla="*/ 497183 h 3892558"/>
                  <a:gd name="connsiteX88" fmla="*/ 1191580 w 1759274"/>
                  <a:gd name="connsiteY88" fmla="*/ 495696 h 3892558"/>
                  <a:gd name="connsiteX89" fmla="*/ 1018211 w 1759274"/>
                  <a:gd name="connsiteY89" fmla="*/ 468096 h 3892558"/>
                  <a:gd name="connsiteX90" fmla="*/ 897234 w 1759274"/>
                  <a:gd name="connsiteY90" fmla="*/ 462146 h 3892558"/>
                  <a:gd name="connsiteX91" fmla="*/ 864180 w 1759274"/>
                  <a:gd name="connsiteY91" fmla="*/ 462807 h 3892558"/>
                  <a:gd name="connsiteX92" fmla="*/ 747829 w 1759274"/>
                  <a:gd name="connsiteY92" fmla="*/ 467931 h 3892558"/>
                  <a:gd name="connsiteX93" fmla="*/ 613961 w 1759274"/>
                  <a:gd name="connsiteY93" fmla="*/ 488589 h 3892558"/>
                  <a:gd name="connsiteX94" fmla="*/ 598921 w 1759274"/>
                  <a:gd name="connsiteY94" fmla="*/ 490242 h 3892558"/>
                  <a:gd name="connsiteX95" fmla="*/ 607680 w 1759274"/>
                  <a:gd name="connsiteY95" fmla="*/ 469749 h 3892558"/>
                  <a:gd name="connsiteX96" fmla="*/ 467366 w 1759274"/>
                  <a:gd name="connsiteY96" fmla="*/ 2340608 h 3892558"/>
                  <a:gd name="connsiteX97" fmla="*/ 418776 w 1759274"/>
                  <a:gd name="connsiteY97" fmla="*/ 2379612 h 3892558"/>
                  <a:gd name="connsiteX98" fmla="*/ 316639 w 1759274"/>
                  <a:gd name="connsiteY98" fmla="*/ 2466874 h 3892558"/>
                  <a:gd name="connsiteX99" fmla="*/ 264910 w 1759274"/>
                  <a:gd name="connsiteY99" fmla="*/ 2575126 h 3892558"/>
                  <a:gd name="connsiteX100" fmla="*/ 263092 w 1759274"/>
                  <a:gd name="connsiteY100" fmla="*/ 2654291 h 3892558"/>
                  <a:gd name="connsiteX101" fmla="*/ 268215 w 1759274"/>
                  <a:gd name="connsiteY101" fmla="*/ 2787829 h 3892558"/>
                  <a:gd name="connsiteX102" fmla="*/ 270364 w 1759274"/>
                  <a:gd name="connsiteY102" fmla="*/ 2844847 h 3892558"/>
                  <a:gd name="connsiteX103" fmla="*/ 274165 w 1759274"/>
                  <a:gd name="connsiteY103" fmla="*/ 2945166 h 3892558"/>
                  <a:gd name="connsiteX104" fmla="*/ 276148 w 1759274"/>
                  <a:gd name="connsiteY104" fmla="*/ 2994086 h 3892558"/>
                  <a:gd name="connsiteX105" fmla="*/ 277801 w 1759274"/>
                  <a:gd name="connsiteY105" fmla="*/ 3066309 h 3892558"/>
                  <a:gd name="connsiteX106" fmla="*/ 277801 w 1759274"/>
                  <a:gd name="connsiteY106" fmla="*/ 3066309 h 3892558"/>
                  <a:gd name="connsiteX107" fmla="*/ 255820 w 1759274"/>
                  <a:gd name="connsiteY107" fmla="*/ 3077052 h 3892558"/>
                  <a:gd name="connsiteX108" fmla="*/ 188059 w 1759274"/>
                  <a:gd name="connsiteY108" fmla="*/ 2947150 h 3892558"/>
                  <a:gd name="connsiteX109" fmla="*/ 70221 w 1759274"/>
                  <a:gd name="connsiteY109" fmla="*/ 2534139 h 3892558"/>
                  <a:gd name="connsiteX110" fmla="*/ 63280 w 1759274"/>
                  <a:gd name="connsiteY110" fmla="*/ 2413327 h 3892558"/>
                  <a:gd name="connsiteX111" fmla="*/ 117323 w 1759274"/>
                  <a:gd name="connsiteY111" fmla="*/ 2288713 h 3892558"/>
                  <a:gd name="connsiteX112" fmla="*/ 288709 w 1759274"/>
                  <a:gd name="connsiteY112" fmla="*/ 2069730 h 3892558"/>
                  <a:gd name="connsiteX113" fmla="*/ 361923 w 1759274"/>
                  <a:gd name="connsiteY113" fmla="*/ 1998664 h 3892558"/>
                  <a:gd name="connsiteX114" fmla="*/ 373162 w 1759274"/>
                  <a:gd name="connsiteY114" fmla="*/ 1995689 h 3892558"/>
                  <a:gd name="connsiteX115" fmla="*/ 392168 w 1759274"/>
                  <a:gd name="connsiteY115" fmla="*/ 2028578 h 3892558"/>
                  <a:gd name="connsiteX116" fmla="*/ 464556 w 1759274"/>
                  <a:gd name="connsiteY116" fmla="*/ 2321271 h 3892558"/>
                  <a:gd name="connsiteX117" fmla="*/ 467531 w 1759274"/>
                  <a:gd name="connsiteY117" fmla="*/ 2340442 h 3892558"/>
                  <a:gd name="connsiteX118" fmla="*/ 1175218 w 1759274"/>
                  <a:gd name="connsiteY118" fmla="*/ 2733620 h 3892558"/>
                  <a:gd name="connsiteX119" fmla="*/ 1116547 w 1759274"/>
                  <a:gd name="connsiteY119" fmla="*/ 2774773 h 3892558"/>
                  <a:gd name="connsiteX120" fmla="*/ 899217 w 1759274"/>
                  <a:gd name="connsiteY120" fmla="*/ 2821875 h 3892558"/>
                  <a:gd name="connsiteX121" fmla="*/ 642222 w 1759274"/>
                  <a:gd name="connsiteY121" fmla="*/ 2772459 h 3892558"/>
                  <a:gd name="connsiteX122" fmla="*/ 578923 w 1759274"/>
                  <a:gd name="connsiteY122" fmla="*/ 2699575 h 3892558"/>
                  <a:gd name="connsiteX123" fmla="*/ 619910 w 1759274"/>
                  <a:gd name="connsiteY123" fmla="*/ 2582729 h 3892558"/>
                  <a:gd name="connsiteX124" fmla="*/ 630818 w 1759274"/>
                  <a:gd name="connsiteY124" fmla="*/ 2586530 h 3892558"/>
                  <a:gd name="connsiteX125" fmla="*/ 798898 w 1759274"/>
                  <a:gd name="connsiteY125" fmla="*/ 2622724 h 3892558"/>
                  <a:gd name="connsiteX126" fmla="*/ 1110102 w 1759274"/>
                  <a:gd name="connsiteY126" fmla="*/ 2596446 h 3892558"/>
                  <a:gd name="connsiteX127" fmla="*/ 1134892 w 1759274"/>
                  <a:gd name="connsiteY127" fmla="*/ 2589174 h 3892558"/>
                  <a:gd name="connsiteX128" fmla="*/ 1140677 w 1759274"/>
                  <a:gd name="connsiteY128" fmla="*/ 2607354 h 3892558"/>
                  <a:gd name="connsiteX129" fmla="*/ 1080023 w 1759274"/>
                  <a:gd name="connsiteY129" fmla="*/ 2629335 h 3892558"/>
                  <a:gd name="connsiteX130" fmla="*/ 1046473 w 1759274"/>
                  <a:gd name="connsiteY130" fmla="*/ 2642722 h 3892558"/>
                  <a:gd name="connsiteX131" fmla="*/ 1070106 w 1759274"/>
                  <a:gd name="connsiteY131" fmla="*/ 2684700 h 3892558"/>
                  <a:gd name="connsiteX132" fmla="*/ 1147453 w 1759274"/>
                  <a:gd name="connsiteY132" fmla="*/ 2656935 h 3892558"/>
                  <a:gd name="connsiteX133" fmla="*/ 1155882 w 1759274"/>
                  <a:gd name="connsiteY133" fmla="*/ 2654291 h 3892558"/>
                  <a:gd name="connsiteX134" fmla="*/ 1161996 w 1759274"/>
                  <a:gd name="connsiteY134" fmla="*/ 2669661 h 3892558"/>
                  <a:gd name="connsiteX135" fmla="*/ 1101508 w 1759274"/>
                  <a:gd name="connsiteY135" fmla="*/ 2696765 h 3892558"/>
                  <a:gd name="connsiteX136" fmla="*/ 938055 w 1759274"/>
                  <a:gd name="connsiteY136" fmla="*/ 2737752 h 3892558"/>
                  <a:gd name="connsiteX137" fmla="*/ 915248 w 1759274"/>
                  <a:gd name="connsiteY137" fmla="*/ 2744859 h 3892558"/>
                  <a:gd name="connsiteX138" fmla="*/ 906819 w 1759274"/>
                  <a:gd name="connsiteY138" fmla="*/ 2757419 h 3892558"/>
                  <a:gd name="connsiteX139" fmla="*/ 913099 w 1759274"/>
                  <a:gd name="connsiteY139" fmla="*/ 2780722 h 3892558"/>
                  <a:gd name="connsiteX140" fmla="*/ 937394 w 1759274"/>
                  <a:gd name="connsiteY140" fmla="*/ 2788655 h 3892558"/>
                  <a:gd name="connsiteX141" fmla="*/ 1073577 w 1759274"/>
                  <a:gd name="connsiteY141" fmla="*/ 2760394 h 3892558"/>
                  <a:gd name="connsiteX142" fmla="*/ 1149932 w 1759274"/>
                  <a:gd name="connsiteY142" fmla="*/ 2729489 h 3892558"/>
                  <a:gd name="connsiteX143" fmla="*/ 1174557 w 1759274"/>
                  <a:gd name="connsiteY143" fmla="*/ 2717259 h 3892558"/>
                  <a:gd name="connsiteX144" fmla="*/ 1175053 w 1759274"/>
                  <a:gd name="connsiteY144" fmla="*/ 2733620 h 3892558"/>
                  <a:gd name="connsiteX145" fmla="*/ 1175053 w 1759274"/>
                  <a:gd name="connsiteY145" fmla="*/ 2733620 h 3892558"/>
                  <a:gd name="connsiteX146" fmla="*/ 1210751 w 1759274"/>
                  <a:gd name="connsiteY146" fmla="*/ 2402419 h 3892558"/>
                  <a:gd name="connsiteX147" fmla="*/ 1182655 w 1759274"/>
                  <a:gd name="connsiteY147" fmla="*/ 2429689 h 3892558"/>
                  <a:gd name="connsiteX148" fmla="*/ 1102830 w 1759274"/>
                  <a:gd name="connsiteY148" fmla="*/ 2459933 h 3892558"/>
                  <a:gd name="connsiteX149" fmla="*/ 957557 w 1759274"/>
                  <a:gd name="connsiteY149" fmla="*/ 2484062 h 3892558"/>
                  <a:gd name="connsiteX150" fmla="*/ 936568 w 1759274"/>
                  <a:gd name="connsiteY150" fmla="*/ 2500589 h 3892558"/>
                  <a:gd name="connsiteX151" fmla="*/ 940369 w 1759274"/>
                  <a:gd name="connsiteY151" fmla="*/ 2524223 h 3892558"/>
                  <a:gd name="connsiteX152" fmla="*/ 978547 w 1759274"/>
                  <a:gd name="connsiteY152" fmla="*/ 2533478 h 3892558"/>
                  <a:gd name="connsiteX153" fmla="*/ 1159187 w 1759274"/>
                  <a:gd name="connsiteY153" fmla="*/ 2494309 h 3892558"/>
                  <a:gd name="connsiteX154" fmla="*/ 1175714 w 1759274"/>
                  <a:gd name="connsiteY154" fmla="*/ 2489351 h 3892558"/>
                  <a:gd name="connsiteX155" fmla="*/ 1170921 w 1759274"/>
                  <a:gd name="connsiteY155" fmla="*/ 2499763 h 3892558"/>
                  <a:gd name="connsiteX156" fmla="*/ 1170921 w 1759274"/>
                  <a:gd name="connsiteY156" fmla="*/ 2499763 h 3892558"/>
                  <a:gd name="connsiteX157" fmla="*/ 1144478 w 1759274"/>
                  <a:gd name="connsiteY157" fmla="*/ 2525215 h 3892558"/>
                  <a:gd name="connsiteX158" fmla="*/ 1056554 w 1759274"/>
                  <a:gd name="connsiteY158" fmla="*/ 2551162 h 3892558"/>
                  <a:gd name="connsiteX159" fmla="*/ 652964 w 1759274"/>
                  <a:gd name="connsiteY159" fmla="*/ 2533643 h 3892558"/>
                  <a:gd name="connsiteX160" fmla="*/ 597433 w 1759274"/>
                  <a:gd name="connsiteY160" fmla="*/ 2506374 h 3892558"/>
                  <a:gd name="connsiteX161" fmla="*/ 586526 w 1759274"/>
                  <a:gd name="connsiteY161" fmla="*/ 2494970 h 3892558"/>
                  <a:gd name="connsiteX162" fmla="*/ 577601 w 1759274"/>
                  <a:gd name="connsiteY162" fmla="*/ 2472163 h 3892558"/>
                  <a:gd name="connsiteX163" fmla="*/ 544712 w 1759274"/>
                  <a:gd name="connsiteY163" fmla="*/ 2382586 h 3892558"/>
                  <a:gd name="connsiteX164" fmla="*/ 563057 w 1759274"/>
                  <a:gd name="connsiteY164" fmla="*/ 2389693 h 3892558"/>
                  <a:gd name="connsiteX165" fmla="*/ 845173 w 1759274"/>
                  <a:gd name="connsiteY165" fmla="*/ 2453653 h 3892558"/>
                  <a:gd name="connsiteX166" fmla="*/ 1195547 w 1759274"/>
                  <a:gd name="connsiteY166" fmla="*/ 2397626 h 3892558"/>
                  <a:gd name="connsiteX167" fmla="*/ 1216370 w 1759274"/>
                  <a:gd name="connsiteY167" fmla="*/ 2387875 h 3892558"/>
                  <a:gd name="connsiteX168" fmla="*/ 1210751 w 1759274"/>
                  <a:gd name="connsiteY168" fmla="*/ 2402749 h 3892558"/>
                  <a:gd name="connsiteX169" fmla="*/ 1248433 w 1759274"/>
                  <a:gd name="connsiteY169" fmla="*/ 2286564 h 3892558"/>
                  <a:gd name="connsiteX170" fmla="*/ 1248433 w 1759274"/>
                  <a:gd name="connsiteY170" fmla="*/ 2286564 h 3892558"/>
                  <a:gd name="connsiteX171" fmla="*/ 1217031 w 1759274"/>
                  <a:gd name="connsiteY171" fmla="*/ 2317140 h 3892558"/>
                  <a:gd name="connsiteX172" fmla="*/ 1168773 w 1759274"/>
                  <a:gd name="connsiteY172" fmla="*/ 2346558 h 3892558"/>
                  <a:gd name="connsiteX173" fmla="*/ 892771 w 1759274"/>
                  <a:gd name="connsiteY173" fmla="*/ 2396800 h 3892558"/>
                  <a:gd name="connsiteX174" fmla="*/ 765348 w 1759274"/>
                  <a:gd name="connsiteY174" fmla="*/ 2387875 h 3892558"/>
                  <a:gd name="connsiteX175" fmla="*/ 613961 w 1759274"/>
                  <a:gd name="connsiteY175" fmla="*/ 2349532 h 3892558"/>
                  <a:gd name="connsiteX176" fmla="*/ 527028 w 1759274"/>
                  <a:gd name="connsiteY176" fmla="*/ 2292018 h 3892558"/>
                  <a:gd name="connsiteX177" fmla="*/ 510832 w 1759274"/>
                  <a:gd name="connsiteY177" fmla="*/ 2274996 h 3892558"/>
                  <a:gd name="connsiteX178" fmla="*/ 505708 w 1759274"/>
                  <a:gd name="connsiteY178" fmla="*/ 2258303 h 3892558"/>
                  <a:gd name="connsiteX179" fmla="*/ 477943 w 1759274"/>
                  <a:gd name="connsiteY179" fmla="*/ 2154018 h 3892558"/>
                  <a:gd name="connsiteX180" fmla="*/ 482901 w 1759274"/>
                  <a:gd name="connsiteY180" fmla="*/ 824419 h 3892558"/>
                  <a:gd name="connsiteX181" fmla="*/ 515129 w 1759274"/>
                  <a:gd name="connsiteY181" fmla="*/ 712200 h 3892558"/>
                  <a:gd name="connsiteX182" fmla="*/ 525045 w 1759274"/>
                  <a:gd name="connsiteY182" fmla="*/ 680468 h 3892558"/>
                  <a:gd name="connsiteX183" fmla="*/ 539589 w 1759274"/>
                  <a:gd name="connsiteY183" fmla="*/ 676502 h 3892558"/>
                  <a:gd name="connsiteX184" fmla="*/ 661228 w 1759274"/>
                  <a:gd name="connsiteY184" fmla="*/ 650720 h 3892558"/>
                  <a:gd name="connsiteX185" fmla="*/ 911777 w 1759274"/>
                  <a:gd name="connsiteY185" fmla="*/ 633531 h 3892558"/>
                  <a:gd name="connsiteX186" fmla="*/ 1212404 w 1759274"/>
                  <a:gd name="connsiteY186" fmla="*/ 672370 h 3892558"/>
                  <a:gd name="connsiteX187" fmla="*/ 1274546 w 1759274"/>
                  <a:gd name="connsiteY187" fmla="*/ 690219 h 3892558"/>
                  <a:gd name="connsiteX188" fmla="*/ 1286610 w 1759274"/>
                  <a:gd name="connsiteY188" fmla="*/ 729553 h 3892558"/>
                  <a:gd name="connsiteX189" fmla="*/ 1354041 w 1759274"/>
                  <a:gd name="connsiteY189" fmla="*/ 1047038 h 3892558"/>
                  <a:gd name="connsiteX190" fmla="*/ 1282148 w 1759274"/>
                  <a:gd name="connsiteY190" fmla="*/ 2182940 h 3892558"/>
                  <a:gd name="connsiteX191" fmla="*/ 1248763 w 1759274"/>
                  <a:gd name="connsiteY191" fmla="*/ 2286399 h 3892558"/>
                  <a:gd name="connsiteX192" fmla="*/ 1670533 w 1759274"/>
                  <a:gd name="connsiteY192" fmla="*/ 2618923 h 3892558"/>
                  <a:gd name="connsiteX193" fmla="*/ 1512700 w 1759274"/>
                  <a:gd name="connsiteY193" fmla="*/ 3058707 h 3892558"/>
                  <a:gd name="connsiteX194" fmla="*/ 1512700 w 1759274"/>
                  <a:gd name="connsiteY194" fmla="*/ 3058707 h 3892558"/>
                  <a:gd name="connsiteX195" fmla="*/ 1476340 w 1759274"/>
                  <a:gd name="connsiteY195" fmla="*/ 3093414 h 3892558"/>
                  <a:gd name="connsiteX196" fmla="*/ 1466094 w 1759274"/>
                  <a:gd name="connsiteY196" fmla="*/ 3083498 h 3892558"/>
                  <a:gd name="connsiteX197" fmla="*/ 1471878 w 1759274"/>
                  <a:gd name="connsiteY197" fmla="*/ 2974915 h 3892558"/>
                  <a:gd name="connsiteX198" fmla="*/ 1475680 w 1759274"/>
                  <a:gd name="connsiteY198" fmla="*/ 2913104 h 3892558"/>
                  <a:gd name="connsiteX199" fmla="*/ 1479315 w 1759274"/>
                  <a:gd name="connsiteY199" fmla="*/ 2852450 h 3892558"/>
                  <a:gd name="connsiteX200" fmla="*/ 1483943 w 1759274"/>
                  <a:gd name="connsiteY200" fmla="*/ 2778409 h 3892558"/>
                  <a:gd name="connsiteX201" fmla="*/ 1489397 w 1759274"/>
                  <a:gd name="connsiteY201" fmla="*/ 2688998 h 3892558"/>
                  <a:gd name="connsiteX202" fmla="*/ 1492702 w 1759274"/>
                  <a:gd name="connsiteY202" fmla="*/ 2634954 h 3892558"/>
                  <a:gd name="connsiteX203" fmla="*/ 1487909 w 1759274"/>
                  <a:gd name="connsiteY203" fmla="*/ 2570664 h 3892558"/>
                  <a:gd name="connsiteX204" fmla="*/ 1443617 w 1759274"/>
                  <a:gd name="connsiteY204" fmla="*/ 2482244 h 3892558"/>
                  <a:gd name="connsiteX205" fmla="*/ 1347925 w 1759274"/>
                  <a:gd name="connsiteY205" fmla="*/ 2396139 h 3892558"/>
                  <a:gd name="connsiteX206" fmla="*/ 1294543 w 1759274"/>
                  <a:gd name="connsiteY206" fmla="*/ 2351350 h 3892558"/>
                  <a:gd name="connsiteX207" fmla="*/ 1311236 w 1759274"/>
                  <a:gd name="connsiteY207" fmla="*/ 2286564 h 3892558"/>
                  <a:gd name="connsiteX208" fmla="*/ 1370072 w 1759274"/>
                  <a:gd name="connsiteY208" fmla="*/ 2066920 h 3892558"/>
                  <a:gd name="connsiteX209" fmla="*/ 1382632 w 1759274"/>
                  <a:gd name="connsiteY209" fmla="*/ 2016017 h 3892558"/>
                  <a:gd name="connsiteX210" fmla="*/ 1395854 w 1759274"/>
                  <a:gd name="connsiteY210" fmla="*/ 2008084 h 3892558"/>
                  <a:gd name="connsiteX211" fmla="*/ 1458822 w 1759274"/>
                  <a:gd name="connsiteY211" fmla="*/ 2062954 h 3892558"/>
                  <a:gd name="connsiteX212" fmla="*/ 1590707 w 1759274"/>
                  <a:gd name="connsiteY212" fmla="*/ 2225249 h 3892558"/>
                  <a:gd name="connsiteX213" fmla="*/ 1667723 w 1759274"/>
                  <a:gd name="connsiteY213" fmla="*/ 2350689 h 3892558"/>
                  <a:gd name="connsiteX214" fmla="*/ 1670533 w 1759274"/>
                  <a:gd name="connsiteY214" fmla="*/ 2619088 h 3892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</a:cxnLst>
                <a:rect l="l" t="t" r="r" b="b"/>
                <a:pathLst>
                  <a:path w="1759274" h="3892558">
                    <a:moveTo>
                      <a:pt x="1757135" y="2427871"/>
                    </a:moveTo>
                    <a:cubicBezTo>
                      <a:pt x="1752672" y="2385231"/>
                      <a:pt x="1740112" y="2353334"/>
                      <a:pt x="1702430" y="2290861"/>
                    </a:cubicBezTo>
                    <a:cubicBezTo>
                      <a:pt x="1655989" y="2213515"/>
                      <a:pt x="1599632" y="2136334"/>
                      <a:pt x="1533854" y="2059648"/>
                    </a:cubicBezTo>
                    <a:cubicBezTo>
                      <a:pt x="1504436" y="2025437"/>
                      <a:pt x="1450558" y="1970402"/>
                      <a:pt x="1429239" y="1952884"/>
                    </a:cubicBezTo>
                    <a:cubicBezTo>
                      <a:pt x="1412050" y="1938670"/>
                      <a:pt x="1405440" y="1931068"/>
                      <a:pt x="1402795" y="1921978"/>
                    </a:cubicBezTo>
                    <a:cubicBezTo>
                      <a:pt x="1400647" y="1914376"/>
                      <a:pt x="1400977" y="1908591"/>
                      <a:pt x="1406596" y="1872397"/>
                    </a:cubicBezTo>
                    <a:cubicBezTo>
                      <a:pt x="1431718" y="1709771"/>
                      <a:pt x="1443121" y="1523677"/>
                      <a:pt x="1437998" y="1357250"/>
                    </a:cubicBezTo>
                    <a:cubicBezTo>
                      <a:pt x="1422793" y="865075"/>
                      <a:pt x="1286941" y="423638"/>
                      <a:pt x="1053083" y="106485"/>
                    </a:cubicBezTo>
                    <a:cubicBezTo>
                      <a:pt x="1009617" y="47483"/>
                      <a:pt x="988132" y="26990"/>
                      <a:pt x="952599" y="10793"/>
                    </a:cubicBezTo>
                    <a:cubicBezTo>
                      <a:pt x="917397" y="-5403"/>
                      <a:pt x="884838" y="-3420"/>
                      <a:pt x="847653" y="17073"/>
                    </a:cubicBezTo>
                    <a:cubicBezTo>
                      <a:pt x="821044" y="31782"/>
                      <a:pt x="803360" y="48475"/>
                      <a:pt x="769976" y="90619"/>
                    </a:cubicBezTo>
                    <a:cubicBezTo>
                      <a:pt x="677424" y="207630"/>
                      <a:pt x="600243" y="339681"/>
                      <a:pt x="535127" y="492225"/>
                    </a:cubicBezTo>
                    <a:cubicBezTo>
                      <a:pt x="417785" y="767070"/>
                      <a:pt x="352338" y="1084223"/>
                      <a:pt x="343248" y="1422036"/>
                    </a:cubicBezTo>
                    <a:cubicBezTo>
                      <a:pt x="341926" y="1472113"/>
                      <a:pt x="342256" y="1555739"/>
                      <a:pt x="343909" y="1593256"/>
                    </a:cubicBezTo>
                    <a:cubicBezTo>
                      <a:pt x="344239" y="1600362"/>
                      <a:pt x="345066" y="1618377"/>
                      <a:pt x="345562" y="1633416"/>
                    </a:cubicBezTo>
                    <a:cubicBezTo>
                      <a:pt x="348206" y="1694897"/>
                      <a:pt x="355808" y="1782160"/>
                      <a:pt x="365394" y="1859671"/>
                    </a:cubicBezTo>
                    <a:cubicBezTo>
                      <a:pt x="370683" y="1902146"/>
                      <a:pt x="370683" y="1902311"/>
                      <a:pt x="367543" y="1911731"/>
                    </a:cubicBezTo>
                    <a:cubicBezTo>
                      <a:pt x="364898" y="1919665"/>
                      <a:pt x="357131" y="1927432"/>
                      <a:pt x="329696" y="1950074"/>
                    </a:cubicBezTo>
                    <a:cubicBezTo>
                      <a:pt x="262100" y="2005440"/>
                      <a:pt x="150212" y="2135507"/>
                      <a:pt x="81294" y="2238967"/>
                    </a:cubicBezTo>
                    <a:cubicBezTo>
                      <a:pt x="34854" y="2308545"/>
                      <a:pt x="14691" y="2347880"/>
                      <a:pt x="6592" y="2383743"/>
                    </a:cubicBezTo>
                    <a:cubicBezTo>
                      <a:pt x="-680" y="2416302"/>
                      <a:pt x="-2002" y="2452991"/>
                      <a:pt x="2956" y="2486376"/>
                    </a:cubicBezTo>
                    <a:cubicBezTo>
                      <a:pt x="6427" y="2509679"/>
                      <a:pt x="19483" y="2574630"/>
                      <a:pt x="28904" y="2615452"/>
                    </a:cubicBezTo>
                    <a:cubicBezTo>
                      <a:pt x="74684" y="2813776"/>
                      <a:pt x="140461" y="3006812"/>
                      <a:pt x="189051" y="3085150"/>
                    </a:cubicBezTo>
                    <a:cubicBezTo>
                      <a:pt x="207891" y="3115560"/>
                      <a:pt x="219791" y="3127129"/>
                      <a:pt x="239789" y="3134401"/>
                    </a:cubicBezTo>
                    <a:cubicBezTo>
                      <a:pt x="267554" y="3144647"/>
                      <a:pt x="295154" y="3138367"/>
                      <a:pt x="314821" y="3117378"/>
                    </a:cubicBezTo>
                    <a:cubicBezTo>
                      <a:pt x="327382" y="3103991"/>
                      <a:pt x="333166" y="3090108"/>
                      <a:pt x="335315" y="3067962"/>
                    </a:cubicBezTo>
                    <a:cubicBezTo>
                      <a:pt x="336141" y="3060690"/>
                      <a:pt x="333993" y="2993590"/>
                      <a:pt x="331018" y="2928639"/>
                    </a:cubicBezTo>
                    <a:cubicBezTo>
                      <a:pt x="330522" y="2918558"/>
                      <a:pt x="329200" y="2884677"/>
                      <a:pt x="328043" y="2853276"/>
                    </a:cubicBezTo>
                    <a:cubicBezTo>
                      <a:pt x="326886" y="2822040"/>
                      <a:pt x="325564" y="2784524"/>
                      <a:pt x="324903" y="2770145"/>
                    </a:cubicBezTo>
                    <a:cubicBezTo>
                      <a:pt x="320275" y="2651151"/>
                      <a:pt x="320275" y="2640408"/>
                      <a:pt x="323911" y="2601735"/>
                    </a:cubicBezTo>
                    <a:cubicBezTo>
                      <a:pt x="328869" y="2551162"/>
                      <a:pt x="334488" y="2534966"/>
                      <a:pt x="356635" y="2508192"/>
                    </a:cubicBezTo>
                    <a:cubicBezTo>
                      <a:pt x="368699" y="2493648"/>
                      <a:pt x="377293" y="2485880"/>
                      <a:pt x="414314" y="2456462"/>
                    </a:cubicBezTo>
                    <a:cubicBezTo>
                      <a:pt x="432659" y="2441918"/>
                      <a:pt x="456623" y="2422747"/>
                      <a:pt x="467696" y="2413988"/>
                    </a:cubicBezTo>
                    <a:cubicBezTo>
                      <a:pt x="478604" y="2405228"/>
                      <a:pt x="487859" y="2398122"/>
                      <a:pt x="488520" y="2398122"/>
                    </a:cubicBezTo>
                    <a:cubicBezTo>
                      <a:pt x="489016" y="2398122"/>
                      <a:pt x="491330" y="2403741"/>
                      <a:pt x="493644" y="2410517"/>
                    </a:cubicBezTo>
                    <a:cubicBezTo>
                      <a:pt x="500254" y="2429854"/>
                      <a:pt x="516947" y="2474311"/>
                      <a:pt x="527028" y="2500094"/>
                    </a:cubicBezTo>
                    <a:cubicBezTo>
                      <a:pt x="537936" y="2527859"/>
                      <a:pt x="544051" y="2537775"/>
                      <a:pt x="557438" y="2550005"/>
                    </a:cubicBezTo>
                    <a:lnTo>
                      <a:pt x="567024" y="2558765"/>
                    </a:lnTo>
                    <a:lnTo>
                      <a:pt x="541737" y="2630161"/>
                    </a:lnTo>
                    <a:cubicBezTo>
                      <a:pt x="515129" y="2705359"/>
                      <a:pt x="511328" y="2719407"/>
                      <a:pt x="513311" y="2736761"/>
                    </a:cubicBezTo>
                    <a:cubicBezTo>
                      <a:pt x="515625" y="2756593"/>
                      <a:pt x="529507" y="2775599"/>
                      <a:pt x="553141" y="2791300"/>
                    </a:cubicBezTo>
                    <a:cubicBezTo>
                      <a:pt x="559586" y="2795597"/>
                      <a:pt x="565040" y="2799233"/>
                      <a:pt x="564875" y="2799729"/>
                    </a:cubicBezTo>
                    <a:cubicBezTo>
                      <a:pt x="564875" y="2800059"/>
                      <a:pt x="561074" y="2807331"/>
                      <a:pt x="556612" y="2815925"/>
                    </a:cubicBezTo>
                    <a:cubicBezTo>
                      <a:pt x="536284" y="2854598"/>
                      <a:pt x="517608" y="2917236"/>
                      <a:pt x="512154" y="2964999"/>
                    </a:cubicBezTo>
                    <a:cubicBezTo>
                      <a:pt x="509344" y="2989789"/>
                      <a:pt x="508518" y="3049782"/>
                      <a:pt x="510832" y="3075895"/>
                    </a:cubicBezTo>
                    <a:cubicBezTo>
                      <a:pt x="515294" y="3128451"/>
                      <a:pt x="532813" y="3202823"/>
                      <a:pt x="553967" y="3258519"/>
                    </a:cubicBezTo>
                    <a:cubicBezTo>
                      <a:pt x="570825" y="3302976"/>
                      <a:pt x="605532" y="3372555"/>
                      <a:pt x="658583" y="3467751"/>
                    </a:cubicBezTo>
                    <a:cubicBezTo>
                      <a:pt x="673953" y="3495351"/>
                      <a:pt x="692464" y="3529727"/>
                      <a:pt x="699736" y="3543940"/>
                    </a:cubicBezTo>
                    <a:cubicBezTo>
                      <a:pt x="747333" y="3637318"/>
                      <a:pt x="790304" y="3742926"/>
                      <a:pt x="820383" y="3840270"/>
                    </a:cubicBezTo>
                    <a:cubicBezTo>
                      <a:pt x="830795" y="3874150"/>
                      <a:pt x="834927" y="3882083"/>
                      <a:pt x="845504" y="3888198"/>
                    </a:cubicBezTo>
                    <a:cubicBezTo>
                      <a:pt x="853933" y="3893157"/>
                      <a:pt x="867650" y="3893983"/>
                      <a:pt x="876740" y="3890182"/>
                    </a:cubicBezTo>
                    <a:lnTo>
                      <a:pt x="876740" y="3890182"/>
                    </a:lnTo>
                    <a:cubicBezTo>
                      <a:pt x="888970" y="3885058"/>
                      <a:pt x="894754" y="3875142"/>
                      <a:pt x="906324" y="3839278"/>
                    </a:cubicBezTo>
                    <a:cubicBezTo>
                      <a:pt x="928966" y="3769369"/>
                      <a:pt x="967474" y="3676652"/>
                      <a:pt x="1004329" y="3603272"/>
                    </a:cubicBezTo>
                    <a:cubicBezTo>
                      <a:pt x="1026805" y="3558319"/>
                      <a:pt x="1043002" y="3528736"/>
                      <a:pt x="1071098" y="3480973"/>
                    </a:cubicBezTo>
                    <a:cubicBezTo>
                      <a:pt x="1156708" y="3335204"/>
                      <a:pt x="1182325" y="3283640"/>
                      <a:pt x="1204802" y="3211251"/>
                    </a:cubicBezTo>
                    <a:cubicBezTo>
                      <a:pt x="1228766" y="3134401"/>
                      <a:pt x="1236533" y="3083993"/>
                      <a:pt x="1235707" y="3013423"/>
                    </a:cubicBezTo>
                    <a:cubicBezTo>
                      <a:pt x="1235046" y="2965329"/>
                      <a:pt x="1230419" y="2933102"/>
                      <a:pt x="1217031" y="2886330"/>
                    </a:cubicBezTo>
                    <a:cubicBezTo>
                      <a:pt x="1210421" y="2863192"/>
                      <a:pt x="1202818" y="2843194"/>
                      <a:pt x="1193233" y="2823693"/>
                    </a:cubicBezTo>
                    <a:cubicBezTo>
                      <a:pt x="1189101" y="2815594"/>
                      <a:pt x="1185795" y="2808157"/>
                      <a:pt x="1185795" y="2807331"/>
                    </a:cubicBezTo>
                    <a:cubicBezTo>
                      <a:pt x="1185795" y="2806505"/>
                      <a:pt x="1191249" y="2802373"/>
                      <a:pt x="1198025" y="2798241"/>
                    </a:cubicBezTo>
                    <a:cubicBezTo>
                      <a:pt x="1212735" y="2789151"/>
                      <a:pt x="1220337" y="2782210"/>
                      <a:pt x="1228435" y="2770476"/>
                    </a:cubicBezTo>
                    <a:cubicBezTo>
                      <a:pt x="1238517" y="2755767"/>
                      <a:pt x="1240996" y="2741058"/>
                      <a:pt x="1237029" y="2718911"/>
                    </a:cubicBezTo>
                    <a:cubicBezTo>
                      <a:pt x="1235872" y="2712300"/>
                      <a:pt x="1224634" y="2675445"/>
                      <a:pt x="1212074" y="2636772"/>
                    </a:cubicBezTo>
                    <a:lnTo>
                      <a:pt x="1189266" y="2566532"/>
                    </a:lnTo>
                    <a:lnTo>
                      <a:pt x="1197034" y="2559591"/>
                    </a:lnTo>
                    <a:cubicBezTo>
                      <a:pt x="1207281" y="2550666"/>
                      <a:pt x="1216701" y="2538106"/>
                      <a:pt x="1222320" y="2526206"/>
                    </a:cubicBezTo>
                    <a:cubicBezTo>
                      <a:pt x="1229096" y="2511828"/>
                      <a:pt x="1249425" y="2461916"/>
                      <a:pt x="1260498" y="2432994"/>
                    </a:cubicBezTo>
                    <a:cubicBezTo>
                      <a:pt x="1265786" y="2418946"/>
                      <a:pt x="1270579" y="2407377"/>
                      <a:pt x="1271240" y="2407377"/>
                    </a:cubicBezTo>
                    <a:cubicBezTo>
                      <a:pt x="1271736" y="2407377"/>
                      <a:pt x="1294213" y="2425557"/>
                      <a:pt x="1321152" y="2447868"/>
                    </a:cubicBezTo>
                    <a:cubicBezTo>
                      <a:pt x="1415852" y="2526206"/>
                      <a:pt x="1425272" y="2540254"/>
                      <a:pt x="1430561" y="2611320"/>
                    </a:cubicBezTo>
                    <a:cubicBezTo>
                      <a:pt x="1433866" y="2654787"/>
                      <a:pt x="1433370" y="2668339"/>
                      <a:pt x="1421801" y="2850797"/>
                    </a:cubicBezTo>
                    <a:cubicBezTo>
                      <a:pt x="1420644" y="2868977"/>
                      <a:pt x="1417669" y="2916244"/>
                      <a:pt x="1415356" y="2955744"/>
                    </a:cubicBezTo>
                    <a:cubicBezTo>
                      <a:pt x="1413042" y="2995243"/>
                      <a:pt x="1410232" y="3037883"/>
                      <a:pt x="1409406" y="3050443"/>
                    </a:cubicBezTo>
                    <a:cubicBezTo>
                      <a:pt x="1406596" y="3092422"/>
                      <a:pt x="1411555" y="3112585"/>
                      <a:pt x="1429569" y="3131426"/>
                    </a:cubicBezTo>
                    <a:cubicBezTo>
                      <a:pt x="1448410" y="3151258"/>
                      <a:pt x="1473200" y="3157869"/>
                      <a:pt x="1499644" y="3149936"/>
                    </a:cubicBezTo>
                    <a:cubicBezTo>
                      <a:pt x="1522451" y="3143160"/>
                      <a:pt x="1534185" y="3132583"/>
                      <a:pt x="1555174" y="3100520"/>
                    </a:cubicBezTo>
                    <a:cubicBezTo>
                      <a:pt x="1610870" y="3014910"/>
                      <a:pt x="1689870" y="2791630"/>
                      <a:pt x="1739285" y="2580250"/>
                    </a:cubicBezTo>
                    <a:cubicBezTo>
                      <a:pt x="1758953" y="2496292"/>
                      <a:pt x="1761927" y="2471171"/>
                      <a:pt x="1757465" y="2427871"/>
                    </a:cubicBezTo>
                    <a:close/>
                    <a:moveTo>
                      <a:pt x="607515" y="469418"/>
                    </a:moveTo>
                    <a:cubicBezTo>
                      <a:pt x="662550" y="350258"/>
                      <a:pt x="724526" y="244816"/>
                      <a:pt x="793940" y="153091"/>
                    </a:cubicBezTo>
                    <a:cubicBezTo>
                      <a:pt x="834100" y="99874"/>
                      <a:pt x="862196" y="73761"/>
                      <a:pt x="889962" y="64341"/>
                    </a:cubicBezTo>
                    <a:cubicBezTo>
                      <a:pt x="906819" y="58556"/>
                      <a:pt x="920867" y="61035"/>
                      <a:pt x="942352" y="73761"/>
                    </a:cubicBezTo>
                    <a:cubicBezTo>
                      <a:pt x="951773" y="79546"/>
                      <a:pt x="955078" y="82190"/>
                      <a:pt x="975241" y="103510"/>
                    </a:cubicBezTo>
                    <a:cubicBezTo>
                      <a:pt x="998710" y="128466"/>
                      <a:pt x="1007634" y="140034"/>
                      <a:pt x="1041515" y="189781"/>
                    </a:cubicBezTo>
                    <a:cubicBezTo>
                      <a:pt x="1097211" y="271590"/>
                      <a:pt x="1151089" y="370586"/>
                      <a:pt x="1193894" y="469583"/>
                    </a:cubicBezTo>
                    <a:lnTo>
                      <a:pt x="1193894" y="469583"/>
                    </a:lnTo>
                    <a:cubicBezTo>
                      <a:pt x="1200009" y="483797"/>
                      <a:pt x="1204967" y="496192"/>
                      <a:pt x="1204967" y="497183"/>
                    </a:cubicBezTo>
                    <a:cubicBezTo>
                      <a:pt x="1204967" y="498175"/>
                      <a:pt x="1199017" y="497514"/>
                      <a:pt x="1191580" y="495696"/>
                    </a:cubicBezTo>
                    <a:cubicBezTo>
                      <a:pt x="1142495" y="483136"/>
                      <a:pt x="1077048" y="472723"/>
                      <a:pt x="1018211" y="468096"/>
                    </a:cubicBezTo>
                    <a:cubicBezTo>
                      <a:pt x="986975" y="465617"/>
                      <a:pt x="902357" y="461485"/>
                      <a:pt x="897234" y="462146"/>
                    </a:cubicBezTo>
                    <a:cubicBezTo>
                      <a:pt x="895250" y="462477"/>
                      <a:pt x="880376" y="462807"/>
                      <a:pt x="864180" y="462807"/>
                    </a:cubicBezTo>
                    <a:cubicBezTo>
                      <a:pt x="831952" y="463138"/>
                      <a:pt x="778404" y="465452"/>
                      <a:pt x="747829" y="467931"/>
                    </a:cubicBezTo>
                    <a:cubicBezTo>
                      <a:pt x="713288" y="470740"/>
                      <a:pt x="649824" y="480491"/>
                      <a:pt x="613961" y="488589"/>
                    </a:cubicBezTo>
                    <a:cubicBezTo>
                      <a:pt x="605697" y="490407"/>
                      <a:pt x="598921" y="491234"/>
                      <a:pt x="598921" y="490242"/>
                    </a:cubicBezTo>
                    <a:cubicBezTo>
                      <a:pt x="598921" y="489251"/>
                      <a:pt x="602887" y="479995"/>
                      <a:pt x="607680" y="469749"/>
                    </a:cubicBezTo>
                    <a:close/>
                    <a:moveTo>
                      <a:pt x="467366" y="2340608"/>
                    </a:moveTo>
                    <a:cubicBezTo>
                      <a:pt x="466044" y="2341930"/>
                      <a:pt x="444228" y="2359449"/>
                      <a:pt x="418776" y="2379612"/>
                    </a:cubicBezTo>
                    <a:cubicBezTo>
                      <a:pt x="343744" y="2439274"/>
                      <a:pt x="336141" y="2445720"/>
                      <a:pt x="316639" y="2466874"/>
                    </a:cubicBezTo>
                    <a:cubicBezTo>
                      <a:pt x="283420" y="2502738"/>
                      <a:pt x="270859" y="2529181"/>
                      <a:pt x="264910" y="2575126"/>
                    </a:cubicBezTo>
                    <a:cubicBezTo>
                      <a:pt x="261770" y="2600082"/>
                      <a:pt x="261439" y="2613138"/>
                      <a:pt x="263092" y="2654291"/>
                    </a:cubicBezTo>
                    <a:cubicBezTo>
                      <a:pt x="265901" y="2723208"/>
                      <a:pt x="267223" y="2759568"/>
                      <a:pt x="268215" y="2787829"/>
                    </a:cubicBezTo>
                    <a:cubicBezTo>
                      <a:pt x="268711" y="2802869"/>
                      <a:pt x="269703" y="2828485"/>
                      <a:pt x="270364" y="2844847"/>
                    </a:cubicBezTo>
                    <a:cubicBezTo>
                      <a:pt x="271686" y="2877901"/>
                      <a:pt x="272512" y="2898064"/>
                      <a:pt x="274165" y="2945166"/>
                    </a:cubicBezTo>
                    <a:cubicBezTo>
                      <a:pt x="274826" y="2962685"/>
                      <a:pt x="275652" y="2984666"/>
                      <a:pt x="276148" y="2994086"/>
                    </a:cubicBezTo>
                    <a:cubicBezTo>
                      <a:pt x="277635" y="3025488"/>
                      <a:pt x="278462" y="3060360"/>
                      <a:pt x="277801" y="3066309"/>
                    </a:cubicBezTo>
                    <a:lnTo>
                      <a:pt x="277801" y="3066309"/>
                    </a:lnTo>
                    <a:cubicBezTo>
                      <a:pt x="276644" y="3077217"/>
                      <a:pt x="265075" y="3082836"/>
                      <a:pt x="255820" y="3077052"/>
                    </a:cubicBezTo>
                    <a:cubicBezTo>
                      <a:pt x="242763" y="3068788"/>
                      <a:pt x="213511" y="3012927"/>
                      <a:pt x="188059" y="2947150"/>
                    </a:cubicBezTo>
                    <a:cubicBezTo>
                      <a:pt x="143271" y="2831956"/>
                      <a:pt x="96004" y="2666190"/>
                      <a:pt x="70221" y="2534139"/>
                    </a:cubicBezTo>
                    <a:cubicBezTo>
                      <a:pt x="60966" y="2486376"/>
                      <a:pt x="58322" y="2440762"/>
                      <a:pt x="63280" y="2413327"/>
                    </a:cubicBezTo>
                    <a:cubicBezTo>
                      <a:pt x="69230" y="2381099"/>
                      <a:pt x="91541" y="2329535"/>
                      <a:pt x="117323" y="2288713"/>
                    </a:cubicBezTo>
                    <a:cubicBezTo>
                      <a:pt x="157484" y="2225084"/>
                      <a:pt x="227559" y="2135507"/>
                      <a:pt x="288709" y="2069730"/>
                    </a:cubicBezTo>
                    <a:cubicBezTo>
                      <a:pt x="311351" y="2045435"/>
                      <a:pt x="355313" y="2002795"/>
                      <a:pt x="361923" y="1998664"/>
                    </a:cubicBezTo>
                    <a:cubicBezTo>
                      <a:pt x="364568" y="1997011"/>
                      <a:pt x="369526" y="1995689"/>
                      <a:pt x="373162" y="1995689"/>
                    </a:cubicBezTo>
                    <a:cubicBezTo>
                      <a:pt x="383904" y="1995689"/>
                      <a:pt x="387706" y="2002134"/>
                      <a:pt x="392168" y="2028578"/>
                    </a:cubicBezTo>
                    <a:cubicBezTo>
                      <a:pt x="404728" y="2101627"/>
                      <a:pt x="439435" y="2241611"/>
                      <a:pt x="464556" y="2321271"/>
                    </a:cubicBezTo>
                    <a:cubicBezTo>
                      <a:pt x="469018" y="2335154"/>
                      <a:pt x="469514" y="2338624"/>
                      <a:pt x="467531" y="2340442"/>
                    </a:cubicBezTo>
                    <a:close/>
                    <a:moveTo>
                      <a:pt x="1175218" y="2733620"/>
                    </a:moveTo>
                    <a:cubicBezTo>
                      <a:pt x="1170756" y="2749156"/>
                      <a:pt x="1157039" y="2758741"/>
                      <a:pt x="1116547" y="2774773"/>
                    </a:cubicBezTo>
                    <a:cubicBezTo>
                      <a:pt x="1048125" y="2801877"/>
                      <a:pt x="971936" y="2818404"/>
                      <a:pt x="899217" y="2821875"/>
                    </a:cubicBezTo>
                    <a:cubicBezTo>
                      <a:pt x="824349" y="2825511"/>
                      <a:pt x="722047" y="2805843"/>
                      <a:pt x="642222" y="2772459"/>
                    </a:cubicBezTo>
                    <a:cubicBezTo>
                      <a:pt x="579254" y="2746181"/>
                      <a:pt x="569503" y="2734943"/>
                      <a:pt x="578923" y="2699575"/>
                    </a:cubicBezTo>
                    <a:cubicBezTo>
                      <a:pt x="582559" y="2686353"/>
                      <a:pt x="618919" y="2582729"/>
                      <a:pt x="619910" y="2582729"/>
                    </a:cubicBezTo>
                    <a:cubicBezTo>
                      <a:pt x="620241" y="2582729"/>
                      <a:pt x="625199" y="2584381"/>
                      <a:pt x="630818" y="2586530"/>
                    </a:cubicBezTo>
                    <a:cubicBezTo>
                      <a:pt x="671474" y="2601239"/>
                      <a:pt x="737748" y="2615452"/>
                      <a:pt x="798898" y="2622724"/>
                    </a:cubicBezTo>
                    <a:cubicBezTo>
                      <a:pt x="897895" y="2634293"/>
                      <a:pt x="1014906" y="2624377"/>
                      <a:pt x="1110102" y="2596446"/>
                    </a:cubicBezTo>
                    <a:cubicBezTo>
                      <a:pt x="1122993" y="2592645"/>
                      <a:pt x="1134231" y="2589339"/>
                      <a:pt x="1134892" y="2589174"/>
                    </a:cubicBezTo>
                    <a:cubicBezTo>
                      <a:pt x="1136380" y="2588844"/>
                      <a:pt x="1141999" y="2606032"/>
                      <a:pt x="1140677" y="2607354"/>
                    </a:cubicBezTo>
                    <a:cubicBezTo>
                      <a:pt x="1137702" y="2610164"/>
                      <a:pt x="1104482" y="2622228"/>
                      <a:pt x="1080023" y="2629335"/>
                    </a:cubicBezTo>
                    <a:cubicBezTo>
                      <a:pt x="1055728" y="2636441"/>
                      <a:pt x="1051265" y="2638259"/>
                      <a:pt x="1046473" y="2642722"/>
                    </a:cubicBezTo>
                    <a:cubicBezTo>
                      <a:pt x="1028128" y="2660075"/>
                      <a:pt x="1044324" y="2688832"/>
                      <a:pt x="1070106" y="2684700"/>
                    </a:cubicBezTo>
                    <a:cubicBezTo>
                      <a:pt x="1086303" y="2682221"/>
                      <a:pt x="1129438" y="2666686"/>
                      <a:pt x="1147453" y="2656935"/>
                    </a:cubicBezTo>
                    <a:cubicBezTo>
                      <a:pt x="1151089" y="2654952"/>
                      <a:pt x="1154890" y="2653795"/>
                      <a:pt x="1155882" y="2654291"/>
                    </a:cubicBezTo>
                    <a:cubicBezTo>
                      <a:pt x="1157204" y="2654952"/>
                      <a:pt x="1161831" y="2666355"/>
                      <a:pt x="1161996" y="2669661"/>
                    </a:cubicBezTo>
                    <a:cubicBezTo>
                      <a:pt x="1161996" y="2670487"/>
                      <a:pt x="1120183" y="2689163"/>
                      <a:pt x="1101508" y="2696765"/>
                    </a:cubicBezTo>
                    <a:cubicBezTo>
                      <a:pt x="1058207" y="2714449"/>
                      <a:pt x="991603" y="2731141"/>
                      <a:pt x="938055" y="2737752"/>
                    </a:cubicBezTo>
                    <a:cubicBezTo>
                      <a:pt x="923677" y="2739570"/>
                      <a:pt x="920867" y="2740397"/>
                      <a:pt x="915248" y="2744859"/>
                    </a:cubicBezTo>
                    <a:cubicBezTo>
                      <a:pt x="909959" y="2748990"/>
                      <a:pt x="908637" y="2751139"/>
                      <a:pt x="906819" y="2757419"/>
                    </a:cubicBezTo>
                    <a:cubicBezTo>
                      <a:pt x="904340" y="2766179"/>
                      <a:pt x="906324" y="2773616"/>
                      <a:pt x="913099" y="2780722"/>
                    </a:cubicBezTo>
                    <a:cubicBezTo>
                      <a:pt x="919380" y="2787333"/>
                      <a:pt x="924669" y="2788986"/>
                      <a:pt x="937394" y="2788655"/>
                    </a:cubicBezTo>
                    <a:cubicBezTo>
                      <a:pt x="961358" y="2787994"/>
                      <a:pt x="1032425" y="2773285"/>
                      <a:pt x="1073577" y="2760394"/>
                    </a:cubicBezTo>
                    <a:cubicBezTo>
                      <a:pt x="1107788" y="2749652"/>
                      <a:pt x="1122001" y="2744032"/>
                      <a:pt x="1149932" y="2729489"/>
                    </a:cubicBezTo>
                    <a:cubicBezTo>
                      <a:pt x="1162823" y="2722713"/>
                      <a:pt x="1173896" y="2717259"/>
                      <a:pt x="1174557" y="2717259"/>
                    </a:cubicBezTo>
                    <a:cubicBezTo>
                      <a:pt x="1176871" y="2717259"/>
                      <a:pt x="1177202" y="2726349"/>
                      <a:pt x="1175053" y="2733620"/>
                    </a:cubicBezTo>
                    <a:lnTo>
                      <a:pt x="1175053" y="2733620"/>
                    </a:lnTo>
                    <a:close/>
                    <a:moveTo>
                      <a:pt x="1210751" y="2402419"/>
                    </a:moveTo>
                    <a:cubicBezTo>
                      <a:pt x="1204471" y="2419442"/>
                      <a:pt x="1204802" y="2419111"/>
                      <a:pt x="1182655" y="2429689"/>
                    </a:cubicBezTo>
                    <a:cubicBezTo>
                      <a:pt x="1167616" y="2436960"/>
                      <a:pt x="1123489" y="2453653"/>
                      <a:pt x="1102830" y="2459933"/>
                    </a:cubicBezTo>
                    <a:cubicBezTo>
                      <a:pt x="1064652" y="2471502"/>
                      <a:pt x="1015567" y="2479600"/>
                      <a:pt x="957557" y="2484062"/>
                    </a:cubicBezTo>
                    <a:cubicBezTo>
                      <a:pt x="949955" y="2484558"/>
                      <a:pt x="939212" y="2493152"/>
                      <a:pt x="936568" y="2500589"/>
                    </a:cubicBezTo>
                    <a:cubicBezTo>
                      <a:pt x="934089" y="2507861"/>
                      <a:pt x="935576" y="2517943"/>
                      <a:pt x="940369" y="2524223"/>
                    </a:cubicBezTo>
                    <a:cubicBezTo>
                      <a:pt x="947145" y="2533148"/>
                      <a:pt x="955574" y="2535296"/>
                      <a:pt x="978547" y="2533478"/>
                    </a:cubicBezTo>
                    <a:cubicBezTo>
                      <a:pt x="1043332" y="2528685"/>
                      <a:pt x="1107292" y="2514803"/>
                      <a:pt x="1159187" y="2494309"/>
                    </a:cubicBezTo>
                    <a:cubicBezTo>
                      <a:pt x="1168112" y="2490838"/>
                      <a:pt x="1175549" y="2488525"/>
                      <a:pt x="1175714" y="2489351"/>
                    </a:cubicBezTo>
                    <a:cubicBezTo>
                      <a:pt x="1175714" y="2490177"/>
                      <a:pt x="1173731" y="2494805"/>
                      <a:pt x="1170921" y="2499763"/>
                    </a:cubicBezTo>
                    <a:lnTo>
                      <a:pt x="1170921" y="2499763"/>
                    </a:lnTo>
                    <a:cubicBezTo>
                      <a:pt x="1164806" y="2510836"/>
                      <a:pt x="1155055" y="2520091"/>
                      <a:pt x="1144478" y="2525215"/>
                    </a:cubicBezTo>
                    <a:cubicBezTo>
                      <a:pt x="1133240" y="2530503"/>
                      <a:pt x="1085642" y="2544551"/>
                      <a:pt x="1056554" y="2551162"/>
                    </a:cubicBezTo>
                    <a:cubicBezTo>
                      <a:pt x="922355" y="2581076"/>
                      <a:pt x="780883" y="2574961"/>
                      <a:pt x="652964" y="2533643"/>
                    </a:cubicBezTo>
                    <a:cubicBezTo>
                      <a:pt x="611316" y="2520257"/>
                      <a:pt x="609994" y="2519430"/>
                      <a:pt x="597433" y="2506374"/>
                    </a:cubicBezTo>
                    <a:lnTo>
                      <a:pt x="586526" y="2494970"/>
                    </a:lnTo>
                    <a:lnTo>
                      <a:pt x="577601" y="2472163"/>
                    </a:lnTo>
                    <a:cubicBezTo>
                      <a:pt x="568842" y="2449852"/>
                      <a:pt x="546034" y="2387545"/>
                      <a:pt x="544712" y="2382586"/>
                    </a:cubicBezTo>
                    <a:cubicBezTo>
                      <a:pt x="544216" y="2380768"/>
                      <a:pt x="549836" y="2382917"/>
                      <a:pt x="563057" y="2389693"/>
                    </a:cubicBezTo>
                    <a:cubicBezTo>
                      <a:pt x="632140" y="2424400"/>
                      <a:pt x="736426" y="2448034"/>
                      <a:pt x="845173" y="2453653"/>
                    </a:cubicBezTo>
                    <a:cubicBezTo>
                      <a:pt x="971275" y="2460263"/>
                      <a:pt x="1109771" y="2437952"/>
                      <a:pt x="1195547" y="2397626"/>
                    </a:cubicBezTo>
                    <a:lnTo>
                      <a:pt x="1216370" y="2387875"/>
                    </a:lnTo>
                    <a:lnTo>
                      <a:pt x="1210751" y="2402749"/>
                    </a:lnTo>
                    <a:close/>
                    <a:moveTo>
                      <a:pt x="1248433" y="2286564"/>
                    </a:moveTo>
                    <a:lnTo>
                      <a:pt x="1248433" y="2286564"/>
                    </a:lnTo>
                    <a:cubicBezTo>
                      <a:pt x="1243805" y="2293010"/>
                      <a:pt x="1223642" y="2312677"/>
                      <a:pt x="1217031" y="2317140"/>
                    </a:cubicBezTo>
                    <a:cubicBezTo>
                      <a:pt x="1189762" y="2335650"/>
                      <a:pt x="1181333" y="2340773"/>
                      <a:pt x="1168773" y="2346558"/>
                    </a:cubicBezTo>
                    <a:cubicBezTo>
                      <a:pt x="1102004" y="2377132"/>
                      <a:pt x="997222" y="2396304"/>
                      <a:pt x="892771" y="2396800"/>
                    </a:cubicBezTo>
                    <a:cubicBezTo>
                      <a:pt x="844843" y="2396965"/>
                      <a:pt x="816912" y="2395147"/>
                      <a:pt x="765348" y="2387875"/>
                    </a:cubicBezTo>
                    <a:cubicBezTo>
                      <a:pt x="709982" y="2380107"/>
                      <a:pt x="652799" y="2365729"/>
                      <a:pt x="613961" y="2349532"/>
                    </a:cubicBezTo>
                    <a:cubicBezTo>
                      <a:pt x="575948" y="2333832"/>
                      <a:pt x="551323" y="2317635"/>
                      <a:pt x="527028" y="2292018"/>
                    </a:cubicBezTo>
                    <a:lnTo>
                      <a:pt x="510832" y="2274996"/>
                    </a:lnTo>
                    <a:lnTo>
                      <a:pt x="505708" y="2258303"/>
                    </a:lnTo>
                    <a:cubicBezTo>
                      <a:pt x="499594" y="2238306"/>
                      <a:pt x="485545" y="2185749"/>
                      <a:pt x="477943" y="2154018"/>
                    </a:cubicBezTo>
                    <a:cubicBezTo>
                      <a:pt x="372170" y="1718035"/>
                      <a:pt x="373988" y="1245197"/>
                      <a:pt x="482901" y="824419"/>
                    </a:cubicBezTo>
                    <a:cubicBezTo>
                      <a:pt x="492487" y="787398"/>
                      <a:pt x="501412" y="756492"/>
                      <a:pt x="515129" y="712200"/>
                    </a:cubicBezTo>
                    <a:lnTo>
                      <a:pt x="525045" y="680468"/>
                    </a:lnTo>
                    <a:lnTo>
                      <a:pt x="539589" y="676502"/>
                    </a:lnTo>
                    <a:cubicBezTo>
                      <a:pt x="566363" y="669395"/>
                      <a:pt x="627678" y="656339"/>
                      <a:pt x="661228" y="650720"/>
                    </a:cubicBezTo>
                    <a:cubicBezTo>
                      <a:pt x="744359" y="636672"/>
                      <a:pt x="816086" y="631879"/>
                      <a:pt x="911777" y="633531"/>
                    </a:cubicBezTo>
                    <a:cubicBezTo>
                      <a:pt x="1022343" y="635515"/>
                      <a:pt x="1107623" y="646588"/>
                      <a:pt x="1212404" y="672370"/>
                    </a:cubicBezTo>
                    <a:cubicBezTo>
                      <a:pt x="1251408" y="681956"/>
                      <a:pt x="1272562" y="688071"/>
                      <a:pt x="1274546" y="690219"/>
                    </a:cubicBezTo>
                    <a:cubicBezTo>
                      <a:pt x="1275372" y="691045"/>
                      <a:pt x="1280661" y="708729"/>
                      <a:pt x="1286610" y="729553"/>
                    </a:cubicBezTo>
                    <a:cubicBezTo>
                      <a:pt x="1316194" y="834335"/>
                      <a:pt x="1338505" y="939116"/>
                      <a:pt x="1354041" y="1047038"/>
                    </a:cubicBezTo>
                    <a:cubicBezTo>
                      <a:pt x="1408249" y="1421375"/>
                      <a:pt x="1382963" y="1819180"/>
                      <a:pt x="1282148" y="2182940"/>
                    </a:cubicBezTo>
                    <a:cubicBezTo>
                      <a:pt x="1263307" y="2250701"/>
                      <a:pt x="1254383" y="2278632"/>
                      <a:pt x="1248763" y="2286399"/>
                    </a:cubicBezTo>
                    <a:close/>
                    <a:moveTo>
                      <a:pt x="1670533" y="2618923"/>
                    </a:moveTo>
                    <a:cubicBezTo>
                      <a:pt x="1626075" y="2794936"/>
                      <a:pt x="1561785" y="2974089"/>
                      <a:pt x="1512700" y="3058707"/>
                    </a:cubicBezTo>
                    <a:lnTo>
                      <a:pt x="1512700" y="3058707"/>
                    </a:lnTo>
                    <a:cubicBezTo>
                      <a:pt x="1496173" y="3087134"/>
                      <a:pt x="1486257" y="3096554"/>
                      <a:pt x="1476340" y="3093414"/>
                    </a:cubicBezTo>
                    <a:cubicBezTo>
                      <a:pt x="1472870" y="3092257"/>
                      <a:pt x="1467581" y="3087134"/>
                      <a:pt x="1466094" y="3083498"/>
                    </a:cubicBezTo>
                    <a:cubicBezTo>
                      <a:pt x="1465267" y="3081349"/>
                      <a:pt x="1467416" y="3040693"/>
                      <a:pt x="1471878" y="2974915"/>
                    </a:cubicBezTo>
                    <a:cubicBezTo>
                      <a:pt x="1472870" y="2959710"/>
                      <a:pt x="1474522" y="2931945"/>
                      <a:pt x="1475680" y="2913104"/>
                    </a:cubicBezTo>
                    <a:cubicBezTo>
                      <a:pt x="1476671" y="2894263"/>
                      <a:pt x="1478324" y="2866993"/>
                      <a:pt x="1479315" y="2852450"/>
                    </a:cubicBezTo>
                    <a:cubicBezTo>
                      <a:pt x="1480307" y="2837906"/>
                      <a:pt x="1482290" y="2804521"/>
                      <a:pt x="1483943" y="2778409"/>
                    </a:cubicBezTo>
                    <a:cubicBezTo>
                      <a:pt x="1485596" y="2752296"/>
                      <a:pt x="1488075" y="2712135"/>
                      <a:pt x="1489397" y="2688998"/>
                    </a:cubicBezTo>
                    <a:cubicBezTo>
                      <a:pt x="1490884" y="2665860"/>
                      <a:pt x="1492372" y="2641565"/>
                      <a:pt x="1492702" y="2634954"/>
                    </a:cubicBezTo>
                    <a:cubicBezTo>
                      <a:pt x="1493529" y="2621402"/>
                      <a:pt x="1491050" y="2588513"/>
                      <a:pt x="1487909" y="2570664"/>
                    </a:cubicBezTo>
                    <a:cubicBezTo>
                      <a:pt x="1481960" y="2536618"/>
                      <a:pt x="1470060" y="2512819"/>
                      <a:pt x="1443617" y="2482244"/>
                    </a:cubicBezTo>
                    <a:cubicBezTo>
                      <a:pt x="1428082" y="2464230"/>
                      <a:pt x="1411720" y="2449521"/>
                      <a:pt x="1347925" y="2396139"/>
                    </a:cubicBezTo>
                    <a:cubicBezTo>
                      <a:pt x="1320160" y="2372836"/>
                      <a:pt x="1295865" y="2352838"/>
                      <a:pt x="1294543" y="2351350"/>
                    </a:cubicBezTo>
                    <a:cubicBezTo>
                      <a:pt x="1291403" y="2348541"/>
                      <a:pt x="1290081" y="2353664"/>
                      <a:pt x="1311236" y="2286564"/>
                    </a:cubicBezTo>
                    <a:cubicBezTo>
                      <a:pt x="1333878" y="2215168"/>
                      <a:pt x="1351396" y="2150051"/>
                      <a:pt x="1370072" y="2066920"/>
                    </a:cubicBezTo>
                    <a:cubicBezTo>
                      <a:pt x="1375856" y="2040973"/>
                      <a:pt x="1381641" y="2018166"/>
                      <a:pt x="1382632" y="2016017"/>
                    </a:cubicBezTo>
                    <a:cubicBezTo>
                      <a:pt x="1385772" y="2009571"/>
                      <a:pt x="1388582" y="2007919"/>
                      <a:pt x="1395854" y="2008084"/>
                    </a:cubicBezTo>
                    <a:cubicBezTo>
                      <a:pt x="1407092" y="2008415"/>
                      <a:pt x="1414530" y="2014695"/>
                      <a:pt x="1458822" y="2062954"/>
                    </a:cubicBezTo>
                    <a:cubicBezTo>
                      <a:pt x="1508899" y="2117328"/>
                      <a:pt x="1547242" y="2164430"/>
                      <a:pt x="1590707" y="2225249"/>
                    </a:cubicBezTo>
                    <a:cubicBezTo>
                      <a:pt x="1628389" y="2277970"/>
                      <a:pt x="1650535" y="2313834"/>
                      <a:pt x="1667723" y="2350689"/>
                    </a:cubicBezTo>
                    <a:cubicBezTo>
                      <a:pt x="1707223" y="2435142"/>
                      <a:pt x="1707554" y="2471832"/>
                      <a:pt x="1670533" y="261908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AE3A36FC-A305-E10E-3AC5-10333CB0BBFE}"/>
                  </a:ext>
                </a:extLst>
              </p:cNvPr>
              <p:cNvSpPr/>
              <p:nvPr/>
            </p:nvSpPr>
            <p:spPr>
              <a:xfrm>
                <a:off x="8829340" y="3293111"/>
                <a:ext cx="610954" cy="963419"/>
              </a:xfrm>
              <a:custGeom>
                <a:avLst/>
                <a:gdLst>
                  <a:gd name="connsiteX0" fmla="*/ 310654 w 610954"/>
                  <a:gd name="connsiteY0" fmla="*/ 926003 h 963419"/>
                  <a:gd name="connsiteX1" fmla="*/ 374613 w 610954"/>
                  <a:gd name="connsiteY1" fmla="*/ 773789 h 963419"/>
                  <a:gd name="connsiteX2" fmla="*/ 458405 w 610954"/>
                  <a:gd name="connsiteY2" fmla="*/ 619261 h 963419"/>
                  <a:gd name="connsiteX3" fmla="*/ 560707 w 610954"/>
                  <a:gd name="connsiteY3" fmla="*/ 429200 h 963419"/>
                  <a:gd name="connsiteX4" fmla="*/ 605000 w 610954"/>
                  <a:gd name="connsiteY4" fmla="*/ 278309 h 963419"/>
                  <a:gd name="connsiteX5" fmla="*/ 608801 w 610954"/>
                  <a:gd name="connsiteY5" fmla="*/ 143779 h 963419"/>
                  <a:gd name="connsiteX6" fmla="*/ 591447 w 610954"/>
                  <a:gd name="connsiteY6" fmla="*/ 66597 h 963419"/>
                  <a:gd name="connsiteX7" fmla="*/ 566988 w 610954"/>
                  <a:gd name="connsiteY7" fmla="*/ 5943 h 963419"/>
                  <a:gd name="connsiteX8" fmla="*/ 552774 w 610954"/>
                  <a:gd name="connsiteY8" fmla="*/ 8918 h 963419"/>
                  <a:gd name="connsiteX9" fmla="*/ 469313 w 610954"/>
                  <a:gd name="connsiteY9" fmla="*/ 34204 h 963419"/>
                  <a:gd name="connsiteX10" fmla="*/ 451629 w 610954"/>
                  <a:gd name="connsiteY10" fmla="*/ 38997 h 963419"/>
                  <a:gd name="connsiteX11" fmla="*/ 460719 w 610954"/>
                  <a:gd name="connsiteY11" fmla="*/ 57012 h 963419"/>
                  <a:gd name="connsiteX12" fmla="*/ 498566 w 610954"/>
                  <a:gd name="connsiteY12" fmla="*/ 221621 h 963419"/>
                  <a:gd name="connsiteX13" fmla="*/ 422541 w 610954"/>
                  <a:gd name="connsiteY13" fmla="*/ 446719 h 963419"/>
                  <a:gd name="connsiteX14" fmla="*/ 329494 w 610954"/>
                  <a:gd name="connsiteY14" fmla="*/ 642564 h 963419"/>
                  <a:gd name="connsiteX15" fmla="*/ 308505 w 610954"/>
                  <a:gd name="connsiteY15" fmla="*/ 669338 h 963419"/>
                  <a:gd name="connsiteX16" fmla="*/ 281731 w 610954"/>
                  <a:gd name="connsiteY16" fmla="*/ 663719 h 963419"/>
                  <a:gd name="connsiteX17" fmla="*/ 269171 w 610954"/>
                  <a:gd name="connsiteY17" fmla="*/ 637771 h 963419"/>
                  <a:gd name="connsiteX18" fmla="*/ 179098 w 610954"/>
                  <a:gd name="connsiteY18" fmla="*/ 437960 h 963419"/>
                  <a:gd name="connsiteX19" fmla="*/ 119436 w 610954"/>
                  <a:gd name="connsiteY19" fmla="*/ 290373 h 963419"/>
                  <a:gd name="connsiteX20" fmla="*/ 129517 w 610954"/>
                  <a:gd name="connsiteY20" fmla="*/ 104610 h 963419"/>
                  <a:gd name="connsiteX21" fmla="*/ 157448 w 610954"/>
                  <a:gd name="connsiteY21" fmla="*/ 45939 h 963419"/>
                  <a:gd name="connsiteX22" fmla="*/ 162571 w 610954"/>
                  <a:gd name="connsiteY22" fmla="*/ 35527 h 963419"/>
                  <a:gd name="connsiteX23" fmla="*/ 144391 w 610954"/>
                  <a:gd name="connsiteY23" fmla="*/ 30568 h 963419"/>
                  <a:gd name="connsiteX24" fmla="*/ 67541 w 610954"/>
                  <a:gd name="connsiteY24" fmla="*/ 5778 h 963419"/>
                  <a:gd name="connsiteX25" fmla="*/ 48204 w 610954"/>
                  <a:gd name="connsiteY25" fmla="*/ 159 h 963419"/>
                  <a:gd name="connsiteX26" fmla="*/ 22257 w 610954"/>
                  <a:gd name="connsiteY26" fmla="*/ 59821 h 963419"/>
                  <a:gd name="connsiteX27" fmla="*/ 276 w 610954"/>
                  <a:gd name="connsiteY27" fmla="*/ 187741 h 963419"/>
                  <a:gd name="connsiteX28" fmla="*/ 25232 w 610954"/>
                  <a:gd name="connsiteY28" fmla="*/ 365902 h 963419"/>
                  <a:gd name="connsiteX29" fmla="*/ 143070 w 610954"/>
                  <a:gd name="connsiteY29" fmla="*/ 616782 h 963419"/>
                  <a:gd name="connsiteX30" fmla="*/ 210996 w 610954"/>
                  <a:gd name="connsiteY30" fmla="*/ 747676 h 963419"/>
                  <a:gd name="connsiteX31" fmla="*/ 281401 w 610954"/>
                  <a:gd name="connsiteY31" fmla="*/ 920879 h 963419"/>
                  <a:gd name="connsiteX32" fmla="*/ 296771 w 610954"/>
                  <a:gd name="connsiteY32" fmla="*/ 963354 h 963419"/>
                  <a:gd name="connsiteX33" fmla="*/ 310654 w 610954"/>
                  <a:gd name="connsiteY33" fmla="*/ 926003 h 963419"/>
                  <a:gd name="connsiteX34" fmla="*/ 310654 w 610954"/>
                  <a:gd name="connsiteY34" fmla="*/ 926003 h 96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10954" h="963419">
                    <a:moveTo>
                      <a:pt x="310654" y="926003"/>
                    </a:moveTo>
                    <a:cubicBezTo>
                      <a:pt x="328007" y="878074"/>
                      <a:pt x="355772" y="812131"/>
                      <a:pt x="374613" y="773789"/>
                    </a:cubicBezTo>
                    <a:cubicBezTo>
                      <a:pt x="403205" y="716110"/>
                      <a:pt x="424194" y="677271"/>
                      <a:pt x="458405" y="619261"/>
                    </a:cubicBezTo>
                    <a:cubicBezTo>
                      <a:pt x="511787" y="528528"/>
                      <a:pt x="542858" y="470848"/>
                      <a:pt x="560707" y="429200"/>
                    </a:cubicBezTo>
                    <a:cubicBezTo>
                      <a:pt x="578722" y="387387"/>
                      <a:pt x="597728" y="322766"/>
                      <a:pt x="605000" y="278309"/>
                    </a:cubicBezTo>
                    <a:cubicBezTo>
                      <a:pt x="611115" y="241949"/>
                      <a:pt x="612767" y="181130"/>
                      <a:pt x="608801" y="143779"/>
                    </a:cubicBezTo>
                    <a:cubicBezTo>
                      <a:pt x="606818" y="124607"/>
                      <a:pt x="599381" y="91388"/>
                      <a:pt x="591447" y="66597"/>
                    </a:cubicBezTo>
                    <a:cubicBezTo>
                      <a:pt x="585167" y="46600"/>
                      <a:pt x="569962" y="9083"/>
                      <a:pt x="566988" y="5943"/>
                    </a:cubicBezTo>
                    <a:cubicBezTo>
                      <a:pt x="565831" y="4786"/>
                      <a:pt x="561203" y="5613"/>
                      <a:pt x="552774" y="8918"/>
                    </a:cubicBezTo>
                    <a:cubicBezTo>
                      <a:pt x="534429" y="16025"/>
                      <a:pt x="489641" y="29577"/>
                      <a:pt x="469313" y="34204"/>
                    </a:cubicBezTo>
                    <a:cubicBezTo>
                      <a:pt x="459562" y="36353"/>
                      <a:pt x="451629" y="38502"/>
                      <a:pt x="451629" y="38997"/>
                    </a:cubicBezTo>
                    <a:cubicBezTo>
                      <a:pt x="451629" y="39493"/>
                      <a:pt x="455761" y="47426"/>
                      <a:pt x="460719" y="57012"/>
                    </a:cubicBezTo>
                    <a:cubicBezTo>
                      <a:pt x="489311" y="111881"/>
                      <a:pt x="500053" y="158653"/>
                      <a:pt x="498566" y="221621"/>
                    </a:cubicBezTo>
                    <a:cubicBezTo>
                      <a:pt x="496913" y="292852"/>
                      <a:pt x="479064" y="345573"/>
                      <a:pt x="422541" y="446719"/>
                    </a:cubicBezTo>
                    <a:cubicBezTo>
                      <a:pt x="386017" y="512166"/>
                      <a:pt x="344534" y="599594"/>
                      <a:pt x="329494" y="642564"/>
                    </a:cubicBezTo>
                    <a:cubicBezTo>
                      <a:pt x="323545" y="659917"/>
                      <a:pt x="318752" y="666032"/>
                      <a:pt x="308505" y="669338"/>
                    </a:cubicBezTo>
                    <a:cubicBezTo>
                      <a:pt x="299084" y="672313"/>
                      <a:pt x="289334" y="670164"/>
                      <a:pt x="281731" y="663719"/>
                    </a:cubicBezTo>
                    <a:cubicBezTo>
                      <a:pt x="276608" y="659257"/>
                      <a:pt x="275616" y="656612"/>
                      <a:pt x="269171" y="637771"/>
                    </a:cubicBezTo>
                    <a:cubicBezTo>
                      <a:pt x="253470" y="590339"/>
                      <a:pt x="219094" y="514314"/>
                      <a:pt x="179098" y="437960"/>
                    </a:cubicBezTo>
                    <a:cubicBezTo>
                      <a:pt x="145053" y="373008"/>
                      <a:pt x="130013" y="335823"/>
                      <a:pt x="119436" y="290373"/>
                    </a:cubicBezTo>
                    <a:cubicBezTo>
                      <a:pt x="105884" y="231868"/>
                      <a:pt x="109685" y="160636"/>
                      <a:pt x="129517" y="104610"/>
                    </a:cubicBezTo>
                    <a:cubicBezTo>
                      <a:pt x="135302" y="88413"/>
                      <a:pt x="147036" y="63788"/>
                      <a:pt x="157448" y="45939"/>
                    </a:cubicBezTo>
                    <a:cubicBezTo>
                      <a:pt x="160588" y="40485"/>
                      <a:pt x="162902" y="35857"/>
                      <a:pt x="162571" y="35527"/>
                    </a:cubicBezTo>
                    <a:cubicBezTo>
                      <a:pt x="162241" y="35196"/>
                      <a:pt x="154143" y="32882"/>
                      <a:pt x="144391" y="30568"/>
                    </a:cubicBezTo>
                    <a:cubicBezTo>
                      <a:pt x="121915" y="24949"/>
                      <a:pt x="90348" y="14703"/>
                      <a:pt x="67541" y="5778"/>
                    </a:cubicBezTo>
                    <a:cubicBezTo>
                      <a:pt x="57459" y="1812"/>
                      <a:pt x="49031" y="-668"/>
                      <a:pt x="48204" y="159"/>
                    </a:cubicBezTo>
                    <a:cubicBezTo>
                      <a:pt x="45395" y="2803"/>
                      <a:pt x="28372" y="42137"/>
                      <a:pt x="22257" y="59821"/>
                    </a:cubicBezTo>
                    <a:cubicBezTo>
                      <a:pt x="6556" y="105932"/>
                      <a:pt x="1598" y="135350"/>
                      <a:pt x="276" y="187741"/>
                    </a:cubicBezTo>
                    <a:cubicBezTo>
                      <a:pt x="-1377" y="254179"/>
                      <a:pt x="4077" y="293679"/>
                      <a:pt x="25232" y="365902"/>
                    </a:cubicBezTo>
                    <a:cubicBezTo>
                      <a:pt x="44073" y="430853"/>
                      <a:pt x="68863" y="483409"/>
                      <a:pt x="143070" y="616782"/>
                    </a:cubicBezTo>
                    <a:cubicBezTo>
                      <a:pt x="174471" y="673304"/>
                      <a:pt x="188519" y="700243"/>
                      <a:pt x="210996" y="747676"/>
                    </a:cubicBezTo>
                    <a:cubicBezTo>
                      <a:pt x="238596" y="806182"/>
                      <a:pt x="262395" y="864522"/>
                      <a:pt x="281401" y="920879"/>
                    </a:cubicBezTo>
                    <a:cubicBezTo>
                      <a:pt x="294787" y="960379"/>
                      <a:pt x="296110" y="964015"/>
                      <a:pt x="296771" y="963354"/>
                    </a:cubicBezTo>
                    <a:cubicBezTo>
                      <a:pt x="297101" y="963023"/>
                      <a:pt x="303382" y="946166"/>
                      <a:pt x="310654" y="926003"/>
                    </a:cubicBezTo>
                    <a:lnTo>
                      <a:pt x="310654" y="926003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18FB77FE-F5EF-7BDA-5E06-23A8FDB559EB}"/>
                  </a:ext>
                </a:extLst>
              </p:cNvPr>
              <p:cNvSpPr/>
              <p:nvPr/>
            </p:nvSpPr>
            <p:spPr>
              <a:xfrm>
                <a:off x="8998464" y="3339876"/>
                <a:ext cx="272718" cy="512689"/>
              </a:xfrm>
              <a:custGeom>
                <a:avLst/>
                <a:gdLst>
                  <a:gd name="connsiteX0" fmla="*/ 144009 w 272718"/>
                  <a:gd name="connsiteY0" fmla="*/ 487382 h 512689"/>
                  <a:gd name="connsiteX1" fmla="*/ 206316 w 272718"/>
                  <a:gd name="connsiteY1" fmla="*/ 366900 h 512689"/>
                  <a:gd name="connsiteX2" fmla="*/ 245650 w 272718"/>
                  <a:gd name="connsiteY2" fmla="*/ 290049 h 512689"/>
                  <a:gd name="connsiteX3" fmla="*/ 266804 w 272718"/>
                  <a:gd name="connsiteY3" fmla="*/ 106434 h 512689"/>
                  <a:gd name="connsiteX4" fmla="*/ 232924 w 272718"/>
                  <a:gd name="connsiteY4" fmla="*/ 22642 h 512689"/>
                  <a:gd name="connsiteX5" fmla="*/ 194581 w 272718"/>
                  <a:gd name="connsiteY5" fmla="*/ 4958 h 512689"/>
                  <a:gd name="connsiteX6" fmla="*/ 80214 w 272718"/>
                  <a:gd name="connsiteY6" fmla="*/ 3471 h 512689"/>
                  <a:gd name="connsiteX7" fmla="*/ 57407 w 272718"/>
                  <a:gd name="connsiteY7" fmla="*/ 0 h 512689"/>
                  <a:gd name="connsiteX8" fmla="*/ 52779 w 272718"/>
                  <a:gd name="connsiteY8" fmla="*/ 5619 h 512689"/>
                  <a:gd name="connsiteX9" fmla="*/ 21874 w 272718"/>
                  <a:gd name="connsiteY9" fmla="*/ 59167 h 512689"/>
                  <a:gd name="connsiteX10" fmla="*/ 389 w 272718"/>
                  <a:gd name="connsiteY10" fmla="*/ 156180 h 512689"/>
                  <a:gd name="connsiteX11" fmla="*/ 60051 w 272718"/>
                  <a:gd name="connsiteY11" fmla="*/ 362603 h 512689"/>
                  <a:gd name="connsiteX12" fmla="*/ 125168 w 272718"/>
                  <a:gd name="connsiteY12" fmla="*/ 496967 h 512689"/>
                  <a:gd name="connsiteX13" fmla="*/ 132109 w 272718"/>
                  <a:gd name="connsiteY13" fmla="*/ 512668 h 512689"/>
                  <a:gd name="connsiteX14" fmla="*/ 144339 w 272718"/>
                  <a:gd name="connsiteY14" fmla="*/ 487217 h 512689"/>
                  <a:gd name="connsiteX15" fmla="*/ 144339 w 272718"/>
                  <a:gd name="connsiteY15" fmla="*/ 487217 h 512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2718" h="512689">
                    <a:moveTo>
                      <a:pt x="144009" y="487382"/>
                    </a:moveTo>
                    <a:cubicBezTo>
                      <a:pt x="152437" y="469037"/>
                      <a:pt x="171278" y="432512"/>
                      <a:pt x="206316" y="366900"/>
                    </a:cubicBezTo>
                    <a:cubicBezTo>
                      <a:pt x="223999" y="333680"/>
                      <a:pt x="241683" y="299139"/>
                      <a:pt x="245650" y="290049"/>
                    </a:cubicBezTo>
                    <a:cubicBezTo>
                      <a:pt x="272093" y="228569"/>
                      <a:pt x="279200" y="166592"/>
                      <a:pt x="266804" y="106434"/>
                    </a:cubicBezTo>
                    <a:cubicBezTo>
                      <a:pt x="260855" y="77512"/>
                      <a:pt x="250773" y="52721"/>
                      <a:pt x="232924" y="22642"/>
                    </a:cubicBezTo>
                    <a:cubicBezTo>
                      <a:pt x="219868" y="496"/>
                      <a:pt x="222181" y="1653"/>
                      <a:pt x="194581" y="4958"/>
                    </a:cubicBezTo>
                    <a:cubicBezTo>
                      <a:pt x="164337" y="8594"/>
                      <a:pt x="110294" y="7933"/>
                      <a:pt x="80214" y="3471"/>
                    </a:cubicBezTo>
                    <a:lnTo>
                      <a:pt x="57407" y="0"/>
                    </a:lnTo>
                    <a:lnTo>
                      <a:pt x="52779" y="5619"/>
                    </a:lnTo>
                    <a:cubicBezTo>
                      <a:pt x="46003" y="13883"/>
                      <a:pt x="29972" y="41648"/>
                      <a:pt x="21874" y="59167"/>
                    </a:cubicBezTo>
                    <a:cubicBezTo>
                      <a:pt x="8983" y="87097"/>
                      <a:pt x="2042" y="118168"/>
                      <a:pt x="389" y="156180"/>
                    </a:cubicBezTo>
                    <a:cubicBezTo>
                      <a:pt x="-2586" y="221793"/>
                      <a:pt x="10966" y="268729"/>
                      <a:pt x="60051" y="362603"/>
                    </a:cubicBezTo>
                    <a:cubicBezTo>
                      <a:pt x="83685" y="407887"/>
                      <a:pt x="112773" y="468045"/>
                      <a:pt x="125168" y="496967"/>
                    </a:cubicBezTo>
                    <a:cubicBezTo>
                      <a:pt x="128804" y="505396"/>
                      <a:pt x="131778" y="512503"/>
                      <a:pt x="132109" y="512668"/>
                    </a:cubicBezTo>
                    <a:cubicBezTo>
                      <a:pt x="132440" y="512999"/>
                      <a:pt x="134092" y="509693"/>
                      <a:pt x="144339" y="487217"/>
                    </a:cubicBezTo>
                    <a:lnTo>
                      <a:pt x="144339" y="487217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500A1840-9D9A-D6DD-2967-00C2D11B51CD}"/>
                  </a:ext>
                </a:extLst>
              </p:cNvPr>
              <p:cNvSpPr/>
              <p:nvPr/>
            </p:nvSpPr>
            <p:spPr>
              <a:xfrm>
                <a:off x="9408026" y="2413541"/>
                <a:ext cx="117288" cy="339581"/>
              </a:xfrm>
              <a:custGeom>
                <a:avLst/>
                <a:gdLst>
                  <a:gd name="connsiteX0" fmla="*/ 40032 w 117288"/>
                  <a:gd name="connsiteY0" fmla="*/ 336981 h 339581"/>
                  <a:gd name="connsiteX1" fmla="*/ 532 w 117288"/>
                  <a:gd name="connsiteY1" fmla="*/ 316653 h 339581"/>
                  <a:gd name="connsiteX2" fmla="*/ 6647 w 117288"/>
                  <a:gd name="connsiteY2" fmla="*/ 285252 h 339581"/>
                  <a:gd name="connsiteX3" fmla="*/ 47965 w 117288"/>
                  <a:gd name="connsiteY3" fmla="*/ 118494 h 339581"/>
                  <a:gd name="connsiteX4" fmla="*/ 66971 w 117288"/>
                  <a:gd name="connsiteY4" fmla="*/ 21480 h 339581"/>
                  <a:gd name="connsiteX5" fmla="*/ 114238 w 117288"/>
                  <a:gd name="connsiteY5" fmla="*/ 13547 h 339581"/>
                  <a:gd name="connsiteX6" fmla="*/ 113246 w 117288"/>
                  <a:gd name="connsiteY6" fmla="*/ 71557 h 339581"/>
                  <a:gd name="connsiteX7" fmla="*/ 66144 w 117288"/>
                  <a:gd name="connsiteY7" fmla="*/ 287896 h 339581"/>
                  <a:gd name="connsiteX8" fmla="*/ 40197 w 117288"/>
                  <a:gd name="connsiteY8" fmla="*/ 337147 h 33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288" h="339581">
                    <a:moveTo>
                      <a:pt x="40032" y="336981"/>
                    </a:moveTo>
                    <a:cubicBezTo>
                      <a:pt x="23009" y="344584"/>
                      <a:pt x="4168" y="334833"/>
                      <a:pt x="532" y="316653"/>
                    </a:cubicBezTo>
                    <a:cubicBezTo>
                      <a:pt x="-790" y="309877"/>
                      <a:pt x="36" y="305580"/>
                      <a:pt x="6647" y="285252"/>
                    </a:cubicBezTo>
                    <a:cubicBezTo>
                      <a:pt x="23339" y="233357"/>
                      <a:pt x="37387" y="176173"/>
                      <a:pt x="47965" y="118494"/>
                    </a:cubicBezTo>
                    <a:cubicBezTo>
                      <a:pt x="52096" y="95522"/>
                      <a:pt x="55567" y="77672"/>
                      <a:pt x="66971" y="21480"/>
                    </a:cubicBezTo>
                    <a:cubicBezTo>
                      <a:pt x="71929" y="-2814"/>
                      <a:pt x="102669" y="-7938"/>
                      <a:pt x="114238" y="13547"/>
                    </a:cubicBezTo>
                    <a:cubicBezTo>
                      <a:pt x="118535" y="21480"/>
                      <a:pt x="118370" y="34041"/>
                      <a:pt x="113246" y="71557"/>
                    </a:cubicBezTo>
                    <a:cubicBezTo>
                      <a:pt x="103000" y="147251"/>
                      <a:pt x="87299" y="219144"/>
                      <a:pt x="66144" y="287896"/>
                    </a:cubicBezTo>
                    <a:cubicBezTo>
                      <a:pt x="54741" y="324751"/>
                      <a:pt x="50774" y="332519"/>
                      <a:pt x="40197" y="33714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DAF4032D-C7FE-78AC-7CBA-FC29CA7B1BE6}"/>
                  </a:ext>
                </a:extLst>
              </p:cNvPr>
              <p:cNvSpPr/>
              <p:nvPr/>
            </p:nvSpPr>
            <p:spPr>
              <a:xfrm>
                <a:off x="9285294" y="2599115"/>
                <a:ext cx="86070" cy="200458"/>
              </a:xfrm>
              <a:custGeom>
                <a:avLst/>
                <a:gdLst>
                  <a:gd name="connsiteX0" fmla="*/ 37158 w 86070"/>
                  <a:gd name="connsiteY0" fmla="*/ 198840 h 200458"/>
                  <a:gd name="connsiteX1" fmla="*/ 13690 w 86070"/>
                  <a:gd name="connsiteY1" fmla="*/ 196195 h 200458"/>
                  <a:gd name="connsiteX2" fmla="*/ 1459 w 86070"/>
                  <a:gd name="connsiteY2" fmla="*/ 162150 h 200458"/>
                  <a:gd name="connsiteX3" fmla="*/ 23275 w 86070"/>
                  <a:gd name="connsiteY3" fmla="*/ 79184 h 200458"/>
                  <a:gd name="connsiteX4" fmla="*/ 31208 w 86070"/>
                  <a:gd name="connsiteY4" fmla="*/ 43320 h 200458"/>
                  <a:gd name="connsiteX5" fmla="*/ 44265 w 86070"/>
                  <a:gd name="connsiteY5" fmla="*/ 6961 h 200458"/>
                  <a:gd name="connsiteX6" fmla="*/ 83103 w 86070"/>
                  <a:gd name="connsiteY6" fmla="*/ 12911 h 200458"/>
                  <a:gd name="connsiteX7" fmla="*/ 65419 w 86070"/>
                  <a:gd name="connsiteY7" fmla="*/ 145457 h 200458"/>
                  <a:gd name="connsiteX8" fmla="*/ 55833 w 86070"/>
                  <a:gd name="connsiteY8" fmla="*/ 179999 h 200458"/>
                  <a:gd name="connsiteX9" fmla="*/ 37323 w 86070"/>
                  <a:gd name="connsiteY9" fmla="*/ 199170 h 200458"/>
                  <a:gd name="connsiteX10" fmla="*/ 37323 w 86070"/>
                  <a:gd name="connsiteY10" fmla="*/ 199170 h 20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6070" h="200458">
                    <a:moveTo>
                      <a:pt x="37158" y="198840"/>
                    </a:moveTo>
                    <a:cubicBezTo>
                      <a:pt x="28399" y="201649"/>
                      <a:pt x="21292" y="200823"/>
                      <a:pt x="13690" y="196195"/>
                    </a:cubicBezTo>
                    <a:cubicBezTo>
                      <a:pt x="1625" y="188593"/>
                      <a:pt x="-2507" y="177189"/>
                      <a:pt x="1459" y="162150"/>
                    </a:cubicBezTo>
                    <a:cubicBezTo>
                      <a:pt x="6418" y="143639"/>
                      <a:pt x="19143" y="94885"/>
                      <a:pt x="23275" y="79184"/>
                    </a:cubicBezTo>
                    <a:cubicBezTo>
                      <a:pt x="25424" y="70755"/>
                      <a:pt x="29060" y="54559"/>
                      <a:pt x="31208" y="43320"/>
                    </a:cubicBezTo>
                    <a:cubicBezTo>
                      <a:pt x="36331" y="16712"/>
                      <a:pt x="37488" y="13241"/>
                      <a:pt x="44265" y="6961"/>
                    </a:cubicBezTo>
                    <a:cubicBezTo>
                      <a:pt x="56164" y="-4277"/>
                      <a:pt x="73683" y="-1633"/>
                      <a:pt x="83103" y="12911"/>
                    </a:cubicBezTo>
                    <a:cubicBezTo>
                      <a:pt x="90540" y="24479"/>
                      <a:pt x="83764" y="76209"/>
                      <a:pt x="65419" y="145457"/>
                    </a:cubicBezTo>
                    <a:cubicBezTo>
                      <a:pt x="61122" y="161489"/>
                      <a:pt x="56825" y="177024"/>
                      <a:pt x="55833" y="179999"/>
                    </a:cubicBezTo>
                    <a:cubicBezTo>
                      <a:pt x="52858" y="188427"/>
                      <a:pt x="44760" y="196691"/>
                      <a:pt x="37323" y="199170"/>
                    </a:cubicBezTo>
                    <a:lnTo>
                      <a:pt x="37323" y="199170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D675519-0050-F3F6-774A-19EA1D0F567D}"/>
                  </a:ext>
                </a:extLst>
              </p:cNvPr>
              <p:cNvSpPr/>
              <p:nvPr/>
            </p:nvSpPr>
            <p:spPr>
              <a:xfrm>
                <a:off x="9186914" y="2744573"/>
                <a:ext cx="57415" cy="71418"/>
              </a:xfrm>
              <a:custGeom>
                <a:avLst/>
                <a:gdLst>
                  <a:gd name="connsiteX0" fmla="*/ 36707 w 57415"/>
                  <a:gd name="connsiteY0" fmla="*/ 69082 h 71418"/>
                  <a:gd name="connsiteX1" fmla="*/ 17 w 57415"/>
                  <a:gd name="connsiteY1" fmla="*/ 43796 h 71418"/>
                  <a:gd name="connsiteX2" fmla="*/ 14561 w 57415"/>
                  <a:gd name="connsiteY2" fmla="*/ 5784 h 71418"/>
                  <a:gd name="connsiteX3" fmla="*/ 50259 w 57415"/>
                  <a:gd name="connsiteY3" fmla="*/ 8098 h 71418"/>
                  <a:gd name="connsiteX4" fmla="*/ 53564 w 57415"/>
                  <a:gd name="connsiteY4" fmla="*/ 46606 h 71418"/>
                  <a:gd name="connsiteX5" fmla="*/ 36872 w 57415"/>
                  <a:gd name="connsiteY5" fmla="*/ 69082 h 7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415" h="71418">
                    <a:moveTo>
                      <a:pt x="36707" y="69082"/>
                    </a:moveTo>
                    <a:cubicBezTo>
                      <a:pt x="18362" y="77016"/>
                      <a:pt x="-644" y="63794"/>
                      <a:pt x="17" y="43796"/>
                    </a:cubicBezTo>
                    <a:cubicBezTo>
                      <a:pt x="182" y="35533"/>
                      <a:pt x="9933" y="10081"/>
                      <a:pt x="14561" y="5784"/>
                    </a:cubicBezTo>
                    <a:cubicBezTo>
                      <a:pt x="23650" y="-2810"/>
                      <a:pt x="41004" y="-1653"/>
                      <a:pt x="50259" y="8098"/>
                    </a:cubicBezTo>
                    <a:cubicBezTo>
                      <a:pt x="58688" y="17022"/>
                      <a:pt x="59514" y="27765"/>
                      <a:pt x="53564" y="46606"/>
                    </a:cubicBezTo>
                    <a:cubicBezTo>
                      <a:pt x="49433" y="59331"/>
                      <a:pt x="44640" y="65777"/>
                      <a:pt x="36872" y="6908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A2676F6-4674-BC07-0818-3ADF7A6F5C26}"/>
                  </a:ext>
                </a:extLst>
              </p:cNvPr>
              <p:cNvSpPr/>
              <p:nvPr/>
            </p:nvSpPr>
            <p:spPr>
              <a:xfrm>
                <a:off x="9041702" y="2742651"/>
                <a:ext cx="56769" cy="71811"/>
              </a:xfrm>
              <a:custGeom>
                <a:avLst/>
                <a:gdLst>
                  <a:gd name="connsiteX0" fmla="*/ 39125 w 56769"/>
                  <a:gd name="connsiteY0" fmla="*/ 70509 h 71811"/>
                  <a:gd name="connsiteX1" fmla="*/ 12682 w 56769"/>
                  <a:gd name="connsiteY1" fmla="*/ 63732 h 71811"/>
                  <a:gd name="connsiteX2" fmla="*/ 1113 w 56769"/>
                  <a:gd name="connsiteY2" fmla="*/ 17953 h 71811"/>
                  <a:gd name="connsiteX3" fmla="*/ 19458 w 56769"/>
                  <a:gd name="connsiteY3" fmla="*/ 930 h 71811"/>
                  <a:gd name="connsiteX4" fmla="*/ 43422 w 56769"/>
                  <a:gd name="connsiteY4" fmla="*/ 6880 h 71811"/>
                  <a:gd name="connsiteX5" fmla="*/ 56479 w 56769"/>
                  <a:gd name="connsiteY5" fmla="*/ 51337 h 71811"/>
                  <a:gd name="connsiteX6" fmla="*/ 38960 w 56769"/>
                  <a:gd name="connsiteY6" fmla="*/ 70509 h 71811"/>
                  <a:gd name="connsiteX7" fmla="*/ 38960 w 56769"/>
                  <a:gd name="connsiteY7" fmla="*/ 70509 h 71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769" h="71811">
                    <a:moveTo>
                      <a:pt x="39125" y="70509"/>
                    </a:moveTo>
                    <a:cubicBezTo>
                      <a:pt x="29705" y="73649"/>
                      <a:pt x="19623" y="71004"/>
                      <a:pt x="12682" y="63732"/>
                    </a:cubicBezTo>
                    <a:cubicBezTo>
                      <a:pt x="3758" y="54312"/>
                      <a:pt x="-2688" y="28860"/>
                      <a:pt x="1113" y="17953"/>
                    </a:cubicBezTo>
                    <a:cubicBezTo>
                      <a:pt x="3262" y="11838"/>
                      <a:pt x="12682" y="3078"/>
                      <a:pt x="19458" y="930"/>
                    </a:cubicBezTo>
                    <a:cubicBezTo>
                      <a:pt x="27061" y="-1549"/>
                      <a:pt x="37968" y="1095"/>
                      <a:pt x="43422" y="6880"/>
                    </a:cubicBezTo>
                    <a:cubicBezTo>
                      <a:pt x="49868" y="13656"/>
                      <a:pt x="58462" y="42743"/>
                      <a:pt x="56479" y="51337"/>
                    </a:cubicBezTo>
                    <a:cubicBezTo>
                      <a:pt x="54495" y="59931"/>
                      <a:pt x="47554" y="67699"/>
                      <a:pt x="38960" y="70509"/>
                    </a:cubicBezTo>
                    <a:lnTo>
                      <a:pt x="38960" y="70509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C7B5197A-A2B7-9D56-5E59-383FC8399E91}"/>
                  </a:ext>
                </a:extLst>
              </p:cNvPr>
              <p:cNvSpPr/>
              <p:nvPr/>
            </p:nvSpPr>
            <p:spPr>
              <a:xfrm>
                <a:off x="8918030" y="2593921"/>
                <a:ext cx="82836" cy="201113"/>
              </a:xfrm>
              <a:custGeom>
                <a:avLst/>
                <a:gdLst>
                  <a:gd name="connsiteX0" fmla="*/ 64130 w 82836"/>
                  <a:gd name="connsiteY0" fmla="*/ 200232 h 201113"/>
                  <a:gd name="connsiteX1" fmla="*/ 44794 w 82836"/>
                  <a:gd name="connsiteY1" fmla="*/ 199736 h 201113"/>
                  <a:gd name="connsiteX2" fmla="*/ 26779 w 82836"/>
                  <a:gd name="connsiteY2" fmla="*/ 179243 h 201113"/>
                  <a:gd name="connsiteX3" fmla="*/ 7112 w 82836"/>
                  <a:gd name="connsiteY3" fmla="*/ 94624 h 201113"/>
                  <a:gd name="connsiteX4" fmla="*/ 5 w 82836"/>
                  <a:gd name="connsiteY4" fmla="*/ 28681 h 201113"/>
                  <a:gd name="connsiteX5" fmla="*/ 38844 w 82836"/>
                  <a:gd name="connsiteY5" fmla="*/ 3891 h 201113"/>
                  <a:gd name="connsiteX6" fmla="*/ 53718 w 82836"/>
                  <a:gd name="connsiteY6" fmla="*/ 38598 h 201113"/>
                  <a:gd name="connsiteX7" fmla="*/ 69254 w 82836"/>
                  <a:gd name="connsiteY7" fmla="*/ 110490 h 201113"/>
                  <a:gd name="connsiteX8" fmla="*/ 81649 w 82836"/>
                  <a:gd name="connsiteY8" fmla="*/ 182383 h 201113"/>
                  <a:gd name="connsiteX9" fmla="*/ 64296 w 82836"/>
                  <a:gd name="connsiteY9" fmla="*/ 200067 h 201113"/>
                  <a:gd name="connsiteX10" fmla="*/ 64296 w 82836"/>
                  <a:gd name="connsiteY10" fmla="*/ 200067 h 20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2836" h="201113">
                    <a:moveTo>
                      <a:pt x="64130" y="200232"/>
                    </a:moveTo>
                    <a:cubicBezTo>
                      <a:pt x="58842" y="201554"/>
                      <a:pt x="49586" y="201389"/>
                      <a:pt x="44794" y="199736"/>
                    </a:cubicBezTo>
                    <a:cubicBezTo>
                      <a:pt x="38183" y="197423"/>
                      <a:pt x="29258" y="187341"/>
                      <a:pt x="26779" y="179243"/>
                    </a:cubicBezTo>
                    <a:cubicBezTo>
                      <a:pt x="22978" y="166682"/>
                      <a:pt x="9426" y="108176"/>
                      <a:pt x="7112" y="94624"/>
                    </a:cubicBezTo>
                    <a:cubicBezTo>
                      <a:pt x="3476" y="73470"/>
                      <a:pt x="-160" y="39424"/>
                      <a:pt x="5" y="28681"/>
                    </a:cubicBezTo>
                    <a:cubicBezTo>
                      <a:pt x="336" y="6205"/>
                      <a:pt x="20995" y="-7017"/>
                      <a:pt x="38844" y="3891"/>
                    </a:cubicBezTo>
                    <a:cubicBezTo>
                      <a:pt x="47108" y="9014"/>
                      <a:pt x="49917" y="15625"/>
                      <a:pt x="53718" y="38598"/>
                    </a:cubicBezTo>
                    <a:cubicBezTo>
                      <a:pt x="55536" y="49671"/>
                      <a:pt x="62478" y="82064"/>
                      <a:pt x="69254" y="110490"/>
                    </a:cubicBezTo>
                    <a:cubicBezTo>
                      <a:pt x="83467" y="169988"/>
                      <a:pt x="84293" y="174946"/>
                      <a:pt x="81649" y="182383"/>
                    </a:cubicBezTo>
                    <a:cubicBezTo>
                      <a:pt x="79335" y="188663"/>
                      <a:pt x="69419" y="198745"/>
                      <a:pt x="64296" y="200067"/>
                    </a:cubicBezTo>
                    <a:lnTo>
                      <a:pt x="64296" y="200067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AF25C2D5-10A5-BA9E-9641-836573E4ADC7}"/>
                  </a:ext>
                </a:extLst>
              </p:cNvPr>
              <p:cNvSpPr/>
              <p:nvPr/>
            </p:nvSpPr>
            <p:spPr>
              <a:xfrm>
                <a:off x="8768968" y="2405202"/>
                <a:ext cx="111073" cy="340976"/>
              </a:xfrm>
              <a:custGeom>
                <a:avLst/>
                <a:gdLst>
                  <a:gd name="connsiteX0" fmla="*/ 91553 w 111073"/>
                  <a:gd name="connsiteY0" fmla="*/ 339701 h 340976"/>
                  <a:gd name="connsiteX1" fmla="*/ 70895 w 111073"/>
                  <a:gd name="connsiteY1" fmla="*/ 338710 h 340976"/>
                  <a:gd name="connsiteX2" fmla="*/ 61309 w 111073"/>
                  <a:gd name="connsiteY2" fmla="*/ 330777 h 340976"/>
                  <a:gd name="connsiteX3" fmla="*/ 47757 w 111073"/>
                  <a:gd name="connsiteY3" fmla="*/ 297723 h 340976"/>
                  <a:gd name="connsiteX4" fmla="*/ 3795 w 111073"/>
                  <a:gd name="connsiteY4" fmla="*/ 78905 h 340976"/>
                  <a:gd name="connsiteX5" fmla="*/ 2803 w 111073"/>
                  <a:gd name="connsiteY5" fmla="*/ 14119 h 340976"/>
                  <a:gd name="connsiteX6" fmla="*/ 43790 w 111073"/>
                  <a:gd name="connsiteY6" fmla="*/ 8004 h 340976"/>
                  <a:gd name="connsiteX7" fmla="*/ 65606 w 111073"/>
                  <a:gd name="connsiteY7" fmla="*/ 109645 h 340976"/>
                  <a:gd name="connsiteX8" fmla="*/ 73208 w 111073"/>
                  <a:gd name="connsiteY8" fmla="*/ 154433 h 340976"/>
                  <a:gd name="connsiteX9" fmla="*/ 100974 w 111073"/>
                  <a:gd name="connsiteY9" fmla="*/ 274089 h 340976"/>
                  <a:gd name="connsiteX10" fmla="*/ 111055 w 111073"/>
                  <a:gd name="connsiteY10" fmla="*/ 312597 h 340976"/>
                  <a:gd name="connsiteX11" fmla="*/ 91884 w 111073"/>
                  <a:gd name="connsiteY11" fmla="*/ 339701 h 340976"/>
                  <a:gd name="connsiteX12" fmla="*/ 91884 w 111073"/>
                  <a:gd name="connsiteY12" fmla="*/ 339701 h 340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73" h="340976">
                    <a:moveTo>
                      <a:pt x="91553" y="339701"/>
                    </a:moveTo>
                    <a:cubicBezTo>
                      <a:pt x="85769" y="341685"/>
                      <a:pt x="76349" y="341354"/>
                      <a:pt x="70895" y="338710"/>
                    </a:cubicBezTo>
                    <a:cubicBezTo>
                      <a:pt x="68581" y="337718"/>
                      <a:pt x="64284" y="334082"/>
                      <a:pt x="61309" y="330777"/>
                    </a:cubicBezTo>
                    <a:cubicBezTo>
                      <a:pt x="56351" y="325488"/>
                      <a:pt x="54863" y="321852"/>
                      <a:pt x="47757" y="297723"/>
                    </a:cubicBezTo>
                    <a:cubicBezTo>
                      <a:pt x="27759" y="229962"/>
                      <a:pt x="12224" y="152450"/>
                      <a:pt x="3795" y="78905"/>
                    </a:cubicBezTo>
                    <a:cubicBezTo>
                      <a:pt x="-998" y="37753"/>
                      <a:pt x="-1163" y="22548"/>
                      <a:pt x="2803" y="14119"/>
                    </a:cubicBezTo>
                    <a:cubicBezTo>
                      <a:pt x="10406" y="-1747"/>
                      <a:pt x="31560" y="-4887"/>
                      <a:pt x="43790" y="8004"/>
                    </a:cubicBezTo>
                    <a:cubicBezTo>
                      <a:pt x="49409" y="13954"/>
                      <a:pt x="50071" y="16929"/>
                      <a:pt x="65606" y="109645"/>
                    </a:cubicBezTo>
                    <a:cubicBezTo>
                      <a:pt x="67754" y="122040"/>
                      <a:pt x="71060" y="142203"/>
                      <a:pt x="73208" y="154433"/>
                    </a:cubicBezTo>
                    <a:cubicBezTo>
                      <a:pt x="78662" y="187157"/>
                      <a:pt x="89570" y="234424"/>
                      <a:pt x="100974" y="274089"/>
                    </a:cubicBezTo>
                    <a:cubicBezTo>
                      <a:pt x="106428" y="293260"/>
                      <a:pt x="110890" y="310614"/>
                      <a:pt x="111055" y="312597"/>
                    </a:cubicBezTo>
                    <a:cubicBezTo>
                      <a:pt x="111551" y="322678"/>
                      <a:pt x="102131" y="336065"/>
                      <a:pt x="91884" y="339701"/>
                    </a:cubicBezTo>
                    <a:lnTo>
                      <a:pt x="91884" y="339701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62BCFF6B-7BBE-63EF-286C-85A8042FDC97}"/>
                  </a:ext>
                </a:extLst>
              </p:cNvPr>
              <p:cNvSpPr/>
              <p:nvPr/>
            </p:nvSpPr>
            <p:spPr>
              <a:xfrm>
                <a:off x="8811061" y="987682"/>
                <a:ext cx="704465" cy="104527"/>
              </a:xfrm>
              <a:custGeom>
                <a:avLst/>
                <a:gdLst>
                  <a:gd name="connsiteX0" fmla="*/ 700626 w 704465"/>
                  <a:gd name="connsiteY0" fmla="*/ 92123 h 104527"/>
                  <a:gd name="connsiteX1" fmla="*/ 689552 w 704465"/>
                  <a:gd name="connsiteY1" fmla="*/ 60887 h 104527"/>
                  <a:gd name="connsiteX2" fmla="*/ 682611 w 704465"/>
                  <a:gd name="connsiteY2" fmla="*/ 41715 h 104527"/>
                  <a:gd name="connsiteX3" fmla="*/ 675505 w 704465"/>
                  <a:gd name="connsiteY3" fmla="*/ 39567 h 104527"/>
                  <a:gd name="connsiteX4" fmla="*/ 639641 w 704465"/>
                  <a:gd name="connsiteY4" fmla="*/ 31964 h 104527"/>
                  <a:gd name="connsiteX5" fmla="*/ 582788 w 704465"/>
                  <a:gd name="connsiteY5" fmla="*/ 20891 h 104527"/>
                  <a:gd name="connsiteX6" fmla="*/ 313728 w 704465"/>
                  <a:gd name="connsiteY6" fmla="*/ 67 h 104527"/>
                  <a:gd name="connsiteX7" fmla="*/ 91274 w 704465"/>
                  <a:gd name="connsiteY7" fmla="*/ 20891 h 104527"/>
                  <a:gd name="connsiteX8" fmla="*/ 22852 w 704465"/>
                  <a:gd name="connsiteY8" fmla="*/ 35105 h 104527"/>
                  <a:gd name="connsiteX9" fmla="*/ 45 w 704465"/>
                  <a:gd name="connsiteY9" fmla="*/ 95593 h 104527"/>
                  <a:gd name="connsiteX10" fmla="*/ 11779 w 704465"/>
                  <a:gd name="connsiteY10" fmla="*/ 93114 h 104527"/>
                  <a:gd name="connsiteX11" fmla="*/ 141021 w 704465"/>
                  <a:gd name="connsiteY11" fmla="*/ 67828 h 104527"/>
                  <a:gd name="connsiteX12" fmla="*/ 516515 w 704465"/>
                  <a:gd name="connsiteY12" fmla="*/ 65845 h 104527"/>
                  <a:gd name="connsiteX13" fmla="*/ 688726 w 704465"/>
                  <a:gd name="connsiteY13" fmla="*/ 100056 h 104527"/>
                  <a:gd name="connsiteX14" fmla="*/ 704427 w 704465"/>
                  <a:gd name="connsiteY14" fmla="*/ 104518 h 104527"/>
                  <a:gd name="connsiteX15" fmla="*/ 700626 w 704465"/>
                  <a:gd name="connsiteY15" fmla="*/ 91958 h 104527"/>
                  <a:gd name="connsiteX16" fmla="*/ 700626 w 704465"/>
                  <a:gd name="connsiteY16" fmla="*/ 91958 h 10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04465" h="104527">
                    <a:moveTo>
                      <a:pt x="700626" y="92123"/>
                    </a:moveTo>
                    <a:cubicBezTo>
                      <a:pt x="698312" y="85512"/>
                      <a:pt x="693354" y="71299"/>
                      <a:pt x="689552" y="60887"/>
                    </a:cubicBezTo>
                    <a:lnTo>
                      <a:pt x="682611" y="41715"/>
                    </a:lnTo>
                    <a:lnTo>
                      <a:pt x="675505" y="39567"/>
                    </a:lnTo>
                    <a:cubicBezTo>
                      <a:pt x="671538" y="38410"/>
                      <a:pt x="655342" y="34939"/>
                      <a:pt x="639641" y="31964"/>
                    </a:cubicBezTo>
                    <a:cubicBezTo>
                      <a:pt x="623775" y="28990"/>
                      <a:pt x="598323" y="23866"/>
                      <a:pt x="582788" y="20891"/>
                    </a:cubicBezTo>
                    <a:cubicBezTo>
                      <a:pt x="507921" y="6017"/>
                      <a:pt x="420658" y="-759"/>
                      <a:pt x="313728" y="67"/>
                    </a:cubicBezTo>
                    <a:cubicBezTo>
                      <a:pt x="227126" y="728"/>
                      <a:pt x="183991" y="4695"/>
                      <a:pt x="91274" y="20891"/>
                    </a:cubicBezTo>
                    <a:cubicBezTo>
                      <a:pt x="34421" y="30808"/>
                      <a:pt x="25662" y="32626"/>
                      <a:pt x="22852" y="35105"/>
                    </a:cubicBezTo>
                    <a:cubicBezTo>
                      <a:pt x="20373" y="37418"/>
                      <a:pt x="-1112" y="94437"/>
                      <a:pt x="45" y="95593"/>
                    </a:cubicBezTo>
                    <a:cubicBezTo>
                      <a:pt x="541" y="96089"/>
                      <a:pt x="5830" y="94932"/>
                      <a:pt x="11779" y="93114"/>
                    </a:cubicBezTo>
                    <a:cubicBezTo>
                      <a:pt x="34917" y="85843"/>
                      <a:pt x="92101" y="74769"/>
                      <a:pt x="141021" y="67828"/>
                    </a:cubicBezTo>
                    <a:cubicBezTo>
                      <a:pt x="257205" y="51466"/>
                      <a:pt x="391735" y="50805"/>
                      <a:pt x="516515" y="65845"/>
                    </a:cubicBezTo>
                    <a:cubicBezTo>
                      <a:pt x="566591" y="71795"/>
                      <a:pt x="654185" y="89313"/>
                      <a:pt x="688726" y="100056"/>
                    </a:cubicBezTo>
                    <a:cubicBezTo>
                      <a:pt x="697155" y="102700"/>
                      <a:pt x="704262" y="104683"/>
                      <a:pt x="704427" y="104518"/>
                    </a:cubicBezTo>
                    <a:cubicBezTo>
                      <a:pt x="704757" y="104188"/>
                      <a:pt x="702939" y="98734"/>
                      <a:pt x="700626" y="91958"/>
                    </a:cubicBezTo>
                    <a:lnTo>
                      <a:pt x="700626" y="91958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0BE5339E-3B24-FE66-41DA-5134AEAFE3E8}"/>
                  </a:ext>
                </a:extLst>
              </p:cNvPr>
              <p:cNvSpPr/>
              <p:nvPr/>
            </p:nvSpPr>
            <p:spPr>
              <a:xfrm>
                <a:off x="7596585" y="3884235"/>
                <a:ext cx="1225543" cy="903351"/>
              </a:xfrm>
              <a:custGeom>
                <a:avLst/>
                <a:gdLst>
                  <a:gd name="connsiteX0" fmla="*/ 988761 w 1225543"/>
                  <a:gd name="connsiteY0" fmla="*/ 494529 h 903351"/>
                  <a:gd name="connsiteX1" fmla="*/ 950915 w 1225543"/>
                  <a:gd name="connsiteY1" fmla="*/ 488580 h 903351"/>
                  <a:gd name="connsiteX2" fmla="*/ 911250 w 1225543"/>
                  <a:gd name="connsiteY2" fmla="*/ 473209 h 903351"/>
                  <a:gd name="connsiteX3" fmla="*/ 852579 w 1225543"/>
                  <a:gd name="connsiteY3" fmla="*/ 472053 h 903351"/>
                  <a:gd name="connsiteX4" fmla="*/ 777546 w 1225543"/>
                  <a:gd name="connsiteY4" fmla="*/ 527418 h 903351"/>
                  <a:gd name="connsiteX5" fmla="*/ 768291 w 1225543"/>
                  <a:gd name="connsiteY5" fmla="*/ 604930 h 903351"/>
                  <a:gd name="connsiteX6" fmla="*/ 771266 w 1225543"/>
                  <a:gd name="connsiteY6" fmla="*/ 637488 h 903351"/>
                  <a:gd name="connsiteX7" fmla="*/ 754904 w 1225543"/>
                  <a:gd name="connsiteY7" fmla="*/ 653354 h 903351"/>
                  <a:gd name="connsiteX8" fmla="*/ 718379 w 1225543"/>
                  <a:gd name="connsiteY8" fmla="*/ 638149 h 903351"/>
                  <a:gd name="connsiteX9" fmla="*/ 685160 w 1225543"/>
                  <a:gd name="connsiteY9" fmla="*/ 618647 h 903351"/>
                  <a:gd name="connsiteX10" fmla="*/ 650949 w 1225543"/>
                  <a:gd name="connsiteY10" fmla="*/ 630381 h 903351"/>
                  <a:gd name="connsiteX11" fmla="*/ 638389 w 1225543"/>
                  <a:gd name="connsiteY11" fmla="*/ 660295 h 903351"/>
                  <a:gd name="connsiteX12" fmla="*/ 628142 w 1225543"/>
                  <a:gd name="connsiteY12" fmla="*/ 686243 h 903351"/>
                  <a:gd name="connsiteX13" fmla="*/ 592774 w 1225543"/>
                  <a:gd name="connsiteY13" fmla="*/ 688391 h 903351"/>
                  <a:gd name="connsiteX14" fmla="*/ 580048 w 1225543"/>
                  <a:gd name="connsiteY14" fmla="*/ 672525 h 903351"/>
                  <a:gd name="connsiteX15" fmla="*/ 517907 w 1225543"/>
                  <a:gd name="connsiteY15" fmla="*/ 607078 h 903351"/>
                  <a:gd name="connsiteX16" fmla="*/ 247359 w 1225543"/>
                  <a:gd name="connsiteY16" fmla="*/ 574520 h 903351"/>
                  <a:gd name="connsiteX17" fmla="*/ 109193 w 1225543"/>
                  <a:gd name="connsiteY17" fmla="*/ 684755 h 903351"/>
                  <a:gd name="connsiteX18" fmla="*/ 54819 w 1225543"/>
                  <a:gd name="connsiteY18" fmla="*/ 861760 h 903351"/>
                  <a:gd name="connsiteX19" fmla="*/ 48539 w 1225543"/>
                  <a:gd name="connsiteY19" fmla="*/ 895144 h 903351"/>
                  <a:gd name="connsiteX20" fmla="*/ 5404 w 1225543"/>
                  <a:gd name="connsiteY20" fmla="*/ 889194 h 903351"/>
                  <a:gd name="connsiteX21" fmla="*/ 115 w 1225543"/>
                  <a:gd name="connsiteY21" fmla="*/ 849860 h 903351"/>
                  <a:gd name="connsiteX22" fmla="*/ 56307 w 1225543"/>
                  <a:gd name="connsiteY22" fmla="*/ 665253 h 903351"/>
                  <a:gd name="connsiteX23" fmla="*/ 313633 w 1225543"/>
                  <a:gd name="connsiteY23" fmla="*/ 501305 h 903351"/>
                  <a:gd name="connsiteX24" fmla="*/ 400069 w 1225543"/>
                  <a:gd name="connsiteY24" fmla="*/ 501801 h 903351"/>
                  <a:gd name="connsiteX25" fmla="*/ 585006 w 1225543"/>
                  <a:gd name="connsiteY25" fmla="*/ 592369 h 903351"/>
                  <a:gd name="connsiteX26" fmla="*/ 598724 w 1225543"/>
                  <a:gd name="connsiteY26" fmla="*/ 605426 h 903351"/>
                  <a:gd name="connsiteX27" fmla="*/ 609631 w 1225543"/>
                  <a:gd name="connsiteY27" fmla="*/ 594352 h 903351"/>
                  <a:gd name="connsiteX28" fmla="*/ 630456 w 1225543"/>
                  <a:gd name="connsiteY28" fmla="*/ 577164 h 903351"/>
                  <a:gd name="connsiteX29" fmla="*/ 698051 w 1225543"/>
                  <a:gd name="connsiteY29" fmla="*/ 564934 h 903351"/>
                  <a:gd name="connsiteX30" fmla="*/ 710612 w 1225543"/>
                  <a:gd name="connsiteY30" fmla="*/ 566422 h 903351"/>
                  <a:gd name="connsiteX31" fmla="*/ 711273 w 1225543"/>
                  <a:gd name="connsiteY31" fmla="*/ 561629 h 903351"/>
                  <a:gd name="connsiteX32" fmla="*/ 713917 w 1225543"/>
                  <a:gd name="connsiteY32" fmla="*/ 544441 h 903351"/>
                  <a:gd name="connsiteX33" fmla="*/ 884972 w 1225543"/>
                  <a:gd name="connsiteY33" fmla="*/ 415200 h 903351"/>
                  <a:gd name="connsiteX34" fmla="*/ 965458 w 1225543"/>
                  <a:gd name="connsiteY34" fmla="*/ 434536 h 903351"/>
                  <a:gd name="connsiteX35" fmla="*/ 971739 w 1225543"/>
                  <a:gd name="connsiteY35" fmla="*/ 433875 h 903351"/>
                  <a:gd name="connsiteX36" fmla="*/ 992397 w 1225543"/>
                  <a:gd name="connsiteY36" fmla="*/ 405779 h 903351"/>
                  <a:gd name="connsiteX37" fmla="*/ 1056522 w 1225543"/>
                  <a:gd name="connsiteY37" fmla="*/ 310253 h 903351"/>
                  <a:gd name="connsiteX38" fmla="*/ 1163452 w 1225543"/>
                  <a:gd name="connsiteY38" fmla="*/ 52266 h 903351"/>
                  <a:gd name="connsiteX39" fmla="*/ 1179814 w 1225543"/>
                  <a:gd name="connsiteY39" fmla="*/ 8965 h 903351"/>
                  <a:gd name="connsiteX40" fmla="*/ 1192705 w 1225543"/>
                  <a:gd name="connsiteY40" fmla="*/ 702 h 903351"/>
                  <a:gd name="connsiteX41" fmla="*/ 1225098 w 1225543"/>
                  <a:gd name="connsiteY41" fmla="*/ 33425 h 903351"/>
                  <a:gd name="connsiteX42" fmla="*/ 1203943 w 1225543"/>
                  <a:gd name="connsiteY42" fmla="*/ 109119 h 903351"/>
                  <a:gd name="connsiteX43" fmla="*/ 1061976 w 1225543"/>
                  <a:gd name="connsiteY43" fmla="*/ 410076 h 903351"/>
                  <a:gd name="connsiteX44" fmla="*/ 1008759 w 1225543"/>
                  <a:gd name="connsiteY44" fmla="*/ 479820 h 903351"/>
                  <a:gd name="connsiteX45" fmla="*/ 988761 w 1225543"/>
                  <a:gd name="connsiteY45" fmla="*/ 494860 h 903351"/>
                  <a:gd name="connsiteX46" fmla="*/ 988761 w 1225543"/>
                  <a:gd name="connsiteY46" fmla="*/ 494860 h 903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225543" h="903351">
                    <a:moveTo>
                      <a:pt x="988761" y="494529"/>
                    </a:moveTo>
                    <a:cubicBezTo>
                      <a:pt x="974714" y="498991"/>
                      <a:pt x="968433" y="498000"/>
                      <a:pt x="950915" y="488580"/>
                    </a:cubicBezTo>
                    <a:cubicBezTo>
                      <a:pt x="936536" y="480812"/>
                      <a:pt x="926455" y="476845"/>
                      <a:pt x="911250" y="473209"/>
                    </a:cubicBezTo>
                    <a:cubicBezTo>
                      <a:pt x="895384" y="469243"/>
                      <a:pt x="867784" y="468747"/>
                      <a:pt x="852579" y="472053"/>
                    </a:cubicBezTo>
                    <a:cubicBezTo>
                      <a:pt x="820847" y="478994"/>
                      <a:pt x="792090" y="500148"/>
                      <a:pt x="777546" y="527418"/>
                    </a:cubicBezTo>
                    <a:cubicBezTo>
                      <a:pt x="766142" y="548738"/>
                      <a:pt x="762341" y="580470"/>
                      <a:pt x="768291" y="604930"/>
                    </a:cubicBezTo>
                    <a:cubicBezTo>
                      <a:pt x="773414" y="626084"/>
                      <a:pt x="773745" y="630547"/>
                      <a:pt x="771266" y="637488"/>
                    </a:cubicBezTo>
                    <a:cubicBezTo>
                      <a:pt x="768291" y="645586"/>
                      <a:pt x="763168" y="650544"/>
                      <a:pt x="754904" y="653354"/>
                    </a:cubicBezTo>
                    <a:cubicBezTo>
                      <a:pt x="741683" y="657816"/>
                      <a:pt x="733088" y="654180"/>
                      <a:pt x="718379" y="638149"/>
                    </a:cubicBezTo>
                    <a:cubicBezTo>
                      <a:pt x="705488" y="623936"/>
                      <a:pt x="698216" y="619804"/>
                      <a:pt x="685160" y="618647"/>
                    </a:cubicBezTo>
                    <a:cubicBezTo>
                      <a:pt x="671112" y="617325"/>
                      <a:pt x="661031" y="620796"/>
                      <a:pt x="650949" y="630381"/>
                    </a:cubicBezTo>
                    <a:cubicBezTo>
                      <a:pt x="641198" y="639471"/>
                      <a:pt x="639215" y="644429"/>
                      <a:pt x="638389" y="660295"/>
                    </a:cubicBezTo>
                    <a:cubicBezTo>
                      <a:pt x="637728" y="673021"/>
                      <a:pt x="635083" y="679797"/>
                      <a:pt x="628142" y="686243"/>
                    </a:cubicBezTo>
                    <a:cubicBezTo>
                      <a:pt x="618556" y="695333"/>
                      <a:pt x="603517" y="696324"/>
                      <a:pt x="592774" y="688391"/>
                    </a:cubicBezTo>
                    <a:cubicBezTo>
                      <a:pt x="590130" y="686408"/>
                      <a:pt x="584676" y="679962"/>
                      <a:pt x="580048" y="672525"/>
                    </a:cubicBezTo>
                    <a:cubicBezTo>
                      <a:pt x="568479" y="654676"/>
                      <a:pt x="535095" y="619804"/>
                      <a:pt x="517907" y="607078"/>
                    </a:cubicBezTo>
                    <a:cubicBezTo>
                      <a:pt x="440064" y="550060"/>
                      <a:pt x="338919" y="537995"/>
                      <a:pt x="247359" y="574520"/>
                    </a:cubicBezTo>
                    <a:cubicBezTo>
                      <a:pt x="192324" y="596501"/>
                      <a:pt x="144065" y="635009"/>
                      <a:pt x="109193" y="684755"/>
                    </a:cubicBezTo>
                    <a:cubicBezTo>
                      <a:pt x="73825" y="734997"/>
                      <a:pt x="53828" y="800114"/>
                      <a:pt x="54819" y="861760"/>
                    </a:cubicBezTo>
                    <a:cubicBezTo>
                      <a:pt x="55150" y="883080"/>
                      <a:pt x="54324" y="887542"/>
                      <a:pt x="48539" y="895144"/>
                    </a:cubicBezTo>
                    <a:cubicBezTo>
                      <a:pt x="38458" y="908366"/>
                      <a:pt x="14824" y="905060"/>
                      <a:pt x="5404" y="889194"/>
                    </a:cubicBezTo>
                    <a:cubicBezTo>
                      <a:pt x="611" y="881261"/>
                      <a:pt x="-381" y="873163"/>
                      <a:pt x="115" y="849860"/>
                    </a:cubicBezTo>
                    <a:cubicBezTo>
                      <a:pt x="1602" y="784909"/>
                      <a:pt x="21104" y="720784"/>
                      <a:pt x="56307" y="665253"/>
                    </a:cubicBezTo>
                    <a:cubicBezTo>
                      <a:pt x="113325" y="575181"/>
                      <a:pt x="209016" y="514196"/>
                      <a:pt x="313633" y="501305"/>
                    </a:cubicBezTo>
                    <a:cubicBezTo>
                      <a:pt x="337431" y="498330"/>
                      <a:pt x="377262" y="498661"/>
                      <a:pt x="400069" y="501801"/>
                    </a:cubicBezTo>
                    <a:cubicBezTo>
                      <a:pt x="469813" y="511387"/>
                      <a:pt x="531128" y="541466"/>
                      <a:pt x="585006" y="592369"/>
                    </a:cubicBezTo>
                    <a:lnTo>
                      <a:pt x="598724" y="605426"/>
                    </a:lnTo>
                    <a:lnTo>
                      <a:pt x="609631" y="594352"/>
                    </a:lnTo>
                    <a:cubicBezTo>
                      <a:pt x="617234" y="586585"/>
                      <a:pt x="623514" y="581461"/>
                      <a:pt x="630456" y="577164"/>
                    </a:cubicBezTo>
                    <a:cubicBezTo>
                      <a:pt x="649957" y="565430"/>
                      <a:pt x="676070" y="560803"/>
                      <a:pt x="698051" y="564934"/>
                    </a:cubicBezTo>
                    <a:cubicBezTo>
                      <a:pt x="704497" y="566257"/>
                      <a:pt x="710281" y="566918"/>
                      <a:pt x="710612" y="566422"/>
                    </a:cubicBezTo>
                    <a:cubicBezTo>
                      <a:pt x="710942" y="565926"/>
                      <a:pt x="711438" y="563777"/>
                      <a:pt x="711273" y="561629"/>
                    </a:cubicBezTo>
                    <a:cubicBezTo>
                      <a:pt x="711273" y="559480"/>
                      <a:pt x="712430" y="551713"/>
                      <a:pt x="713917" y="544441"/>
                    </a:cubicBezTo>
                    <a:cubicBezTo>
                      <a:pt x="730279" y="465937"/>
                      <a:pt x="800684" y="412720"/>
                      <a:pt x="884972" y="415200"/>
                    </a:cubicBezTo>
                    <a:cubicBezTo>
                      <a:pt x="912241" y="416026"/>
                      <a:pt x="944469" y="423628"/>
                      <a:pt x="965458" y="434536"/>
                    </a:cubicBezTo>
                    <a:cubicBezTo>
                      <a:pt x="968929" y="436354"/>
                      <a:pt x="970086" y="436189"/>
                      <a:pt x="971739" y="433875"/>
                    </a:cubicBezTo>
                    <a:cubicBezTo>
                      <a:pt x="972896" y="432222"/>
                      <a:pt x="982151" y="419662"/>
                      <a:pt x="992397" y="405779"/>
                    </a:cubicBezTo>
                    <a:cubicBezTo>
                      <a:pt x="1012560" y="378675"/>
                      <a:pt x="1042309" y="334217"/>
                      <a:pt x="1056522" y="310253"/>
                    </a:cubicBezTo>
                    <a:cubicBezTo>
                      <a:pt x="1097014" y="241996"/>
                      <a:pt x="1138992" y="140851"/>
                      <a:pt x="1163452" y="52266"/>
                    </a:cubicBezTo>
                    <a:cubicBezTo>
                      <a:pt x="1173038" y="17725"/>
                      <a:pt x="1173864" y="15245"/>
                      <a:pt x="1179814" y="8965"/>
                    </a:cubicBezTo>
                    <a:cubicBezTo>
                      <a:pt x="1184772" y="3511"/>
                      <a:pt x="1187251" y="2024"/>
                      <a:pt x="1192705" y="702"/>
                    </a:cubicBezTo>
                    <a:cubicBezTo>
                      <a:pt x="1211215" y="-3761"/>
                      <a:pt x="1228569" y="13758"/>
                      <a:pt x="1225098" y="33425"/>
                    </a:cubicBezTo>
                    <a:cubicBezTo>
                      <a:pt x="1223445" y="42680"/>
                      <a:pt x="1211711" y="84824"/>
                      <a:pt x="1203943" y="109119"/>
                    </a:cubicBezTo>
                    <a:cubicBezTo>
                      <a:pt x="1171220" y="212413"/>
                      <a:pt x="1115028" y="331242"/>
                      <a:pt x="1061976" y="410076"/>
                    </a:cubicBezTo>
                    <a:cubicBezTo>
                      <a:pt x="1040326" y="442138"/>
                      <a:pt x="1021981" y="466433"/>
                      <a:pt x="1008759" y="479820"/>
                    </a:cubicBezTo>
                    <a:cubicBezTo>
                      <a:pt x="997521" y="491389"/>
                      <a:pt x="996033" y="492546"/>
                      <a:pt x="988761" y="494860"/>
                    </a:cubicBezTo>
                    <a:lnTo>
                      <a:pt x="988761" y="49486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448DA276-299E-5450-70C4-DD75F99D80C6}"/>
                  </a:ext>
                </a:extLst>
              </p:cNvPr>
              <p:cNvSpPr/>
              <p:nvPr/>
            </p:nvSpPr>
            <p:spPr>
              <a:xfrm>
                <a:off x="8818213" y="1211856"/>
                <a:ext cx="644553" cy="644553"/>
              </a:xfrm>
              <a:custGeom>
                <a:avLst/>
                <a:gdLst>
                  <a:gd name="connsiteX0" fmla="*/ 322277 w 644553"/>
                  <a:gd name="connsiteY0" fmla="*/ 0 h 644553"/>
                  <a:gd name="connsiteX1" fmla="*/ 322277 w 644553"/>
                  <a:gd name="connsiteY1" fmla="*/ 0 h 644553"/>
                  <a:gd name="connsiteX2" fmla="*/ 0 w 644553"/>
                  <a:gd name="connsiteY2" fmla="*/ 322277 h 644553"/>
                  <a:gd name="connsiteX3" fmla="*/ 322277 w 644553"/>
                  <a:gd name="connsiteY3" fmla="*/ 644554 h 644553"/>
                  <a:gd name="connsiteX4" fmla="*/ 322277 w 644553"/>
                  <a:gd name="connsiteY4" fmla="*/ 644554 h 644553"/>
                  <a:gd name="connsiteX5" fmla="*/ 644554 w 644553"/>
                  <a:gd name="connsiteY5" fmla="*/ 322277 h 644553"/>
                  <a:gd name="connsiteX6" fmla="*/ 322277 w 644553"/>
                  <a:gd name="connsiteY6" fmla="*/ 0 h 644553"/>
                  <a:gd name="connsiteX7" fmla="*/ 617945 w 644553"/>
                  <a:gd name="connsiteY7" fmla="*/ 322442 h 644553"/>
                  <a:gd name="connsiteX8" fmla="*/ 506057 w 644553"/>
                  <a:gd name="connsiteY8" fmla="*/ 345249 h 644553"/>
                  <a:gd name="connsiteX9" fmla="*/ 538120 w 644553"/>
                  <a:gd name="connsiteY9" fmla="*/ 302445 h 644553"/>
                  <a:gd name="connsiteX10" fmla="*/ 617945 w 644553"/>
                  <a:gd name="connsiteY10" fmla="*/ 322442 h 644553"/>
                  <a:gd name="connsiteX11" fmla="*/ 557126 w 644553"/>
                  <a:gd name="connsiteY11" fmla="*/ 272531 h 644553"/>
                  <a:gd name="connsiteX12" fmla="*/ 588693 w 644553"/>
                  <a:gd name="connsiteY12" fmla="*/ 193862 h 644553"/>
                  <a:gd name="connsiteX13" fmla="*/ 616293 w 644553"/>
                  <a:gd name="connsiteY13" fmla="*/ 289553 h 644553"/>
                  <a:gd name="connsiteX14" fmla="*/ 600923 w 644553"/>
                  <a:gd name="connsiteY14" fmla="*/ 285256 h 644553"/>
                  <a:gd name="connsiteX15" fmla="*/ 554151 w 644553"/>
                  <a:gd name="connsiteY15" fmla="*/ 277654 h 644553"/>
                  <a:gd name="connsiteX16" fmla="*/ 557126 w 644553"/>
                  <a:gd name="connsiteY16" fmla="*/ 272696 h 644553"/>
                  <a:gd name="connsiteX17" fmla="*/ 548036 w 644553"/>
                  <a:gd name="connsiteY17" fmla="*/ 131720 h 644553"/>
                  <a:gd name="connsiteX18" fmla="*/ 549193 w 644553"/>
                  <a:gd name="connsiteY18" fmla="*/ 133043 h 644553"/>
                  <a:gd name="connsiteX19" fmla="*/ 502752 w 644553"/>
                  <a:gd name="connsiteY19" fmla="*/ 261623 h 644553"/>
                  <a:gd name="connsiteX20" fmla="*/ 471681 w 644553"/>
                  <a:gd name="connsiteY20" fmla="*/ 133043 h 644553"/>
                  <a:gd name="connsiteX21" fmla="*/ 548036 w 644553"/>
                  <a:gd name="connsiteY21" fmla="*/ 131886 h 644553"/>
                  <a:gd name="connsiteX22" fmla="*/ 322277 w 644553"/>
                  <a:gd name="connsiteY22" fmla="*/ 351530 h 644553"/>
                  <a:gd name="connsiteX23" fmla="*/ 168576 w 644553"/>
                  <a:gd name="connsiteY23" fmla="*/ 347233 h 644553"/>
                  <a:gd name="connsiteX24" fmla="*/ 215843 w 644553"/>
                  <a:gd name="connsiteY24" fmla="*/ 295007 h 644553"/>
                  <a:gd name="connsiteX25" fmla="*/ 322277 w 644553"/>
                  <a:gd name="connsiteY25" fmla="*/ 293024 h 644553"/>
                  <a:gd name="connsiteX26" fmla="*/ 475978 w 644553"/>
                  <a:gd name="connsiteY26" fmla="*/ 297321 h 644553"/>
                  <a:gd name="connsiteX27" fmla="*/ 428711 w 644553"/>
                  <a:gd name="connsiteY27" fmla="*/ 349547 h 644553"/>
                  <a:gd name="connsiteX28" fmla="*/ 322277 w 644553"/>
                  <a:gd name="connsiteY28" fmla="*/ 351530 h 644553"/>
                  <a:gd name="connsiteX29" fmla="*/ 399954 w 644553"/>
                  <a:gd name="connsiteY29" fmla="*/ 377147 h 644553"/>
                  <a:gd name="connsiteX30" fmla="*/ 381774 w 644553"/>
                  <a:gd name="connsiteY30" fmla="*/ 393178 h 644553"/>
                  <a:gd name="connsiteX31" fmla="*/ 261292 w 644553"/>
                  <a:gd name="connsiteY31" fmla="*/ 474987 h 644553"/>
                  <a:gd name="connsiteX32" fmla="*/ 198159 w 644553"/>
                  <a:gd name="connsiteY32" fmla="*/ 503248 h 644553"/>
                  <a:gd name="connsiteX33" fmla="*/ 167749 w 644553"/>
                  <a:gd name="connsiteY33" fmla="*/ 374007 h 644553"/>
                  <a:gd name="connsiteX34" fmla="*/ 322442 w 644553"/>
                  <a:gd name="connsiteY34" fmla="*/ 378304 h 644553"/>
                  <a:gd name="connsiteX35" fmla="*/ 400119 w 644553"/>
                  <a:gd name="connsiteY35" fmla="*/ 377312 h 644553"/>
                  <a:gd name="connsiteX36" fmla="*/ 322277 w 644553"/>
                  <a:gd name="connsiteY36" fmla="*/ 266581 h 644553"/>
                  <a:gd name="connsiteX37" fmla="*/ 244600 w 644553"/>
                  <a:gd name="connsiteY37" fmla="*/ 267573 h 644553"/>
                  <a:gd name="connsiteX38" fmla="*/ 262780 w 644553"/>
                  <a:gd name="connsiteY38" fmla="*/ 251541 h 644553"/>
                  <a:gd name="connsiteX39" fmla="*/ 383262 w 644553"/>
                  <a:gd name="connsiteY39" fmla="*/ 169733 h 644553"/>
                  <a:gd name="connsiteX40" fmla="*/ 446395 w 644553"/>
                  <a:gd name="connsiteY40" fmla="*/ 141471 h 644553"/>
                  <a:gd name="connsiteX41" fmla="*/ 476804 w 644553"/>
                  <a:gd name="connsiteY41" fmla="*/ 270713 h 644553"/>
                  <a:gd name="connsiteX42" fmla="*/ 322112 w 644553"/>
                  <a:gd name="connsiteY42" fmla="*/ 266416 h 644553"/>
                  <a:gd name="connsiteX43" fmla="*/ 494819 w 644553"/>
                  <a:gd name="connsiteY43" fmla="*/ 82305 h 644553"/>
                  <a:gd name="connsiteX44" fmla="*/ 449535 w 644553"/>
                  <a:gd name="connsiteY44" fmla="*/ 88089 h 644553"/>
                  <a:gd name="connsiteX45" fmla="*/ 413010 w 644553"/>
                  <a:gd name="connsiteY45" fmla="*/ 40822 h 644553"/>
                  <a:gd name="connsiteX46" fmla="*/ 494819 w 644553"/>
                  <a:gd name="connsiteY46" fmla="*/ 82305 h 644553"/>
                  <a:gd name="connsiteX47" fmla="*/ 322277 w 644553"/>
                  <a:gd name="connsiteY47" fmla="*/ 26608 h 644553"/>
                  <a:gd name="connsiteX48" fmla="*/ 322277 w 644553"/>
                  <a:gd name="connsiteY48" fmla="*/ 26608 h 644553"/>
                  <a:gd name="connsiteX49" fmla="*/ 423257 w 644553"/>
                  <a:gd name="connsiteY49" fmla="*/ 95857 h 644553"/>
                  <a:gd name="connsiteX50" fmla="*/ 412184 w 644553"/>
                  <a:gd name="connsiteY50" fmla="*/ 99823 h 644553"/>
                  <a:gd name="connsiteX51" fmla="*/ 227742 w 644553"/>
                  <a:gd name="connsiteY51" fmla="*/ 209728 h 644553"/>
                  <a:gd name="connsiteX52" fmla="*/ 168080 w 644553"/>
                  <a:gd name="connsiteY52" fmla="*/ 265920 h 644553"/>
                  <a:gd name="connsiteX53" fmla="*/ 322277 w 644553"/>
                  <a:gd name="connsiteY53" fmla="*/ 26608 h 644553"/>
                  <a:gd name="connsiteX54" fmla="*/ 231544 w 644553"/>
                  <a:gd name="connsiteY54" fmla="*/ 40822 h 644553"/>
                  <a:gd name="connsiteX55" fmla="*/ 140645 w 644553"/>
                  <a:gd name="connsiteY55" fmla="*/ 272696 h 644553"/>
                  <a:gd name="connsiteX56" fmla="*/ 110566 w 644553"/>
                  <a:gd name="connsiteY56" fmla="*/ 275340 h 644553"/>
                  <a:gd name="connsiteX57" fmla="*/ 43797 w 644553"/>
                  <a:gd name="connsiteY57" fmla="*/ 285256 h 644553"/>
                  <a:gd name="connsiteX58" fmla="*/ 28427 w 644553"/>
                  <a:gd name="connsiteY58" fmla="*/ 289553 h 644553"/>
                  <a:gd name="connsiteX59" fmla="*/ 231544 w 644553"/>
                  <a:gd name="connsiteY59" fmla="*/ 40987 h 644553"/>
                  <a:gd name="connsiteX60" fmla="*/ 26609 w 644553"/>
                  <a:gd name="connsiteY60" fmla="*/ 322442 h 644553"/>
                  <a:gd name="connsiteX61" fmla="*/ 138496 w 644553"/>
                  <a:gd name="connsiteY61" fmla="*/ 299635 h 644553"/>
                  <a:gd name="connsiteX62" fmla="*/ 106434 w 644553"/>
                  <a:gd name="connsiteY62" fmla="*/ 342440 h 644553"/>
                  <a:gd name="connsiteX63" fmla="*/ 26609 w 644553"/>
                  <a:gd name="connsiteY63" fmla="*/ 322442 h 644553"/>
                  <a:gd name="connsiteX64" fmla="*/ 87428 w 644553"/>
                  <a:gd name="connsiteY64" fmla="*/ 372189 h 644553"/>
                  <a:gd name="connsiteX65" fmla="*/ 55861 w 644553"/>
                  <a:gd name="connsiteY65" fmla="*/ 450857 h 644553"/>
                  <a:gd name="connsiteX66" fmla="*/ 28261 w 644553"/>
                  <a:gd name="connsiteY66" fmla="*/ 355166 h 644553"/>
                  <a:gd name="connsiteX67" fmla="*/ 43631 w 644553"/>
                  <a:gd name="connsiteY67" fmla="*/ 359463 h 644553"/>
                  <a:gd name="connsiteX68" fmla="*/ 90403 w 644553"/>
                  <a:gd name="connsiteY68" fmla="*/ 367065 h 644553"/>
                  <a:gd name="connsiteX69" fmla="*/ 87428 w 644553"/>
                  <a:gd name="connsiteY69" fmla="*/ 372023 h 644553"/>
                  <a:gd name="connsiteX70" fmla="*/ 96353 w 644553"/>
                  <a:gd name="connsiteY70" fmla="*/ 513164 h 644553"/>
                  <a:gd name="connsiteX71" fmla="*/ 95196 w 644553"/>
                  <a:gd name="connsiteY71" fmla="*/ 511842 h 644553"/>
                  <a:gd name="connsiteX72" fmla="*/ 141636 w 644553"/>
                  <a:gd name="connsiteY72" fmla="*/ 383262 h 644553"/>
                  <a:gd name="connsiteX73" fmla="*/ 172707 w 644553"/>
                  <a:gd name="connsiteY73" fmla="*/ 511842 h 644553"/>
                  <a:gd name="connsiteX74" fmla="*/ 96353 w 644553"/>
                  <a:gd name="connsiteY74" fmla="*/ 512999 h 644553"/>
                  <a:gd name="connsiteX75" fmla="*/ 149735 w 644553"/>
                  <a:gd name="connsiteY75" fmla="*/ 562415 h 644553"/>
                  <a:gd name="connsiteX76" fmla="*/ 195019 w 644553"/>
                  <a:gd name="connsiteY76" fmla="*/ 556630 h 644553"/>
                  <a:gd name="connsiteX77" fmla="*/ 231544 w 644553"/>
                  <a:gd name="connsiteY77" fmla="*/ 603897 h 644553"/>
                  <a:gd name="connsiteX78" fmla="*/ 149735 w 644553"/>
                  <a:gd name="connsiteY78" fmla="*/ 562415 h 644553"/>
                  <a:gd name="connsiteX79" fmla="*/ 322277 w 644553"/>
                  <a:gd name="connsiteY79" fmla="*/ 618111 h 644553"/>
                  <a:gd name="connsiteX80" fmla="*/ 221297 w 644553"/>
                  <a:gd name="connsiteY80" fmla="*/ 548862 h 644553"/>
                  <a:gd name="connsiteX81" fmla="*/ 232370 w 644553"/>
                  <a:gd name="connsiteY81" fmla="*/ 544896 h 644553"/>
                  <a:gd name="connsiteX82" fmla="*/ 416812 w 644553"/>
                  <a:gd name="connsiteY82" fmla="*/ 434991 h 644553"/>
                  <a:gd name="connsiteX83" fmla="*/ 476474 w 644553"/>
                  <a:gd name="connsiteY83" fmla="*/ 378799 h 644553"/>
                  <a:gd name="connsiteX84" fmla="*/ 322277 w 644553"/>
                  <a:gd name="connsiteY84" fmla="*/ 618111 h 644553"/>
                  <a:gd name="connsiteX85" fmla="*/ 413010 w 644553"/>
                  <a:gd name="connsiteY85" fmla="*/ 603897 h 644553"/>
                  <a:gd name="connsiteX86" fmla="*/ 503909 w 644553"/>
                  <a:gd name="connsiteY86" fmla="*/ 372023 h 644553"/>
                  <a:gd name="connsiteX87" fmla="*/ 533988 w 644553"/>
                  <a:gd name="connsiteY87" fmla="*/ 369379 h 644553"/>
                  <a:gd name="connsiteX88" fmla="*/ 600757 w 644553"/>
                  <a:gd name="connsiteY88" fmla="*/ 359463 h 644553"/>
                  <a:gd name="connsiteX89" fmla="*/ 616127 w 644553"/>
                  <a:gd name="connsiteY89" fmla="*/ 355166 h 644553"/>
                  <a:gd name="connsiteX90" fmla="*/ 413010 w 644553"/>
                  <a:gd name="connsiteY90" fmla="*/ 603732 h 644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44553" h="644553">
                    <a:moveTo>
                      <a:pt x="322277" y="0"/>
                    </a:moveTo>
                    <a:lnTo>
                      <a:pt x="322277" y="0"/>
                    </a:lnTo>
                    <a:cubicBezTo>
                      <a:pt x="144611" y="0"/>
                      <a:pt x="0" y="144611"/>
                      <a:pt x="0" y="322277"/>
                    </a:cubicBezTo>
                    <a:cubicBezTo>
                      <a:pt x="0" y="499942"/>
                      <a:pt x="144611" y="644554"/>
                      <a:pt x="322277" y="644554"/>
                    </a:cubicBezTo>
                    <a:lnTo>
                      <a:pt x="322277" y="644554"/>
                    </a:lnTo>
                    <a:cubicBezTo>
                      <a:pt x="499942" y="644554"/>
                      <a:pt x="644554" y="499942"/>
                      <a:pt x="644554" y="322277"/>
                    </a:cubicBezTo>
                    <a:cubicBezTo>
                      <a:pt x="644554" y="144611"/>
                      <a:pt x="499942" y="0"/>
                      <a:pt x="322277" y="0"/>
                    </a:cubicBezTo>
                    <a:close/>
                    <a:moveTo>
                      <a:pt x="617945" y="322442"/>
                    </a:moveTo>
                    <a:cubicBezTo>
                      <a:pt x="617945" y="331697"/>
                      <a:pt x="574149" y="339961"/>
                      <a:pt x="506057" y="345249"/>
                    </a:cubicBezTo>
                    <a:cubicBezTo>
                      <a:pt x="517461" y="331367"/>
                      <a:pt x="528204" y="317154"/>
                      <a:pt x="538120" y="302445"/>
                    </a:cubicBezTo>
                    <a:cubicBezTo>
                      <a:pt x="587701" y="307733"/>
                      <a:pt x="617945" y="314674"/>
                      <a:pt x="617945" y="322442"/>
                    </a:cubicBezTo>
                    <a:close/>
                    <a:moveTo>
                      <a:pt x="557126" y="272531"/>
                    </a:moveTo>
                    <a:cubicBezTo>
                      <a:pt x="570678" y="249393"/>
                      <a:pt x="584230" y="221958"/>
                      <a:pt x="588693" y="193862"/>
                    </a:cubicBezTo>
                    <a:cubicBezTo>
                      <a:pt x="602906" y="223280"/>
                      <a:pt x="612491" y="255508"/>
                      <a:pt x="616293" y="289553"/>
                    </a:cubicBezTo>
                    <a:cubicBezTo>
                      <a:pt x="610508" y="287405"/>
                      <a:pt x="604889" y="286083"/>
                      <a:pt x="600923" y="285256"/>
                    </a:cubicBezTo>
                    <a:cubicBezTo>
                      <a:pt x="588858" y="282447"/>
                      <a:pt x="573157" y="279803"/>
                      <a:pt x="554151" y="277654"/>
                    </a:cubicBezTo>
                    <a:cubicBezTo>
                      <a:pt x="555143" y="276001"/>
                      <a:pt x="556134" y="274349"/>
                      <a:pt x="557126" y="272696"/>
                    </a:cubicBezTo>
                    <a:close/>
                    <a:moveTo>
                      <a:pt x="548036" y="131720"/>
                    </a:moveTo>
                    <a:cubicBezTo>
                      <a:pt x="548036" y="131720"/>
                      <a:pt x="548697" y="132547"/>
                      <a:pt x="549193" y="133043"/>
                    </a:cubicBezTo>
                    <a:cubicBezTo>
                      <a:pt x="567373" y="157337"/>
                      <a:pt x="529030" y="222784"/>
                      <a:pt x="502752" y="261623"/>
                    </a:cubicBezTo>
                    <a:cubicBezTo>
                      <a:pt x="497794" y="214025"/>
                      <a:pt x="487051" y="170394"/>
                      <a:pt x="471681" y="133043"/>
                    </a:cubicBezTo>
                    <a:cubicBezTo>
                      <a:pt x="503909" y="123126"/>
                      <a:pt x="535310" y="118499"/>
                      <a:pt x="548036" y="131886"/>
                    </a:cubicBezTo>
                    <a:close/>
                    <a:moveTo>
                      <a:pt x="322277" y="351530"/>
                    </a:moveTo>
                    <a:cubicBezTo>
                      <a:pt x="265920" y="351530"/>
                      <a:pt x="213364" y="350042"/>
                      <a:pt x="168576" y="347233"/>
                    </a:cubicBezTo>
                    <a:cubicBezTo>
                      <a:pt x="183285" y="329218"/>
                      <a:pt x="199151" y="311865"/>
                      <a:pt x="215843" y="295007"/>
                    </a:cubicBezTo>
                    <a:cubicBezTo>
                      <a:pt x="248897" y="293685"/>
                      <a:pt x="284761" y="293024"/>
                      <a:pt x="322277" y="293024"/>
                    </a:cubicBezTo>
                    <a:cubicBezTo>
                      <a:pt x="378634" y="293024"/>
                      <a:pt x="431190" y="294512"/>
                      <a:pt x="475978" y="297321"/>
                    </a:cubicBezTo>
                    <a:cubicBezTo>
                      <a:pt x="461269" y="315336"/>
                      <a:pt x="445403" y="332689"/>
                      <a:pt x="428711" y="349547"/>
                    </a:cubicBezTo>
                    <a:cubicBezTo>
                      <a:pt x="395657" y="350869"/>
                      <a:pt x="359793" y="351530"/>
                      <a:pt x="322277" y="351530"/>
                    </a:cubicBezTo>
                    <a:close/>
                    <a:moveTo>
                      <a:pt x="399954" y="377147"/>
                    </a:moveTo>
                    <a:cubicBezTo>
                      <a:pt x="394004" y="382601"/>
                      <a:pt x="387889" y="387889"/>
                      <a:pt x="381774" y="393178"/>
                    </a:cubicBezTo>
                    <a:cubicBezTo>
                      <a:pt x="344093" y="424579"/>
                      <a:pt x="303271" y="452014"/>
                      <a:pt x="261292" y="474987"/>
                    </a:cubicBezTo>
                    <a:cubicBezTo>
                      <a:pt x="252864" y="479614"/>
                      <a:pt x="227081" y="492340"/>
                      <a:pt x="198159" y="503248"/>
                    </a:cubicBezTo>
                    <a:cubicBezTo>
                      <a:pt x="182954" y="466062"/>
                      <a:pt x="172212" y="422100"/>
                      <a:pt x="167749" y="374007"/>
                    </a:cubicBezTo>
                    <a:cubicBezTo>
                      <a:pt x="214025" y="376816"/>
                      <a:pt x="267077" y="378304"/>
                      <a:pt x="322442" y="378304"/>
                    </a:cubicBezTo>
                    <a:cubicBezTo>
                      <a:pt x="349051" y="378304"/>
                      <a:pt x="374998" y="377973"/>
                      <a:pt x="400119" y="377312"/>
                    </a:cubicBezTo>
                    <a:close/>
                    <a:moveTo>
                      <a:pt x="322277" y="266581"/>
                    </a:moveTo>
                    <a:cubicBezTo>
                      <a:pt x="295668" y="266581"/>
                      <a:pt x="269721" y="266911"/>
                      <a:pt x="244600" y="267573"/>
                    </a:cubicBezTo>
                    <a:cubicBezTo>
                      <a:pt x="250549" y="262119"/>
                      <a:pt x="256665" y="256830"/>
                      <a:pt x="262780" y="251541"/>
                    </a:cubicBezTo>
                    <a:cubicBezTo>
                      <a:pt x="300461" y="220140"/>
                      <a:pt x="341283" y="192705"/>
                      <a:pt x="383262" y="169733"/>
                    </a:cubicBezTo>
                    <a:cubicBezTo>
                      <a:pt x="391690" y="165105"/>
                      <a:pt x="417473" y="152379"/>
                      <a:pt x="446395" y="141471"/>
                    </a:cubicBezTo>
                    <a:cubicBezTo>
                      <a:pt x="461600" y="178657"/>
                      <a:pt x="472342" y="222619"/>
                      <a:pt x="476804" y="270713"/>
                    </a:cubicBezTo>
                    <a:cubicBezTo>
                      <a:pt x="430529" y="267903"/>
                      <a:pt x="377477" y="266416"/>
                      <a:pt x="322112" y="266416"/>
                    </a:cubicBezTo>
                    <a:close/>
                    <a:moveTo>
                      <a:pt x="494819" y="82305"/>
                    </a:moveTo>
                    <a:cubicBezTo>
                      <a:pt x="479779" y="82139"/>
                      <a:pt x="464409" y="84453"/>
                      <a:pt x="449535" y="88089"/>
                    </a:cubicBezTo>
                    <a:cubicBezTo>
                      <a:pt x="438627" y="69744"/>
                      <a:pt x="426397" y="53878"/>
                      <a:pt x="413010" y="40822"/>
                    </a:cubicBezTo>
                    <a:cubicBezTo>
                      <a:pt x="442594" y="50407"/>
                      <a:pt x="470029" y="64455"/>
                      <a:pt x="494819" y="82305"/>
                    </a:cubicBezTo>
                    <a:close/>
                    <a:moveTo>
                      <a:pt x="322277" y="26608"/>
                    </a:moveTo>
                    <a:lnTo>
                      <a:pt x="322277" y="26608"/>
                    </a:lnTo>
                    <a:cubicBezTo>
                      <a:pt x="360620" y="26608"/>
                      <a:pt x="395822" y="52721"/>
                      <a:pt x="423257" y="95857"/>
                    </a:cubicBezTo>
                    <a:cubicBezTo>
                      <a:pt x="419456" y="97179"/>
                      <a:pt x="415820" y="98501"/>
                      <a:pt x="412184" y="99823"/>
                    </a:cubicBezTo>
                    <a:cubicBezTo>
                      <a:pt x="346406" y="124283"/>
                      <a:pt x="283438" y="162791"/>
                      <a:pt x="227742" y="209728"/>
                    </a:cubicBezTo>
                    <a:cubicBezTo>
                      <a:pt x="206753" y="227247"/>
                      <a:pt x="186755" y="246087"/>
                      <a:pt x="168080" y="265920"/>
                    </a:cubicBezTo>
                    <a:cubicBezTo>
                      <a:pt x="182128" y="129737"/>
                      <a:pt x="245922" y="26608"/>
                      <a:pt x="322277" y="26608"/>
                    </a:cubicBezTo>
                    <a:close/>
                    <a:moveTo>
                      <a:pt x="231544" y="40822"/>
                    </a:moveTo>
                    <a:cubicBezTo>
                      <a:pt x="183450" y="87924"/>
                      <a:pt x="149239" y="171881"/>
                      <a:pt x="140645" y="272696"/>
                    </a:cubicBezTo>
                    <a:cubicBezTo>
                      <a:pt x="130233" y="273522"/>
                      <a:pt x="120151" y="274349"/>
                      <a:pt x="110566" y="275340"/>
                    </a:cubicBezTo>
                    <a:cubicBezTo>
                      <a:pt x="82305" y="278150"/>
                      <a:pt x="59828" y="281455"/>
                      <a:pt x="43797" y="285256"/>
                    </a:cubicBezTo>
                    <a:cubicBezTo>
                      <a:pt x="39830" y="286248"/>
                      <a:pt x="34211" y="287570"/>
                      <a:pt x="28427" y="289553"/>
                    </a:cubicBezTo>
                    <a:cubicBezTo>
                      <a:pt x="41483" y="172542"/>
                      <a:pt x="122796" y="76024"/>
                      <a:pt x="231544" y="40987"/>
                    </a:cubicBezTo>
                    <a:close/>
                    <a:moveTo>
                      <a:pt x="26609" y="322442"/>
                    </a:moveTo>
                    <a:cubicBezTo>
                      <a:pt x="26609" y="313187"/>
                      <a:pt x="70405" y="304924"/>
                      <a:pt x="138496" y="299635"/>
                    </a:cubicBezTo>
                    <a:cubicBezTo>
                      <a:pt x="127093" y="313518"/>
                      <a:pt x="116350" y="327731"/>
                      <a:pt x="106434" y="342440"/>
                    </a:cubicBezTo>
                    <a:cubicBezTo>
                      <a:pt x="56853" y="337151"/>
                      <a:pt x="26609" y="330210"/>
                      <a:pt x="26609" y="322442"/>
                    </a:cubicBezTo>
                    <a:close/>
                    <a:moveTo>
                      <a:pt x="87428" y="372189"/>
                    </a:moveTo>
                    <a:cubicBezTo>
                      <a:pt x="73876" y="395326"/>
                      <a:pt x="60324" y="422761"/>
                      <a:pt x="55861" y="450857"/>
                    </a:cubicBezTo>
                    <a:cubicBezTo>
                      <a:pt x="41648" y="421439"/>
                      <a:pt x="32062" y="389211"/>
                      <a:pt x="28261" y="355166"/>
                    </a:cubicBezTo>
                    <a:cubicBezTo>
                      <a:pt x="34046" y="357314"/>
                      <a:pt x="39665" y="358636"/>
                      <a:pt x="43631" y="359463"/>
                    </a:cubicBezTo>
                    <a:cubicBezTo>
                      <a:pt x="55696" y="362272"/>
                      <a:pt x="71397" y="364917"/>
                      <a:pt x="90403" y="367065"/>
                    </a:cubicBezTo>
                    <a:cubicBezTo>
                      <a:pt x="89411" y="368718"/>
                      <a:pt x="88419" y="370371"/>
                      <a:pt x="87428" y="372023"/>
                    </a:cubicBezTo>
                    <a:close/>
                    <a:moveTo>
                      <a:pt x="96353" y="513164"/>
                    </a:moveTo>
                    <a:cubicBezTo>
                      <a:pt x="96353" y="513164"/>
                      <a:pt x="95691" y="512338"/>
                      <a:pt x="95196" y="511842"/>
                    </a:cubicBezTo>
                    <a:cubicBezTo>
                      <a:pt x="77016" y="487547"/>
                      <a:pt x="115359" y="422100"/>
                      <a:pt x="141636" y="383262"/>
                    </a:cubicBezTo>
                    <a:cubicBezTo>
                      <a:pt x="146595" y="430859"/>
                      <a:pt x="157337" y="474491"/>
                      <a:pt x="172707" y="511842"/>
                    </a:cubicBezTo>
                    <a:cubicBezTo>
                      <a:pt x="140480" y="521758"/>
                      <a:pt x="109078" y="526386"/>
                      <a:pt x="96353" y="512999"/>
                    </a:cubicBezTo>
                    <a:close/>
                    <a:moveTo>
                      <a:pt x="149735" y="562415"/>
                    </a:moveTo>
                    <a:cubicBezTo>
                      <a:pt x="164774" y="562580"/>
                      <a:pt x="180144" y="560266"/>
                      <a:pt x="195019" y="556630"/>
                    </a:cubicBezTo>
                    <a:cubicBezTo>
                      <a:pt x="205927" y="574975"/>
                      <a:pt x="218157" y="590841"/>
                      <a:pt x="231544" y="603897"/>
                    </a:cubicBezTo>
                    <a:cubicBezTo>
                      <a:pt x="201960" y="594312"/>
                      <a:pt x="174525" y="580264"/>
                      <a:pt x="149735" y="562415"/>
                    </a:cubicBezTo>
                    <a:close/>
                    <a:moveTo>
                      <a:pt x="322277" y="618111"/>
                    </a:moveTo>
                    <a:cubicBezTo>
                      <a:pt x="283934" y="618111"/>
                      <a:pt x="248732" y="591998"/>
                      <a:pt x="221297" y="548862"/>
                    </a:cubicBezTo>
                    <a:cubicBezTo>
                      <a:pt x="225098" y="547540"/>
                      <a:pt x="228734" y="546218"/>
                      <a:pt x="232370" y="544896"/>
                    </a:cubicBezTo>
                    <a:cubicBezTo>
                      <a:pt x="298147" y="520436"/>
                      <a:pt x="361115" y="481928"/>
                      <a:pt x="416812" y="434991"/>
                    </a:cubicBezTo>
                    <a:cubicBezTo>
                      <a:pt x="437801" y="417473"/>
                      <a:pt x="457799" y="398632"/>
                      <a:pt x="476474" y="378799"/>
                    </a:cubicBezTo>
                    <a:cubicBezTo>
                      <a:pt x="462426" y="514982"/>
                      <a:pt x="398632" y="618111"/>
                      <a:pt x="322277" y="618111"/>
                    </a:cubicBezTo>
                    <a:close/>
                    <a:moveTo>
                      <a:pt x="413010" y="603897"/>
                    </a:moveTo>
                    <a:cubicBezTo>
                      <a:pt x="461104" y="556795"/>
                      <a:pt x="495315" y="472838"/>
                      <a:pt x="503909" y="372023"/>
                    </a:cubicBezTo>
                    <a:cubicBezTo>
                      <a:pt x="514486" y="371197"/>
                      <a:pt x="524402" y="370371"/>
                      <a:pt x="533988" y="369379"/>
                    </a:cubicBezTo>
                    <a:cubicBezTo>
                      <a:pt x="562249" y="366569"/>
                      <a:pt x="584726" y="363264"/>
                      <a:pt x="600757" y="359463"/>
                    </a:cubicBezTo>
                    <a:cubicBezTo>
                      <a:pt x="604724" y="358471"/>
                      <a:pt x="610343" y="357149"/>
                      <a:pt x="616127" y="355166"/>
                    </a:cubicBezTo>
                    <a:cubicBezTo>
                      <a:pt x="603071" y="472177"/>
                      <a:pt x="521758" y="568695"/>
                      <a:pt x="413010" y="60373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041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glas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glass object&#10;&#10;Description automatically generated">
            <a:extLst>
              <a:ext uri="{FF2B5EF4-FFF2-40B4-BE49-F238E27FC236}">
                <a16:creationId xmlns:a16="http://schemas.microsoft.com/office/drawing/2014/main" id="{8DE4426D-2FB6-902E-FA6B-6E509A16EF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C2F19B4-E5AD-281D-E8C4-F5985492C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55A23C8E-030B-8801-C213-E4F62D31F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C2889F6-CCD5-A0DA-0A66-9429A7AC01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7500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8340B87E-345F-D583-3742-3CA7156920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F5F29B8-3076-8866-02A6-0CE469F56E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04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een and white circle&#10;&#10;Description automatically generated with medium confidence">
            <a:extLst>
              <a:ext uri="{FF2B5EF4-FFF2-40B4-BE49-F238E27FC236}">
                <a16:creationId xmlns:a16="http://schemas.microsoft.com/office/drawing/2014/main" id="{EB8F88F4-3610-D52D-4C9B-514C14B082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096000" y="0"/>
            <a:ext cx="6096000" cy="631797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C2F19B4-E5AD-281D-E8C4-F5985492C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55A23C8E-030B-8801-C213-E4F62D31F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68E88C0-8195-4805-A5BD-8056B36F2A41}"/>
              </a:ext>
            </a:extLst>
          </p:cNvPr>
          <p:cNvSpPr/>
          <p:nvPr userDrawn="1"/>
        </p:nvSpPr>
        <p:spPr>
          <a:xfrm>
            <a:off x="533399" y="6410325"/>
            <a:ext cx="1209675" cy="447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E301301-3835-CAB8-F183-AAC9E75182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7500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904FEFA-9AA5-D818-249C-5B51F5E07D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20210A4-BD85-24AC-456B-E96460F8406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14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Teal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5" name="Picture 4" descr="A green and white circle&#10;&#10;Description automatically generated with medium confidence">
            <a:extLst>
              <a:ext uri="{FF2B5EF4-FFF2-40B4-BE49-F238E27FC236}">
                <a16:creationId xmlns:a16="http://schemas.microsoft.com/office/drawing/2014/main" id="{081BEB1D-0D05-6A5A-AD6C-B2C79269F2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096000" y="0"/>
            <a:ext cx="6096000" cy="631797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4B3DB99-1E30-2C58-F09B-DD54EA4148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7500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06FAE2F0-993C-2E4D-2ABB-BCE4AB3859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36F6332-BD40-0C15-E8D4-FB5A0AB0DB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628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eal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3DF9FCF-C3D5-1E12-8D63-AC9D6E4857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4EE442F8-F39B-5AEC-E07D-C504B883D2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pic>
        <p:nvPicPr>
          <p:cNvPr id="5" name="Picture 4" descr="A green and white circle&#10;&#10;Description automatically generated with medium confidence">
            <a:extLst>
              <a:ext uri="{FF2B5EF4-FFF2-40B4-BE49-F238E27FC236}">
                <a16:creationId xmlns:a16="http://schemas.microsoft.com/office/drawing/2014/main" id="{2C1B0FBC-3ABC-1A2C-CF4B-F671038F66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096000" y="0"/>
            <a:ext cx="6096000" cy="631797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AD0EBC9-8568-463D-86ED-5CB968A39024}"/>
              </a:ext>
            </a:extLst>
          </p:cNvPr>
          <p:cNvSpPr/>
          <p:nvPr userDrawn="1"/>
        </p:nvSpPr>
        <p:spPr>
          <a:xfrm>
            <a:off x="533399" y="6410325"/>
            <a:ext cx="1209675" cy="4476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5DBC952-22CF-43B7-FFD6-456640B47B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7500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43348BE-513E-7530-37DC-1686A56A1B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6415868-5D02-B087-4A72-DD54ABDE14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87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A38E561-C39F-063C-6C5F-9F734FDE10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2192000" cy="685799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A62CC49-62E2-F7C6-B79D-FE49BAC46F27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gradFill>
            <a:gsLst>
              <a:gs pos="34000">
                <a:srgbClr val="000000">
                  <a:alpha val="54000"/>
                </a:srgbClr>
              </a:gs>
              <a:gs pos="79000">
                <a:srgbClr val="000000">
                  <a:alpha val="0"/>
                </a:srgbClr>
              </a:gs>
              <a:gs pos="0">
                <a:schemeClr val="tx1">
                  <a:alpha val="62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72C10-8A03-23C7-A52E-671EACC898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790487E-3F52-79D5-69AF-8296369990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CA7AE19-0E92-89F0-7EBB-6DAEA6E147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7500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A81F053-6A2E-C281-F1A8-F1ED720C3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4502086"/>
            <a:ext cx="5285232" cy="214989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DC6CECF-7D49-5971-55B9-EC979339A4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48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id Boxes Whit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5B6FA59-C86A-45A4-99D6-457057E6AF8A}"/>
              </a:ext>
            </a:extLst>
          </p:cNvPr>
          <p:cNvSpPr/>
          <p:nvPr userDrawn="1"/>
        </p:nvSpPr>
        <p:spPr>
          <a:xfrm>
            <a:off x="533399" y="6410325"/>
            <a:ext cx="1209675" cy="447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Placeholder 8" descr="High angle view of a city&#10;&#10;Description automatically generated">
            <a:extLst>
              <a:ext uri="{FF2B5EF4-FFF2-40B4-BE49-F238E27FC236}">
                <a16:creationId xmlns:a16="http://schemas.microsoft.com/office/drawing/2014/main" id="{C377B5D2-96B1-8860-88FE-8E397DC49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74"/>
          <a:stretch/>
        </p:blipFill>
        <p:spPr>
          <a:xfrm>
            <a:off x="4062549" y="642258"/>
            <a:ext cx="7620000" cy="6215742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CC8142D-C617-20FB-6E6F-420FAED57B29}"/>
              </a:ext>
            </a:extLst>
          </p:cNvPr>
          <p:cNvSpPr/>
          <p:nvPr userDrawn="1"/>
        </p:nvSpPr>
        <p:spPr>
          <a:xfrm>
            <a:off x="-249381" y="3135084"/>
            <a:ext cx="6872250" cy="314814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B0C5B2-07C0-CCAA-A845-6600510BBC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3755571"/>
            <a:ext cx="5285232" cy="1678874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7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AC954117-14B3-7DDF-B972-F53023710D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5438345"/>
            <a:ext cx="5285232" cy="777397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851900-01AB-3DB6-7838-8B685B74E9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297" y="304800"/>
            <a:ext cx="2362200" cy="5892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72C10-8A03-23C7-A52E-671EACC898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790487E-3F52-79D5-69AF-8296369990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4" name="Picture 3" descr="A grid with blue lines&#10;&#10;Description automatically generated">
            <a:extLst>
              <a:ext uri="{FF2B5EF4-FFF2-40B4-BE49-F238E27FC236}">
                <a16:creationId xmlns:a16="http://schemas.microsoft.com/office/drawing/2014/main" id="{AC8CB376-0D43-6964-73B6-7C84C3266DD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88240" y="0"/>
            <a:ext cx="12192000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B0003DD6-2363-F278-3056-319B270F1E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097" y="452438"/>
            <a:ext cx="3126091" cy="84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352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id Boxes Light Teal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9C2D0E6-2E1C-4C6F-ABB0-4B9D7D5EA97C}"/>
              </a:ext>
            </a:extLst>
          </p:cNvPr>
          <p:cNvSpPr/>
          <p:nvPr userDrawn="1"/>
        </p:nvSpPr>
        <p:spPr>
          <a:xfrm>
            <a:off x="533399" y="6410325"/>
            <a:ext cx="1209675" cy="4476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Placeholder 8" descr="High angle view of a city&#10;&#10;Description automatically generated">
            <a:extLst>
              <a:ext uri="{FF2B5EF4-FFF2-40B4-BE49-F238E27FC236}">
                <a16:creationId xmlns:a16="http://schemas.microsoft.com/office/drawing/2014/main" id="{C377B5D2-96B1-8860-88FE-8E397DC49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74"/>
          <a:stretch/>
        </p:blipFill>
        <p:spPr>
          <a:xfrm>
            <a:off x="4062549" y="642258"/>
            <a:ext cx="7620000" cy="6215742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CC8142D-C617-20FB-6E6F-420FAED57B29}"/>
              </a:ext>
            </a:extLst>
          </p:cNvPr>
          <p:cNvSpPr/>
          <p:nvPr userDrawn="1"/>
        </p:nvSpPr>
        <p:spPr>
          <a:xfrm>
            <a:off x="-249381" y="3135084"/>
            <a:ext cx="6872250" cy="31481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B0C5B2-07C0-CCAA-A845-6600510BBC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3755571"/>
            <a:ext cx="5285232" cy="1668484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7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AC954117-14B3-7DDF-B972-F53023710D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5438345"/>
            <a:ext cx="5285232" cy="777397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72C10-8A03-23C7-A52E-671EACC898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790487E-3F52-79D5-69AF-8296369990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4" name="Picture 3" descr="A grid with blue lines&#10;&#10;Description automatically generated">
            <a:extLst>
              <a:ext uri="{FF2B5EF4-FFF2-40B4-BE49-F238E27FC236}">
                <a16:creationId xmlns:a16="http://schemas.microsoft.com/office/drawing/2014/main" id="{AC8CB376-0D43-6964-73B6-7C84C3266D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88240" y="0"/>
            <a:ext cx="12192000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E05CE1F5-8C6F-7CD9-E301-67C6C6A116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126091" cy="84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456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Whit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8" descr="High angle view of a city&#10;&#10;Description automatically generated">
            <a:extLst>
              <a:ext uri="{FF2B5EF4-FFF2-40B4-BE49-F238E27FC236}">
                <a16:creationId xmlns:a16="http://schemas.microsoft.com/office/drawing/2014/main" id="{C377B5D2-96B1-8860-88FE-8E397DC49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75" b="1"/>
          <a:stretch/>
        </p:blipFill>
        <p:spPr>
          <a:xfrm>
            <a:off x="4062549" y="642258"/>
            <a:ext cx="7620000" cy="6215742"/>
          </a:xfrm>
          <a:prstGeom prst="rect">
            <a:avLst/>
          </a:prstGeom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CC8142D-C617-20FB-6E6F-420FAED57B29}"/>
              </a:ext>
            </a:extLst>
          </p:cNvPr>
          <p:cNvSpPr/>
          <p:nvPr userDrawn="1"/>
        </p:nvSpPr>
        <p:spPr>
          <a:xfrm>
            <a:off x="-221673" y="3148938"/>
            <a:ext cx="6844541" cy="314814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B0C5B2-07C0-CCAA-A845-6600510BBC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3755571"/>
            <a:ext cx="5285232" cy="1668484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7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AC954117-14B3-7DDF-B972-F53023710D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097" y="5438345"/>
            <a:ext cx="5285232" cy="777397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72C10-8A03-23C7-A52E-671EACC898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790487E-3F52-79D5-69AF-8296369990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4" name="Picture 3" descr="A grid with blue lines&#10;&#10;Description automatically generated">
            <a:extLst>
              <a:ext uri="{FF2B5EF4-FFF2-40B4-BE49-F238E27FC236}">
                <a16:creationId xmlns:a16="http://schemas.microsoft.com/office/drawing/2014/main" id="{AC8CB376-0D43-6964-73B6-7C84C3266D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14366" y="13063"/>
            <a:ext cx="12192000" cy="68580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C7B7B703-9A7A-1DA2-4890-6CAF0F0B2B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126091" cy="84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5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959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4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9">
            <a:extLst>
              <a:ext uri="{FF2B5EF4-FFF2-40B4-BE49-F238E27FC236}">
                <a16:creationId xmlns:a16="http://schemas.microsoft.com/office/drawing/2014/main" id="{032F00F4-ED44-42FC-A068-C511DE61B1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6458" y="3628472"/>
            <a:ext cx="2274907" cy="2224683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noFill/>
            <a:miter lim="800000"/>
          </a:ln>
        </p:spPr>
        <p:txBody>
          <a:bodyPr tIns="46800" bIns="46800" anchor="t"/>
          <a:lstStyle>
            <a:lvl1pPr marL="0" indent="0" algn="ctr">
              <a:lnSpc>
                <a:spcPts val="1840"/>
              </a:lnSpc>
              <a:buNone/>
              <a:defRPr sz="1467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19">
            <a:extLst>
              <a:ext uri="{FF2B5EF4-FFF2-40B4-BE49-F238E27FC236}">
                <a16:creationId xmlns:a16="http://schemas.microsoft.com/office/drawing/2014/main" id="{B4E81326-FA7B-4002-8CC2-633D8C12DE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099370" y="1374140"/>
            <a:ext cx="2258488" cy="2269572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noFill/>
            <a:miter lim="800000"/>
          </a:ln>
        </p:spPr>
        <p:txBody>
          <a:bodyPr tIns="46800" bIns="46800" anchor="t"/>
          <a:lstStyle>
            <a:lvl1pPr marL="0" indent="0" algn="ctr">
              <a:lnSpc>
                <a:spcPts val="1840"/>
              </a:lnSpc>
              <a:buNone/>
              <a:defRPr sz="1467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19">
            <a:extLst>
              <a:ext uri="{FF2B5EF4-FFF2-40B4-BE49-F238E27FC236}">
                <a16:creationId xmlns:a16="http://schemas.microsoft.com/office/drawing/2014/main" id="{1337A2E9-74C0-4AEC-8423-0BF0A94763A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70786" y="1374140"/>
            <a:ext cx="2258096" cy="2269572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noFill/>
            <a:miter lim="800000"/>
          </a:ln>
        </p:spPr>
        <p:txBody>
          <a:bodyPr tIns="46800" bIns="46800" anchor="t"/>
          <a:lstStyle>
            <a:lvl1pPr marL="0" indent="0" algn="ctr">
              <a:lnSpc>
                <a:spcPts val="1840"/>
              </a:lnSpc>
              <a:buNone/>
              <a:defRPr sz="1467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1E6017B-D34C-4CD2-9DA6-BF7DFEC3388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569757" y="3641172"/>
            <a:ext cx="2258097" cy="2211983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noFill/>
            <a:miter lim="800000"/>
          </a:ln>
        </p:spPr>
        <p:txBody>
          <a:bodyPr tIns="46800" bIns="46800" anchor="t"/>
          <a:lstStyle>
            <a:lvl1pPr marL="0" indent="0" algn="ctr">
              <a:lnSpc>
                <a:spcPts val="1840"/>
              </a:lnSpc>
              <a:buNone/>
              <a:defRPr sz="1467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A83B394-8C5B-47CA-B64F-370BC9A8C1E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6846" y="1371600"/>
            <a:ext cx="2274519" cy="2269572"/>
          </a:xfrm>
          <a:prstGeom prst="rect">
            <a:avLst/>
          </a:prstGeom>
          <a:solidFill>
            <a:srgbClr val="E6E6E6"/>
          </a:solidFill>
          <a:ln w="15875">
            <a:noFill/>
            <a:miter lim="800000"/>
          </a:ln>
        </p:spPr>
        <p:txBody>
          <a:bodyPr lIns="182880" tIns="182880" rIns="182880" bIns="91440">
            <a:normAutofit/>
          </a:bodyPr>
          <a:lstStyle>
            <a:lvl1pPr marL="143996" indent="-143996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sz="1400">
                <a:solidFill>
                  <a:schemeClr val="tx2"/>
                </a:solidFill>
                <a:latin typeface="+mn-lt"/>
              </a:defRPr>
            </a:lvl1pPr>
            <a:lvl2pPr marL="304792" indent="-154513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sz="14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B8A24A3-F01B-4D1B-89D1-825CC6BE4DC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099370" y="3641172"/>
            <a:ext cx="2258488" cy="2211983"/>
          </a:xfrm>
          <a:prstGeom prst="rect">
            <a:avLst/>
          </a:prstGeom>
          <a:solidFill>
            <a:srgbClr val="E6E6E6"/>
          </a:solidFill>
          <a:ln w="15875">
            <a:noFill/>
            <a:miter lim="800000"/>
          </a:ln>
        </p:spPr>
        <p:txBody>
          <a:bodyPr lIns="182880" tIns="182880" rIns="182880" bIns="91440">
            <a:normAutofit/>
          </a:bodyPr>
          <a:lstStyle>
            <a:lvl1pPr marL="143996" indent="-143996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lang="en-US" sz="14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4792" indent="-154513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sz="1400">
                <a:solidFill>
                  <a:schemeClr val="tx2"/>
                </a:solidFill>
                <a:latin typeface="+mn-lt"/>
              </a:defRPr>
            </a:lvl2pPr>
          </a:lstStyle>
          <a:p>
            <a:pPr marL="143996" lvl="0" indent="-143996" algn="l" defTabSz="914377" rtl="0" eaLnBrk="1" latinLnBrk="0" hangingPunct="1">
              <a:lnSpc>
                <a:spcPts val="1733"/>
              </a:lnSpc>
              <a:spcBef>
                <a:spcPts val="0"/>
              </a:spcBef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329A41A-3489-4472-BA62-7E33078223D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569259" y="1374140"/>
            <a:ext cx="2258487" cy="2265685"/>
          </a:xfrm>
          <a:prstGeom prst="rect">
            <a:avLst/>
          </a:prstGeom>
          <a:solidFill>
            <a:srgbClr val="E6E6E6"/>
          </a:solidFill>
          <a:ln w="15875">
            <a:noFill/>
            <a:miter lim="800000"/>
          </a:ln>
        </p:spPr>
        <p:txBody>
          <a:bodyPr lIns="182880" tIns="182880" rIns="182880" bIns="91440">
            <a:normAutofit/>
          </a:bodyPr>
          <a:lstStyle>
            <a:lvl1pPr marL="143996" indent="-143996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lang="en-US" sz="14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4792" indent="-154513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sz="1400">
                <a:solidFill>
                  <a:schemeClr val="tx2"/>
                </a:solidFill>
                <a:latin typeface="+mn-lt"/>
              </a:defRPr>
            </a:lvl2pPr>
          </a:lstStyle>
          <a:p>
            <a:pPr marL="143996" lvl="0" indent="-143996" algn="l" defTabSz="914377" rtl="0" eaLnBrk="1" latinLnBrk="0" hangingPunct="1">
              <a:lnSpc>
                <a:spcPts val="1733"/>
              </a:lnSpc>
              <a:spcBef>
                <a:spcPts val="0"/>
              </a:spcBef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B7717AEA-E4A7-4900-AD9E-18AC7B4583F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070786" y="3639825"/>
            <a:ext cx="2258488" cy="2213330"/>
          </a:xfrm>
          <a:prstGeom prst="rect">
            <a:avLst/>
          </a:prstGeom>
          <a:solidFill>
            <a:srgbClr val="E6E6E6"/>
          </a:solidFill>
          <a:ln w="15875">
            <a:noFill/>
            <a:miter lim="800000"/>
          </a:ln>
        </p:spPr>
        <p:txBody>
          <a:bodyPr lIns="182880" tIns="182880" rIns="182880" bIns="91440">
            <a:normAutofit/>
          </a:bodyPr>
          <a:lstStyle>
            <a:lvl1pPr marL="143996" indent="-143996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lang="en-US" sz="14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4792" indent="-154513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sz="1400">
                <a:solidFill>
                  <a:schemeClr val="tx2"/>
                </a:solidFill>
                <a:latin typeface="+mn-lt"/>
              </a:defRPr>
            </a:lvl2pPr>
          </a:lstStyle>
          <a:p>
            <a:pPr marL="143996" lvl="0" indent="-143996" algn="l" defTabSz="914377" rtl="0" eaLnBrk="1" latinLnBrk="0" hangingPunct="1">
              <a:lnSpc>
                <a:spcPts val="1733"/>
              </a:lnSpc>
              <a:spcBef>
                <a:spcPts val="0"/>
              </a:spcBef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DA5C3CB-453D-D689-DBD2-CDF7F6E59B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AB15C621-0B83-2601-F0E7-8B2367DE3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4D49EB4C-827B-A947-A7DE-327B047CD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61567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Abstract Photo Dark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green object&#10;&#10;Description automatically generated">
            <a:extLst>
              <a:ext uri="{FF2B5EF4-FFF2-40B4-BE49-F238E27FC236}">
                <a16:creationId xmlns:a16="http://schemas.microsoft.com/office/drawing/2014/main" id="{F1C292E3-72AF-B75A-1228-E510FE1F7E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A2FD02-365F-DD57-9FD8-E68DD73FA1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B786649-AE2F-61AA-C253-9342B2907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80919C-140B-0266-2016-4E8AAD3A59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902124"/>
            <a:ext cx="50007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0EC7A5D-C60B-06C4-FE51-AA741A0AD8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433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Break Abstract Photo Dark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02FDB544-FCDF-B92C-02BB-D55E121F6B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A966117-D9A7-BF51-2CD1-72A8860CD821}"/>
              </a:ext>
            </a:extLst>
          </p:cNvPr>
          <p:cNvSpPr/>
          <p:nvPr userDrawn="1"/>
        </p:nvSpPr>
        <p:spPr>
          <a:xfrm rot="5400000">
            <a:off x="2665585" y="-2667002"/>
            <a:ext cx="6858000" cy="12192003"/>
          </a:xfrm>
          <a:prstGeom prst="rect">
            <a:avLst/>
          </a:prstGeom>
          <a:gradFill>
            <a:gsLst>
              <a:gs pos="0">
                <a:schemeClr val="tx1"/>
              </a:gs>
              <a:gs pos="46000">
                <a:schemeClr val="tx1">
                  <a:alpha val="56000"/>
                </a:schemeClr>
              </a:gs>
              <a:gs pos="100000">
                <a:schemeClr val="tx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A2FD02-365F-DD57-9FD8-E68DD73FA1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B786649-AE2F-61AA-C253-9342B2907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80919C-140B-0266-2016-4E8AAD3A59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902124"/>
            <a:ext cx="50007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A9BEFE7-9414-2C82-9FC6-C3BABF6E7CE7}"/>
              </a:ext>
            </a:extLst>
          </p:cNvPr>
          <p:cNvGrpSpPr/>
          <p:nvPr userDrawn="1"/>
        </p:nvGrpSpPr>
        <p:grpSpPr>
          <a:xfrm>
            <a:off x="609091" y="453130"/>
            <a:ext cx="3643324" cy="981336"/>
            <a:chOff x="2752724" y="1340236"/>
            <a:chExt cx="6765655" cy="1822342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245F576-9907-761F-23B7-467E4A1299E5}"/>
                </a:ext>
              </a:extLst>
            </p:cNvPr>
            <p:cNvSpPr/>
            <p:nvPr/>
          </p:nvSpPr>
          <p:spPr>
            <a:xfrm>
              <a:off x="2752724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5F7991A-2D6E-96D2-EB58-AC5AEF05AC1E}"/>
                </a:ext>
              </a:extLst>
            </p:cNvPr>
            <p:cNvSpPr/>
            <p:nvPr/>
          </p:nvSpPr>
          <p:spPr>
            <a:xfrm>
              <a:off x="3466614" y="1873968"/>
              <a:ext cx="782018" cy="719173"/>
            </a:xfrm>
            <a:custGeom>
              <a:avLst/>
              <a:gdLst>
                <a:gd name="connsiteX0" fmla="*/ 136075 w 782018"/>
                <a:gd name="connsiteY0" fmla="*/ 719173 h 719173"/>
                <a:gd name="connsiteX1" fmla="*/ 0 w 782018"/>
                <a:gd name="connsiteY1" fmla="*/ 719173 h 719173"/>
                <a:gd name="connsiteX2" fmla="*/ 248104 w 782018"/>
                <a:gd name="connsiteY2" fmla="*/ 91081 h 719173"/>
                <a:gd name="connsiteX3" fmla="*/ 396748 w 782018"/>
                <a:gd name="connsiteY3" fmla="*/ 0 h 719173"/>
                <a:gd name="connsiteX4" fmla="*/ 543387 w 782018"/>
                <a:gd name="connsiteY4" fmla="*/ 91081 h 719173"/>
                <a:gd name="connsiteX5" fmla="*/ 782019 w 782018"/>
                <a:gd name="connsiteY5" fmla="*/ 719173 h 719173"/>
                <a:gd name="connsiteX6" fmla="*/ 644851 w 782018"/>
                <a:gd name="connsiteY6" fmla="*/ 719173 h 719173"/>
                <a:gd name="connsiteX7" fmla="*/ 430265 w 782018"/>
                <a:gd name="connsiteY7" fmla="*/ 150830 h 719173"/>
                <a:gd name="connsiteX8" fmla="*/ 395655 w 782018"/>
                <a:gd name="connsiteY8" fmla="*/ 126784 h 719173"/>
                <a:gd name="connsiteX9" fmla="*/ 360133 w 782018"/>
                <a:gd name="connsiteY9" fmla="*/ 150830 h 719173"/>
                <a:gd name="connsiteX10" fmla="*/ 136075 w 782018"/>
                <a:gd name="connsiteY10" fmla="*/ 719173 h 719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2018" h="719173">
                  <a:moveTo>
                    <a:pt x="136075" y="719173"/>
                  </a:moveTo>
                  <a:lnTo>
                    <a:pt x="0" y="719173"/>
                  </a:lnTo>
                  <a:lnTo>
                    <a:pt x="248104" y="91081"/>
                  </a:lnTo>
                  <a:cubicBezTo>
                    <a:pt x="274335" y="25138"/>
                    <a:pt x="322426" y="0"/>
                    <a:pt x="396748" y="0"/>
                  </a:cubicBezTo>
                  <a:cubicBezTo>
                    <a:pt x="471069" y="0"/>
                    <a:pt x="518249" y="25138"/>
                    <a:pt x="543387" y="91081"/>
                  </a:cubicBezTo>
                  <a:lnTo>
                    <a:pt x="782019" y="719173"/>
                  </a:lnTo>
                  <a:lnTo>
                    <a:pt x="644851" y="719173"/>
                  </a:lnTo>
                  <a:lnTo>
                    <a:pt x="430265" y="150830"/>
                  </a:lnTo>
                  <a:cubicBezTo>
                    <a:pt x="424072" y="134071"/>
                    <a:pt x="412413" y="126784"/>
                    <a:pt x="395655" y="126784"/>
                  </a:cubicBezTo>
                  <a:cubicBezTo>
                    <a:pt x="378896" y="126784"/>
                    <a:pt x="367420" y="134071"/>
                    <a:pt x="360133" y="150830"/>
                  </a:cubicBezTo>
                  <a:lnTo>
                    <a:pt x="136075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425221F-FBBA-F09D-5E3B-5E3AEA30F8B6}"/>
                </a:ext>
              </a:extLst>
            </p:cNvPr>
            <p:cNvSpPr/>
            <p:nvPr/>
          </p:nvSpPr>
          <p:spPr>
            <a:xfrm>
              <a:off x="5026280" y="1886355"/>
              <a:ext cx="634103" cy="706604"/>
            </a:xfrm>
            <a:custGeom>
              <a:avLst/>
              <a:gdLst>
                <a:gd name="connsiteX0" fmla="*/ 123323 w 634103"/>
                <a:gd name="connsiteY0" fmla="*/ 182 h 706604"/>
                <a:gd name="connsiteX1" fmla="*/ 123323 w 634103"/>
                <a:gd name="connsiteY1" fmla="*/ 299473 h 706604"/>
                <a:gd name="connsiteX2" fmla="*/ 191269 w 634103"/>
                <a:gd name="connsiteY2" fmla="*/ 299473 h 706604"/>
                <a:gd name="connsiteX3" fmla="*/ 372338 w 634103"/>
                <a:gd name="connsiteY3" fmla="*/ 211489 h 706604"/>
                <a:gd name="connsiteX4" fmla="*/ 480177 w 634103"/>
                <a:gd name="connsiteY4" fmla="*/ 0 h 706604"/>
                <a:gd name="connsiteX5" fmla="*/ 613155 w 634103"/>
                <a:gd name="connsiteY5" fmla="*/ 0 h 706604"/>
                <a:gd name="connsiteX6" fmla="*/ 502219 w 634103"/>
                <a:gd name="connsiteY6" fmla="*/ 219869 h 706604"/>
                <a:gd name="connsiteX7" fmla="*/ 379807 w 634103"/>
                <a:gd name="connsiteY7" fmla="*/ 348657 h 706604"/>
                <a:gd name="connsiteX8" fmla="*/ 520071 w 634103"/>
                <a:gd name="connsiteY8" fmla="*/ 484732 h 706604"/>
                <a:gd name="connsiteX9" fmla="*/ 634104 w 634103"/>
                <a:gd name="connsiteY9" fmla="*/ 706604 h 706604"/>
                <a:gd name="connsiteX10" fmla="*/ 496025 w 634103"/>
                <a:gd name="connsiteY10" fmla="*/ 706604 h 706604"/>
                <a:gd name="connsiteX11" fmla="*/ 388186 w 634103"/>
                <a:gd name="connsiteY11" fmla="*/ 497301 h 706604"/>
                <a:gd name="connsiteX12" fmla="*/ 191452 w 634103"/>
                <a:gd name="connsiteY12" fmla="*/ 411503 h 706604"/>
                <a:gd name="connsiteX13" fmla="*/ 123505 w 634103"/>
                <a:gd name="connsiteY13" fmla="*/ 411503 h 706604"/>
                <a:gd name="connsiteX14" fmla="*/ 123505 w 634103"/>
                <a:gd name="connsiteY14" fmla="*/ 706604 h 706604"/>
                <a:gd name="connsiteX15" fmla="*/ 0 w 634103"/>
                <a:gd name="connsiteY15" fmla="*/ 706604 h 706604"/>
                <a:gd name="connsiteX16" fmla="*/ 0 w 634103"/>
                <a:gd name="connsiteY16" fmla="*/ 182 h 706604"/>
                <a:gd name="connsiteX17" fmla="*/ 123505 w 634103"/>
                <a:gd name="connsiteY17" fmla="*/ 182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4103" h="706604">
                  <a:moveTo>
                    <a:pt x="123323" y="182"/>
                  </a:moveTo>
                  <a:lnTo>
                    <a:pt x="123323" y="299473"/>
                  </a:lnTo>
                  <a:lnTo>
                    <a:pt x="191269" y="299473"/>
                  </a:lnTo>
                  <a:cubicBezTo>
                    <a:pt x="312771" y="299473"/>
                    <a:pt x="332627" y="289090"/>
                    <a:pt x="372338" y="211489"/>
                  </a:cubicBezTo>
                  <a:lnTo>
                    <a:pt x="480177" y="0"/>
                  </a:lnTo>
                  <a:lnTo>
                    <a:pt x="613155" y="0"/>
                  </a:lnTo>
                  <a:lnTo>
                    <a:pt x="502219" y="219869"/>
                  </a:lnTo>
                  <a:cubicBezTo>
                    <a:pt x="470887" y="282715"/>
                    <a:pt x="437370" y="323519"/>
                    <a:pt x="379807" y="348657"/>
                  </a:cubicBezTo>
                  <a:cubicBezTo>
                    <a:pt x="445749" y="366509"/>
                    <a:pt x="478174" y="403123"/>
                    <a:pt x="520071" y="484732"/>
                  </a:cubicBezTo>
                  <a:lnTo>
                    <a:pt x="634104" y="706604"/>
                  </a:lnTo>
                  <a:lnTo>
                    <a:pt x="496025" y="706604"/>
                  </a:lnTo>
                  <a:lnTo>
                    <a:pt x="388186" y="497301"/>
                  </a:lnTo>
                  <a:cubicBezTo>
                    <a:pt x="349386" y="421886"/>
                    <a:pt x="324247" y="411503"/>
                    <a:pt x="191452" y="411503"/>
                  </a:cubicBez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182"/>
                  </a:lnTo>
                  <a:lnTo>
                    <a:pt x="123505" y="182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7C44F32-EC29-7CD9-1060-4CD312E70ED3}"/>
                </a:ext>
              </a:extLst>
            </p:cNvPr>
            <p:cNvSpPr/>
            <p:nvPr/>
          </p:nvSpPr>
          <p:spPr>
            <a:xfrm>
              <a:off x="5468932" y="1893460"/>
              <a:ext cx="1035223" cy="1269118"/>
            </a:xfrm>
            <a:custGeom>
              <a:avLst/>
              <a:gdLst>
                <a:gd name="connsiteX0" fmla="*/ 136075 w 1035223"/>
                <a:gd name="connsiteY0" fmla="*/ 1269119 h 1269118"/>
                <a:gd name="connsiteX1" fmla="*/ 0 w 1035223"/>
                <a:gd name="connsiteY1" fmla="*/ 1269119 h 1269118"/>
                <a:gd name="connsiteX2" fmla="*/ 501308 w 1035223"/>
                <a:gd name="connsiteY2" fmla="*/ 91081 h 1269118"/>
                <a:gd name="connsiteX3" fmla="*/ 649952 w 1035223"/>
                <a:gd name="connsiteY3" fmla="*/ 0 h 1269118"/>
                <a:gd name="connsiteX4" fmla="*/ 796592 w 1035223"/>
                <a:gd name="connsiteY4" fmla="*/ 91081 h 1269118"/>
                <a:gd name="connsiteX5" fmla="*/ 1035223 w 1035223"/>
                <a:gd name="connsiteY5" fmla="*/ 719173 h 1269118"/>
                <a:gd name="connsiteX6" fmla="*/ 898056 w 1035223"/>
                <a:gd name="connsiteY6" fmla="*/ 719173 h 1269118"/>
                <a:gd name="connsiteX7" fmla="*/ 683470 w 1035223"/>
                <a:gd name="connsiteY7" fmla="*/ 150830 h 1269118"/>
                <a:gd name="connsiteX8" fmla="*/ 648859 w 1035223"/>
                <a:gd name="connsiteY8" fmla="*/ 126784 h 1269118"/>
                <a:gd name="connsiteX9" fmla="*/ 613337 w 1035223"/>
                <a:gd name="connsiteY9" fmla="*/ 150830 h 1269118"/>
                <a:gd name="connsiteX10" fmla="*/ 136075 w 1035223"/>
                <a:gd name="connsiteY10" fmla="*/ 1269119 h 126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5223" h="1269118">
                  <a:moveTo>
                    <a:pt x="136075" y="1269119"/>
                  </a:moveTo>
                  <a:lnTo>
                    <a:pt x="0" y="1269119"/>
                  </a:lnTo>
                  <a:lnTo>
                    <a:pt x="501308" y="91081"/>
                  </a:lnTo>
                  <a:cubicBezTo>
                    <a:pt x="527540" y="25138"/>
                    <a:pt x="575630" y="0"/>
                    <a:pt x="649952" y="0"/>
                  </a:cubicBezTo>
                  <a:cubicBezTo>
                    <a:pt x="724274" y="0"/>
                    <a:pt x="771454" y="25138"/>
                    <a:pt x="796592" y="91081"/>
                  </a:cubicBezTo>
                  <a:lnTo>
                    <a:pt x="1035223" y="719173"/>
                  </a:lnTo>
                  <a:lnTo>
                    <a:pt x="898056" y="719173"/>
                  </a:lnTo>
                  <a:lnTo>
                    <a:pt x="683470" y="150830"/>
                  </a:lnTo>
                  <a:cubicBezTo>
                    <a:pt x="677276" y="134071"/>
                    <a:pt x="665618" y="126784"/>
                    <a:pt x="648859" y="126784"/>
                  </a:cubicBezTo>
                  <a:cubicBezTo>
                    <a:pt x="632100" y="126784"/>
                    <a:pt x="620624" y="134071"/>
                    <a:pt x="613337" y="150830"/>
                  </a:cubicBezTo>
                  <a:lnTo>
                    <a:pt x="136075" y="1269119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69A742-6059-9FB7-D11E-419D57866646}"/>
                </a:ext>
              </a:extLst>
            </p:cNvPr>
            <p:cNvSpPr/>
            <p:nvPr/>
          </p:nvSpPr>
          <p:spPr>
            <a:xfrm>
              <a:off x="6481021" y="1886538"/>
              <a:ext cx="537011" cy="706421"/>
            </a:xfrm>
            <a:custGeom>
              <a:avLst/>
              <a:gdLst>
                <a:gd name="connsiteX0" fmla="*/ 537012 w 537011"/>
                <a:gd name="connsiteY0" fmla="*/ 0 h 706421"/>
                <a:gd name="connsiteX1" fmla="*/ 537012 w 537011"/>
                <a:gd name="connsiteY1" fmla="*/ 123505 h 706421"/>
                <a:gd name="connsiteX2" fmla="*/ 330805 w 537011"/>
                <a:gd name="connsiteY2" fmla="*/ 123505 h 706421"/>
                <a:gd name="connsiteX3" fmla="*/ 330805 w 537011"/>
                <a:gd name="connsiteY3" fmla="*/ 706422 h 706421"/>
                <a:gd name="connsiteX4" fmla="*/ 206207 w 537011"/>
                <a:gd name="connsiteY4" fmla="*/ 706422 h 706421"/>
                <a:gd name="connsiteX5" fmla="*/ 206207 w 537011"/>
                <a:gd name="connsiteY5" fmla="*/ 123505 h 706421"/>
                <a:gd name="connsiteX6" fmla="*/ 0 w 537011"/>
                <a:gd name="connsiteY6" fmla="*/ 123505 h 706421"/>
                <a:gd name="connsiteX7" fmla="*/ 0 w 537011"/>
                <a:gd name="connsiteY7" fmla="*/ 0 h 706421"/>
                <a:gd name="connsiteX8" fmla="*/ 537012 w 537011"/>
                <a:gd name="connsiteY8" fmla="*/ 0 h 70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011" h="706421">
                  <a:moveTo>
                    <a:pt x="537012" y="0"/>
                  </a:moveTo>
                  <a:lnTo>
                    <a:pt x="537012" y="123505"/>
                  </a:lnTo>
                  <a:lnTo>
                    <a:pt x="330805" y="123505"/>
                  </a:lnTo>
                  <a:lnTo>
                    <a:pt x="330805" y="706422"/>
                  </a:lnTo>
                  <a:lnTo>
                    <a:pt x="206207" y="706422"/>
                  </a:lnTo>
                  <a:lnTo>
                    <a:pt x="206207" y="123505"/>
                  </a:lnTo>
                  <a:lnTo>
                    <a:pt x="0" y="123505"/>
                  </a:lnTo>
                  <a:lnTo>
                    <a:pt x="0" y="0"/>
                  </a:lnTo>
                  <a:lnTo>
                    <a:pt x="537012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D66573D-7E10-6471-D4D8-44305DEB87A3}"/>
                </a:ext>
              </a:extLst>
            </p:cNvPr>
            <p:cNvSpPr/>
            <p:nvPr/>
          </p:nvSpPr>
          <p:spPr>
            <a:xfrm>
              <a:off x="7134252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2C7B3EF-253A-F553-CFFC-9ECCC5091F59}"/>
                </a:ext>
              </a:extLst>
            </p:cNvPr>
            <p:cNvSpPr/>
            <p:nvPr/>
          </p:nvSpPr>
          <p:spPr>
            <a:xfrm>
              <a:off x="8766964" y="1873968"/>
              <a:ext cx="751415" cy="731742"/>
            </a:xfrm>
            <a:custGeom>
              <a:avLst/>
              <a:gdLst>
                <a:gd name="connsiteX0" fmla="*/ 123505 w 751415"/>
                <a:gd name="connsiteY0" fmla="*/ 719173 h 731742"/>
                <a:gd name="connsiteX1" fmla="*/ 0 w 751415"/>
                <a:gd name="connsiteY1" fmla="*/ 719173 h 731742"/>
                <a:gd name="connsiteX2" fmla="*/ 0 w 751415"/>
                <a:gd name="connsiteY2" fmla="*/ 153926 h 731742"/>
                <a:gd name="connsiteX3" fmla="*/ 162124 w 751415"/>
                <a:gd name="connsiteY3" fmla="*/ 0 h 731742"/>
                <a:gd name="connsiteX4" fmla="*/ 333720 w 751415"/>
                <a:gd name="connsiteY4" fmla="*/ 130792 h 731742"/>
                <a:gd name="connsiteX5" fmla="*/ 539926 w 751415"/>
                <a:gd name="connsiteY5" fmla="*/ 582006 h 731742"/>
                <a:gd name="connsiteX6" fmla="*/ 584920 w 751415"/>
                <a:gd name="connsiteY6" fmla="*/ 611334 h 731742"/>
                <a:gd name="connsiteX7" fmla="*/ 626817 w 751415"/>
                <a:gd name="connsiteY7" fmla="*/ 571623 h 731742"/>
                <a:gd name="connsiteX8" fmla="*/ 626817 w 751415"/>
                <a:gd name="connsiteY8" fmla="*/ 12751 h 731742"/>
                <a:gd name="connsiteX9" fmla="*/ 751416 w 751415"/>
                <a:gd name="connsiteY9" fmla="*/ 12751 h 731742"/>
                <a:gd name="connsiteX10" fmla="*/ 751416 w 751415"/>
                <a:gd name="connsiteY10" fmla="*/ 576905 h 731742"/>
                <a:gd name="connsiteX11" fmla="*/ 589110 w 751415"/>
                <a:gd name="connsiteY11" fmla="*/ 731742 h 731742"/>
                <a:gd name="connsiteX12" fmla="*/ 416421 w 751415"/>
                <a:gd name="connsiteY12" fmla="*/ 600951 h 731742"/>
                <a:gd name="connsiteX13" fmla="*/ 210214 w 751415"/>
                <a:gd name="connsiteY13" fmla="*/ 149919 h 731742"/>
                <a:gd name="connsiteX14" fmla="*/ 166313 w 751415"/>
                <a:gd name="connsiteY14" fmla="*/ 119498 h 731742"/>
                <a:gd name="connsiteX15" fmla="*/ 123323 w 751415"/>
                <a:gd name="connsiteY15" fmla="*/ 160302 h 731742"/>
                <a:gd name="connsiteX16" fmla="*/ 123323 w 751415"/>
                <a:gd name="connsiteY16" fmla="*/ 719173 h 73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51415" h="731742">
                  <a:moveTo>
                    <a:pt x="123505" y="719173"/>
                  </a:moveTo>
                  <a:lnTo>
                    <a:pt x="0" y="719173"/>
                  </a:lnTo>
                  <a:lnTo>
                    <a:pt x="0" y="153926"/>
                  </a:lnTo>
                  <a:cubicBezTo>
                    <a:pt x="0" y="61753"/>
                    <a:pt x="52280" y="0"/>
                    <a:pt x="162124" y="0"/>
                  </a:cubicBezTo>
                  <a:cubicBezTo>
                    <a:pt x="260491" y="0"/>
                    <a:pt x="304574" y="50277"/>
                    <a:pt x="333720" y="130792"/>
                  </a:cubicBezTo>
                  <a:lnTo>
                    <a:pt x="539926" y="582006"/>
                  </a:lnTo>
                  <a:cubicBezTo>
                    <a:pt x="548306" y="598765"/>
                    <a:pt x="561968" y="611334"/>
                    <a:pt x="584920" y="611334"/>
                  </a:cubicBezTo>
                  <a:cubicBezTo>
                    <a:pt x="611151" y="611334"/>
                    <a:pt x="626817" y="595668"/>
                    <a:pt x="626817" y="571623"/>
                  </a:cubicBezTo>
                  <a:lnTo>
                    <a:pt x="626817" y="12751"/>
                  </a:lnTo>
                  <a:lnTo>
                    <a:pt x="751416" y="12751"/>
                  </a:lnTo>
                  <a:lnTo>
                    <a:pt x="751416" y="576905"/>
                  </a:lnTo>
                  <a:cubicBezTo>
                    <a:pt x="751416" y="669990"/>
                    <a:pt x="698043" y="731742"/>
                    <a:pt x="589110" y="731742"/>
                  </a:cubicBezTo>
                  <a:cubicBezTo>
                    <a:pt x="490743" y="731742"/>
                    <a:pt x="445749" y="681466"/>
                    <a:pt x="416421" y="600951"/>
                  </a:cubicBezTo>
                  <a:lnTo>
                    <a:pt x="210214" y="149919"/>
                  </a:lnTo>
                  <a:cubicBezTo>
                    <a:pt x="200742" y="128970"/>
                    <a:pt x="188172" y="119498"/>
                    <a:pt x="166313" y="119498"/>
                  </a:cubicBezTo>
                  <a:cubicBezTo>
                    <a:pt x="138078" y="119498"/>
                    <a:pt x="123323" y="135164"/>
                    <a:pt x="123323" y="160302"/>
                  </a:cubicBezTo>
                  <a:lnTo>
                    <a:pt x="123323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164770F-8658-7C86-F5A9-C8C1E76A666E}"/>
                </a:ext>
              </a:extLst>
            </p:cNvPr>
            <p:cNvSpPr/>
            <p:nvPr/>
          </p:nvSpPr>
          <p:spPr>
            <a:xfrm>
              <a:off x="7906069" y="1886538"/>
              <a:ext cx="734839" cy="706604"/>
            </a:xfrm>
            <a:custGeom>
              <a:avLst/>
              <a:gdLst>
                <a:gd name="connsiteX0" fmla="*/ 415510 w 734839"/>
                <a:gd name="connsiteY0" fmla="*/ 0 h 706604"/>
                <a:gd name="connsiteX1" fmla="*/ 319147 w 734839"/>
                <a:gd name="connsiteY1" fmla="*/ 0 h 706604"/>
                <a:gd name="connsiteX2" fmla="*/ 0 w 734839"/>
                <a:gd name="connsiteY2" fmla="*/ 354850 h 706604"/>
                <a:gd name="connsiteX3" fmla="*/ 319147 w 734839"/>
                <a:gd name="connsiteY3" fmla="*/ 706604 h 706604"/>
                <a:gd name="connsiteX4" fmla="*/ 415510 w 734839"/>
                <a:gd name="connsiteY4" fmla="*/ 706604 h 706604"/>
                <a:gd name="connsiteX5" fmla="*/ 734839 w 734839"/>
                <a:gd name="connsiteY5" fmla="*/ 354850 h 706604"/>
                <a:gd name="connsiteX6" fmla="*/ 415510 w 734839"/>
                <a:gd name="connsiteY6" fmla="*/ 0 h 706604"/>
                <a:gd name="connsiteX7" fmla="*/ 415510 w 734839"/>
                <a:gd name="connsiteY7" fmla="*/ 583099 h 706604"/>
                <a:gd name="connsiteX8" fmla="*/ 319147 w 734839"/>
                <a:gd name="connsiteY8" fmla="*/ 583099 h 706604"/>
                <a:gd name="connsiteX9" fmla="*/ 123324 w 734839"/>
                <a:gd name="connsiteY9" fmla="*/ 355033 h 706604"/>
                <a:gd name="connsiteX10" fmla="*/ 319147 w 734839"/>
                <a:gd name="connsiteY10" fmla="*/ 123688 h 706604"/>
                <a:gd name="connsiteX11" fmla="*/ 415510 w 734839"/>
                <a:gd name="connsiteY11" fmla="*/ 123688 h 706604"/>
                <a:gd name="connsiteX12" fmla="*/ 610241 w 734839"/>
                <a:gd name="connsiteY12" fmla="*/ 353940 h 706604"/>
                <a:gd name="connsiteX13" fmla="*/ 415510 w 734839"/>
                <a:gd name="connsiteY13" fmla="*/ 583099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839" h="706604">
                  <a:moveTo>
                    <a:pt x="415510" y="0"/>
                  </a:moveTo>
                  <a:lnTo>
                    <a:pt x="319147" y="0"/>
                  </a:lnTo>
                  <a:cubicBezTo>
                    <a:pt x="114033" y="0"/>
                    <a:pt x="0" y="117130"/>
                    <a:pt x="0" y="354850"/>
                  </a:cubicBezTo>
                  <a:cubicBezTo>
                    <a:pt x="0" y="592571"/>
                    <a:pt x="113122" y="706604"/>
                    <a:pt x="319147" y="706604"/>
                  </a:cubicBezTo>
                  <a:lnTo>
                    <a:pt x="415510" y="706604"/>
                  </a:lnTo>
                  <a:cubicBezTo>
                    <a:pt x="621717" y="706604"/>
                    <a:pt x="734839" y="591478"/>
                    <a:pt x="734839" y="354850"/>
                  </a:cubicBezTo>
                  <a:cubicBezTo>
                    <a:pt x="734839" y="118223"/>
                    <a:pt x="620806" y="0"/>
                    <a:pt x="415510" y="0"/>
                  </a:cubicBezTo>
                  <a:close/>
                  <a:moveTo>
                    <a:pt x="415510" y="583099"/>
                  </a:moveTo>
                  <a:lnTo>
                    <a:pt x="319147" y="583099"/>
                  </a:lnTo>
                  <a:cubicBezTo>
                    <a:pt x="181980" y="583099"/>
                    <a:pt x="123324" y="516063"/>
                    <a:pt x="123324" y="355033"/>
                  </a:cubicBezTo>
                  <a:cubicBezTo>
                    <a:pt x="123324" y="194002"/>
                    <a:pt x="183073" y="123688"/>
                    <a:pt x="319147" y="123688"/>
                  </a:cubicBezTo>
                  <a:lnTo>
                    <a:pt x="415510" y="123688"/>
                  </a:lnTo>
                  <a:cubicBezTo>
                    <a:pt x="551585" y="123688"/>
                    <a:pt x="610241" y="192727"/>
                    <a:pt x="610241" y="353940"/>
                  </a:cubicBezTo>
                  <a:cubicBezTo>
                    <a:pt x="610241" y="515152"/>
                    <a:pt x="551585" y="583099"/>
                    <a:pt x="415510" y="583099"/>
                  </a:cubicBez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1500CA-7733-CFB3-0E91-1A56612251AE}"/>
                </a:ext>
              </a:extLst>
            </p:cNvPr>
            <p:cNvGrpSpPr/>
            <p:nvPr userDrawn="1"/>
          </p:nvGrpSpPr>
          <p:grpSpPr>
            <a:xfrm>
              <a:off x="2752724" y="1340236"/>
              <a:ext cx="6742703" cy="1822342"/>
              <a:chOff x="2752724" y="1340236"/>
              <a:chExt cx="6742703" cy="1822342"/>
            </a:xfrm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EAD20BC4-37DB-0585-3132-D9E26C8B177A}"/>
                  </a:ext>
                </a:extLst>
              </p:cNvPr>
              <p:cNvSpPr/>
              <p:nvPr/>
            </p:nvSpPr>
            <p:spPr>
              <a:xfrm>
                <a:off x="4281604" y="1938818"/>
                <a:ext cx="601496" cy="618437"/>
              </a:xfrm>
              <a:custGeom>
                <a:avLst/>
                <a:gdLst>
                  <a:gd name="connsiteX0" fmla="*/ 601497 w 601496"/>
                  <a:gd name="connsiteY0" fmla="*/ 0 h 618437"/>
                  <a:gd name="connsiteX1" fmla="*/ 58110 w 601496"/>
                  <a:gd name="connsiteY1" fmla="*/ 214586 h 618437"/>
                  <a:gd name="connsiteX2" fmla="*/ 0 w 601496"/>
                  <a:gd name="connsiteY2" fmla="*/ 309857 h 618437"/>
                  <a:gd name="connsiteX3" fmla="*/ 58292 w 601496"/>
                  <a:gd name="connsiteY3" fmla="*/ 405127 h 618437"/>
                  <a:gd name="connsiteX4" fmla="*/ 601497 w 601496"/>
                  <a:gd name="connsiteY4" fmla="*/ 618438 h 618437"/>
                  <a:gd name="connsiteX5" fmla="*/ 601497 w 601496"/>
                  <a:gd name="connsiteY5" fmla="*/ 495479 h 618437"/>
                  <a:gd name="connsiteX6" fmla="*/ 122048 w 601496"/>
                  <a:gd name="connsiteY6" fmla="*/ 309857 h 618437"/>
                  <a:gd name="connsiteX7" fmla="*/ 601497 w 601496"/>
                  <a:gd name="connsiteY7" fmla="*/ 124052 h 618437"/>
                  <a:gd name="connsiteX8" fmla="*/ 601497 w 601496"/>
                  <a:gd name="connsiteY8" fmla="*/ 0 h 61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1496" h="618437">
                    <a:moveTo>
                      <a:pt x="601497" y="0"/>
                    </a:moveTo>
                    <a:lnTo>
                      <a:pt x="58110" y="214586"/>
                    </a:lnTo>
                    <a:cubicBezTo>
                      <a:pt x="18580" y="230616"/>
                      <a:pt x="0" y="261037"/>
                      <a:pt x="0" y="309857"/>
                    </a:cubicBezTo>
                    <a:cubicBezTo>
                      <a:pt x="0" y="358676"/>
                      <a:pt x="19127" y="390554"/>
                      <a:pt x="58292" y="405127"/>
                    </a:cubicBezTo>
                    <a:lnTo>
                      <a:pt x="601497" y="618438"/>
                    </a:lnTo>
                    <a:lnTo>
                      <a:pt x="601497" y="495479"/>
                    </a:lnTo>
                    <a:lnTo>
                      <a:pt x="122048" y="309857"/>
                    </a:lnTo>
                    <a:lnTo>
                      <a:pt x="601497" y="124052"/>
                    </a:lnTo>
                    <a:lnTo>
                      <a:pt x="60149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0" name="Graphic 5">
                <a:extLst>
                  <a:ext uri="{FF2B5EF4-FFF2-40B4-BE49-F238E27FC236}">
                    <a16:creationId xmlns:a16="http://schemas.microsoft.com/office/drawing/2014/main" id="{10492B6B-B81B-08E2-8E4E-0FD22FACA118}"/>
                  </a:ext>
                </a:extLst>
              </p:cNvPr>
              <p:cNvGrpSpPr/>
              <p:nvPr/>
            </p:nvGrpSpPr>
            <p:grpSpPr>
              <a:xfrm>
                <a:off x="5771867" y="2752351"/>
                <a:ext cx="3723560" cy="410227"/>
                <a:chOff x="5771867" y="2752351"/>
                <a:chExt cx="3723560" cy="410227"/>
              </a:xfrm>
              <a:solidFill>
                <a:schemeClr val="accent2"/>
              </a:solidFill>
            </p:grpSpPr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7CBC3FF9-55B7-54FE-80DE-5D7615425ACB}"/>
                    </a:ext>
                  </a:extLst>
                </p:cNvPr>
                <p:cNvSpPr/>
                <p:nvPr/>
              </p:nvSpPr>
              <p:spPr>
                <a:xfrm>
                  <a:off x="5771867" y="2752351"/>
                  <a:ext cx="623902" cy="410227"/>
                </a:xfrm>
                <a:custGeom>
                  <a:avLst/>
                  <a:gdLst>
                    <a:gd name="connsiteX0" fmla="*/ 73957 w 623902"/>
                    <a:gd name="connsiteY0" fmla="*/ 403305 h 410227"/>
                    <a:gd name="connsiteX1" fmla="*/ 0 w 623902"/>
                    <a:gd name="connsiteY1" fmla="*/ 403305 h 410227"/>
                    <a:gd name="connsiteX2" fmla="*/ 122777 w 623902"/>
                    <a:gd name="connsiteY2" fmla="*/ 73411 h 410227"/>
                    <a:gd name="connsiteX3" fmla="*/ 216043 w 623902"/>
                    <a:gd name="connsiteY3" fmla="*/ 0 h 410227"/>
                    <a:gd name="connsiteX4" fmla="*/ 304027 w 623902"/>
                    <a:gd name="connsiteY4" fmla="*/ 86345 h 410227"/>
                    <a:gd name="connsiteX5" fmla="*/ 304027 w 623902"/>
                    <a:gd name="connsiteY5" fmla="*/ 320604 h 410227"/>
                    <a:gd name="connsiteX6" fmla="*/ 324065 w 623902"/>
                    <a:gd name="connsiteY6" fmla="*/ 342828 h 410227"/>
                    <a:gd name="connsiteX7" fmla="*/ 346289 w 623902"/>
                    <a:gd name="connsiteY7" fmla="*/ 326251 h 410227"/>
                    <a:gd name="connsiteX8" fmla="*/ 442652 w 623902"/>
                    <a:gd name="connsiteY8" fmla="*/ 73411 h 410227"/>
                    <a:gd name="connsiteX9" fmla="*/ 535919 w 623902"/>
                    <a:gd name="connsiteY9" fmla="*/ 0 h 410227"/>
                    <a:gd name="connsiteX10" fmla="*/ 623903 w 623902"/>
                    <a:gd name="connsiteY10" fmla="*/ 86345 h 410227"/>
                    <a:gd name="connsiteX11" fmla="*/ 623903 w 623902"/>
                    <a:gd name="connsiteY11" fmla="*/ 403305 h 410227"/>
                    <a:gd name="connsiteX12" fmla="*/ 553953 w 623902"/>
                    <a:gd name="connsiteY12" fmla="*/ 403305 h 410227"/>
                    <a:gd name="connsiteX13" fmla="*/ 553953 w 623902"/>
                    <a:gd name="connsiteY13" fmla="*/ 89806 h 410227"/>
                    <a:gd name="connsiteX14" fmla="*/ 534097 w 623902"/>
                    <a:gd name="connsiteY14" fmla="*/ 66853 h 410227"/>
                    <a:gd name="connsiteX15" fmla="*/ 512420 w 623902"/>
                    <a:gd name="connsiteY15" fmla="*/ 83794 h 410227"/>
                    <a:gd name="connsiteX16" fmla="*/ 416057 w 623902"/>
                    <a:gd name="connsiteY16" fmla="*/ 336817 h 410227"/>
                    <a:gd name="connsiteX17" fmla="*/ 322061 w 623902"/>
                    <a:gd name="connsiteY17" fmla="*/ 410228 h 410227"/>
                    <a:gd name="connsiteX18" fmla="*/ 234624 w 623902"/>
                    <a:gd name="connsiteY18" fmla="*/ 323337 h 410227"/>
                    <a:gd name="connsiteX19" fmla="*/ 234624 w 623902"/>
                    <a:gd name="connsiteY19" fmla="*/ 89806 h 410227"/>
                    <a:gd name="connsiteX20" fmla="*/ 214040 w 623902"/>
                    <a:gd name="connsiteY20" fmla="*/ 66853 h 410227"/>
                    <a:gd name="connsiteX21" fmla="*/ 192362 w 623902"/>
                    <a:gd name="connsiteY21" fmla="*/ 83794 h 410227"/>
                    <a:gd name="connsiteX22" fmla="*/ 73775 w 623902"/>
                    <a:gd name="connsiteY22" fmla="*/ 403123 h 410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623902" h="410227">
                      <a:moveTo>
                        <a:pt x="73957" y="403305"/>
                      </a:moveTo>
                      <a:lnTo>
                        <a:pt x="0" y="403305"/>
                      </a:lnTo>
                      <a:lnTo>
                        <a:pt x="122777" y="73411"/>
                      </a:lnTo>
                      <a:cubicBezTo>
                        <a:pt x="137896" y="28235"/>
                        <a:pt x="163216" y="0"/>
                        <a:pt x="216043" y="0"/>
                      </a:cubicBezTo>
                      <a:cubicBezTo>
                        <a:pt x="274699" y="0"/>
                        <a:pt x="304027" y="34611"/>
                        <a:pt x="304027" y="86345"/>
                      </a:cubicBezTo>
                      <a:lnTo>
                        <a:pt x="304027" y="320604"/>
                      </a:lnTo>
                      <a:cubicBezTo>
                        <a:pt x="304027" y="334084"/>
                        <a:pt x="312225" y="342828"/>
                        <a:pt x="324065" y="342828"/>
                      </a:cubicBezTo>
                      <a:cubicBezTo>
                        <a:pt x="334630" y="342828"/>
                        <a:pt x="342828" y="336452"/>
                        <a:pt x="346289" y="326251"/>
                      </a:cubicBezTo>
                      <a:lnTo>
                        <a:pt x="442652" y="73411"/>
                      </a:lnTo>
                      <a:cubicBezTo>
                        <a:pt x="457954" y="28235"/>
                        <a:pt x="483092" y="0"/>
                        <a:pt x="535919" y="0"/>
                      </a:cubicBezTo>
                      <a:cubicBezTo>
                        <a:pt x="594575" y="0"/>
                        <a:pt x="623903" y="34611"/>
                        <a:pt x="623903" y="86345"/>
                      </a:cubicBezTo>
                      <a:lnTo>
                        <a:pt x="623903" y="403305"/>
                      </a:lnTo>
                      <a:lnTo>
                        <a:pt x="553953" y="403305"/>
                      </a:lnTo>
                      <a:lnTo>
                        <a:pt x="553953" y="89806"/>
                      </a:lnTo>
                      <a:cubicBezTo>
                        <a:pt x="553953" y="75597"/>
                        <a:pt x="545755" y="66853"/>
                        <a:pt x="534097" y="66853"/>
                      </a:cubicBezTo>
                      <a:cubicBezTo>
                        <a:pt x="524078" y="66853"/>
                        <a:pt x="515881" y="73958"/>
                        <a:pt x="512420" y="83794"/>
                      </a:cubicBezTo>
                      <a:lnTo>
                        <a:pt x="416057" y="336817"/>
                      </a:lnTo>
                      <a:cubicBezTo>
                        <a:pt x="400755" y="381992"/>
                        <a:pt x="374888" y="410228"/>
                        <a:pt x="322061" y="410228"/>
                      </a:cubicBezTo>
                      <a:cubicBezTo>
                        <a:pt x="263952" y="410228"/>
                        <a:pt x="234624" y="375617"/>
                        <a:pt x="234624" y="323337"/>
                      </a:cubicBezTo>
                      <a:lnTo>
                        <a:pt x="234624" y="89806"/>
                      </a:lnTo>
                      <a:cubicBezTo>
                        <a:pt x="234624" y="75597"/>
                        <a:pt x="225880" y="66853"/>
                        <a:pt x="214040" y="66853"/>
                      </a:cubicBezTo>
                      <a:cubicBezTo>
                        <a:pt x="203474" y="66853"/>
                        <a:pt x="196370" y="73958"/>
                        <a:pt x="192362" y="83794"/>
                      </a:cubicBezTo>
                      <a:lnTo>
                        <a:pt x="73775" y="403123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2BBD67FF-E3FA-EA38-F60C-7DC07A1DF79C}"/>
                    </a:ext>
                  </a:extLst>
                </p:cNvPr>
                <p:cNvSpPr/>
                <p:nvPr/>
              </p:nvSpPr>
              <p:spPr>
                <a:xfrm>
                  <a:off x="6448961" y="2752351"/>
                  <a:ext cx="438462" cy="403305"/>
                </a:xfrm>
                <a:custGeom>
                  <a:avLst/>
                  <a:gdLst>
                    <a:gd name="connsiteX0" fmla="*/ 76326 w 438462"/>
                    <a:gd name="connsiteY0" fmla="*/ 403305 h 403305"/>
                    <a:gd name="connsiteX1" fmla="*/ 0 w 438462"/>
                    <a:gd name="connsiteY1" fmla="*/ 403305 h 403305"/>
                    <a:gd name="connsiteX2" fmla="*/ 138989 w 438462"/>
                    <a:gd name="connsiteY2" fmla="*/ 51187 h 403305"/>
                    <a:gd name="connsiteX3" fmla="*/ 222419 w 438462"/>
                    <a:gd name="connsiteY3" fmla="*/ 0 h 403305"/>
                    <a:gd name="connsiteX4" fmla="*/ 304574 w 438462"/>
                    <a:gd name="connsiteY4" fmla="*/ 51187 h 403305"/>
                    <a:gd name="connsiteX5" fmla="*/ 438462 w 438462"/>
                    <a:gd name="connsiteY5" fmla="*/ 403305 h 403305"/>
                    <a:gd name="connsiteX6" fmla="*/ 361590 w 438462"/>
                    <a:gd name="connsiteY6" fmla="*/ 403305 h 403305"/>
                    <a:gd name="connsiteX7" fmla="*/ 241364 w 438462"/>
                    <a:gd name="connsiteY7" fmla="*/ 84523 h 403305"/>
                    <a:gd name="connsiteX8" fmla="*/ 222055 w 438462"/>
                    <a:gd name="connsiteY8" fmla="*/ 71043 h 403305"/>
                    <a:gd name="connsiteX9" fmla="*/ 202017 w 438462"/>
                    <a:gd name="connsiteY9" fmla="*/ 84523 h 403305"/>
                    <a:gd name="connsiteX10" fmla="*/ 76508 w 438462"/>
                    <a:gd name="connsiteY10" fmla="*/ 403305 h 40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8462" h="403305">
                      <a:moveTo>
                        <a:pt x="76326" y="403305"/>
                      </a:moveTo>
                      <a:lnTo>
                        <a:pt x="0" y="403305"/>
                      </a:lnTo>
                      <a:lnTo>
                        <a:pt x="138989" y="51187"/>
                      </a:lnTo>
                      <a:cubicBezTo>
                        <a:pt x="153744" y="14209"/>
                        <a:pt x="180704" y="0"/>
                        <a:pt x="222419" y="0"/>
                      </a:cubicBezTo>
                      <a:cubicBezTo>
                        <a:pt x="264134" y="0"/>
                        <a:pt x="290547" y="14209"/>
                        <a:pt x="304574" y="51187"/>
                      </a:cubicBezTo>
                      <a:lnTo>
                        <a:pt x="438462" y="403305"/>
                      </a:lnTo>
                      <a:lnTo>
                        <a:pt x="361590" y="403305"/>
                      </a:lnTo>
                      <a:lnTo>
                        <a:pt x="241364" y="84523"/>
                      </a:lnTo>
                      <a:cubicBezTo>
                        <a:pt x="237903" y="75051"/>
                        <a:pt x="231345" y="71043"/>
                        <a:pt x="222055" y="71043"/>
                      </a:cubicBezTo>
                      <a:cubicBezTo>
                        <a:pt x="212764" y="71043"/>
                        <a:pt x="206207" y="75051"/>
                        <a:pt x="202017" y="84523"/>
                      </a:cubicBezTo>
                      <a:lnTo>
                        <a:pt x="76508" y="403305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" name="Freeform: Shape 26">
                  <a:extLst>
                    <a:ext uri="{FF2B5EF4-FFF2-40B4-BE49-F238E27FC236}">
                      <a16:creationId xmlns:a16="http://schemas.microsoft.com/office/drawing/2014/main" id="{D8152536-83E7-C92C-B156-5807F2475A67}"/>
                    </a:ext>
                  </a:extLst>
                </p:cNvPr>
                <p:cNvSpPr/>
                <p:nvPr/>
              </p:nvSpPr>
              <p:spPr>
                <a:xfrm>
                  <a:off x="6939339" y="2759273"/>
                  <a:ext cx="350296" cy="396383"/>
                </a:xfrm>
                <a:custGeom>
                  <a:avLst/>
                  <a:gdLst>
                    <a:gd name="connsiteX0" fmla="*/ 214768 w 350296"/>
                    <a:gd name="connsiteY0" fmla="*/ 182 h 396383"/>
                    <a:gd name="connsiteX1" fmla="*/ 342099 w 350296"/>
                    <a:gd name="connsiteY1" fmla="*/ 118769 h 396383"/>
                    <a:gd name="connsiteX2" fmla="*/ 258123 w 350296"/>
                    <a:gd name="connsiteY2" fmla="*/ 237903 h 396383"/>
                    <a:gd name="connsiteX3" fmla="*/ 350296 w 350296"/>
                    <a:gd name="connsiteY3" fmla="*/ 396383 h 396383"/>
                    <a:gd name="connsiteX4" fmla="*/ 273424 w 350296"/>
                    <a:gd name="connsiteY4" fmla="*/ 396383 h 396383"/>
                    <a:gd name="connsiteX5" fmla="*/ 183072 w 350296"/>
                    <a:gd name="connsiteY5" fmla="*/ 243185 h 396383"/>
                    <a:gd name="connsiteX6" fmla="*/ 79787 w 350296"/>
                    <a:gd name="connsiteY6" fmla="*/ 243185 h 396383"/>
                    <a:gd name="connsiteX7" fmla="*/ 69768 w 350296"/>
                    <a:gd name="connsiteY7" fmla="*/ 253204 h 396383"/>
                    <a:gd name="connsiteX8" fmla="*/ 69768 w 350296"/>
                    <a:gd name="connsiteY8" fmla="*/ 396383 h 396383"/>
                    <a:gd name="connsiteX9" fmla="*/ 546 w 350296"/>
                    <a:gd name="connsiteY9" fmla="*/ 396383 h 396383"/>
                    <a:gd name="connsiteX10" fmla="*/ 546 w 350296"/>
                    <a:gd name="connsiteY10" fmla="*/ 239724 h 396383"/>
                    <a:gd name="connsiteX11" fmla="*/ 62846 w 350296"/>
                    <a:gd name="connsiteY11" fmla="*/ 176879 h 396383"/>
                    <a:gd name="connsiteX12" fmla="*/ 217136 w 350296"/>
                    <a:gd name="connsiteY12" fmla="*/ 176879 h 396383"/>
                    <a:gd name="connsiteX13" fmla="*/ 272331 w 350296"/>
                    <a:gd name="connsiteY13" fmla="*/ 121684 h 396383"/>
                    <a:gd name="connsiteX14" fmla="*/ 217136 w 350296"/>
                    <a:gd name="connsiteY14" fmla="*/ 69403 h 396383"/>
                    <a:gd name="connsiteX15" fmla="*/ 0 w 350296"/>
                    <a:gd name="connsiteY15" fmla="*/ 69403 h 396383"/>
                    <a:gd name="connsiteX16" fmla="*/ 0 w 350296"/>
                    <a:gd name="connsiteY16" fmla="*/ 0 h 396383"/>
                    <a:gd name="connsiteX17" fmla="*/ 214768 w 350296"/>
                    <a:gd name="connsiteY17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50296" h="396383">
                      <a:moveTo>
                        <a:pt x="214768" y="182"/>
                      </a:moveTo>
                      <a:cubicBezTo>
                        <a:pt x="304027" y="182"/>
                        <a:pt x="342099" y="55377"/>
                        <a:pt x="342099" y="118769"/>
                      </a:cubicBezTo>
                      <a:cubicBezTo>
                        <a:pt x="342099" y="168135"/>
                        <a:pt x="318600" y="220962"/>
                        <a:pt x="258123" y="237903"/>
                      </a:cubicBezTo>
                      <a:lnTo>
                        <a:pt x="350296" y="396383"/>
                      </a:lnTo>
                      <a:lnTo>
                        <a:pt x="273424" y="396383"/>
                      </a:lnTo>
                      <a:lnTo>
                        <a:pt x="183072" y="243185"/>
                      </a:lnTo>
                      <a:lnTo>
                        <a:pt x="79787" y="243185"/>
                      </a:lnTo>
                      <a:cubicBezTo>
                        <a:pt x="73411" y="243185"/>
                        <a:pt x="69768" y="246100"/>
                        <a:pt x="69768" y="253204"/>
                      </a:cubicBezTo>
                      <a:lnTo>
                        <a:pt x="69768" y="396383"/>
                      </a:lnTo>
                      <a:lnTo>
                        <a:pt x="546" y="396383"/>
                      </a:lnTo>
                      <a:lnTo>
                        <a:pt x="546" y="239724"/>
                      </a:lnTo>
                      <a:cubicBezTo>
                        <a:pt x="546" y="195095"/>
                        <a:pt x="19309" y="176879"/>
                        <a:pt x="62846" y="176879"/>
                      </a:cubicBezTo>
                      <a:lnTo>
                        <a:pt x="217136" y="176879"/>
                      </a:lnTo>
                      <a:cubicBezTo>
                        <a:pt x="256483" y="176879"/>
                        <a:pt x="272331" y="149919"/>
                        <a:pt x="272331" y="121684"/>
                      </a:cubicBezTo>
                      <a:cubicBezTo>
                        <a:pt x="272331" y="93449"/>
                        <a:pt x="255208" y="69403"/>
                        <a:pt x="217136" y="69403"/>
                      </a:cubicBezTo>
                      <a:lnTo>
                        <a:pt x="0" y="69403"/>
                      </a:lnTo>
                      <a:lnTo>
                        <a:pt x="0" y="0"/>
                      </a:lnTo>
                      <a:lnTo>
                        <a:pt x="214768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CF2E8BB4-861C-F52C-386D-3D257397F2BA}"/>
                    </a:ext>
                  </a:extLst>
                </p:cNvPr>
                <p:cNvSpPr/>
                <p:nvPr/>
              </p:nvSpPr>
              <p:spPr>
                <a:xfrm>
                  <a:off x="7335358" y="2759455"/>
                  <a:ext cx="354121" cy="396383"/>
                </a:xfrm>
                <a:custGeom>
                  <a:avLst/>
                  <a:gdLst>
                    <a:gd name="connsiteX0" fmla="*/ 324429 w 354121"/>
                    <a:gd name="connsiteY0" fmla="*/ 0 h 396383"/>
                    <a:gd name="connsiteX1" fmla="*/ 324429 w 354121"/>
                    <a:gd name="connsiteY1" fmla="*/ 69403 h 396383"/>
                    <a:gd name="connsiteX2" fmla="*/ 121320 w 354121"/>
                    <a:gd name="connsiteY2" fmla="*/ 69403 h 396383"/>
                    <a:gd name="connsiteX3" fmla="*/ 69586 w 354121"/>
                    <a:gd name="connsiteY3" fmla="*/ 116401 h 396383"/>
                    <a:gd name="connsiteX4" fmla="*/ 128241 w 354121"/>
                    <a:gd name="connsiteY4" fmla="*/ 163399 h 396383"/>
                    <a:gd name="connsiteX5" fmla="*/ 220962 w 354121"/>
                    <a:gd name="connsiteY5" fmla="*/ 163399 h 396383"/>
                    <a:gd name="connsiteX6" fmla="*/ 354122 w 354121"/>
                    <a:gd name="connsiteY6" fmla="*/ 280164 h 396383"/>
                    <a:gd name="connsiteX7" fmla="*/ 227884 w 354121"/>
                    <a:gd name="connsiteY7" fmla="*/ 396383 h 396383"/>
                    <a:gd name="connsiteX8" fmla="*/ 7286 w 354121"/>
                    <a:gd name="connsiteY8" fmla="*/ 396383 h 396383"/>
                    <a:gd name="connsiteX9" fmla="*/ 7286 w 354121"/>
                    <a:gd name="connsiteY9" fmla="*/ 327162 h 396383"/>
                    <a:gd name="connsiteX10" fmla="*/ 230252 w 354121"/>
                    <a:gd name="connsiteY10" fmla="*/ 327162 h 396383"/>
                    <a:gd name="connsiteX11" fmla="*/ 284718 w 354121"/>
                    <a:gd name="connsiteY11" fmla="*/ 277796 h 396383"/>
                    <a:gd name="connsiteX12" fmla="*/ 222419 w 354121"/>
                    <a:gd name="connsiteY12" fmla="*/ 228430 h 396383"/>
                    <a:gd name="connsiteX13" fmla="*/ 130245 w 354121"/>
                    <a:gd name="connsiteY13" fmla="*/ 228430 h 396383"/>
                    <a:gd name="connsiteX14" fmla="*/ 0 w 354121"/>
                    <a:gd name="connsiteY14" fmla="*/ 114033 h 396383"/>
                    <a:gd name="connsiteX15" fmla="*/ 123323 w 354121"/>
                    <a:gd name="connsiteY15" fmla="*/ 182 h 396383"/>
                    <a:gd name="connsiteX16" fmla="*/ 324065 w 354121"/>
                    <a:gd name="connsiteY16" fmla="*/ 182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54121" h="396383">
                      <a:moveTo>
                        <a:pt x="324429" y="0"/>
                      </a:moveTo>
                      <a:lnTo>
                        <a:pt x="324429" y="69403"/>
                      </a:lnTo>
                      <a:lnTo>
                        <a:pt x="121320" y="69403"/>
                      </a:lnTo>
                      <a:cubicBezTo>
                        <a:pt x="85616" y="69403"/>
                        <a:pt x="69586" y="88713"/>
                        <a:pt x="69586" y="116401"/>
                      </a:cubicBezTo>
                      <a:cubicBezTo>
                        <a:pt x="69586" y="140446"/>
                        <a:pt x="81973" y="163399"/>
                        <a:pt x="128241" y="163399"/>
                      </a:cubicBezTo>
                      <a:lnTo>
                        <a:pt x="220962" y="163399"/>
                      </a:lnTo>
                      <a:cubicBezTo>
                        <a:pt x="328983" y="163399"/>
                        <a:pt x="354122" y="223330"/>
                        <a:pt x="354122" y="280164"/>
                      </a:cubicBezTo>
                      <a:cubicBezTo>
                        <a:pt x="354122" y="347017"/>
                        <a:pt x="318418" y="396383"/>
                        <a:pt x="227884" y="396383"/>
                      </a:cubicBezTo>
                      <a:lnTo>
                        <a:pt x="7286" y="396383"/>
                      </a:lnTo>
                      <a:lnTo>
                        <a:pt x="7286" y="327162"/>
                      </a:lnTo>
                      <a:lnTo>
                        <a:pt x="230252" y="327162"/>
                      </a:lnTo>
                      <a:cubicBezTo>
                        <a:pt x="267777" y="327162"/>
                        <a:pt x="284718" y="306578"/>
                        <a:pt x="284718" y="277796"/>
                      </a:cubicBezTo>
                      <a:cubicBezTo>
                        <a:pt x="284718" y="251929"/>
                        <a:pt x="271238" y="228430"/>
                        <a:pt x="222419" y="228430"/>
                      </a:cubicBezTo>
                      <a:lnTo>
                        <a:pt x="130245" y="228430"/>
                      </a:lnTo>
                      <a:cubicBezTo>
                        <a:pt x="24592" y="228430"/>
                        <a:pt x="0" y="169228"/>
                        <a:pt x="0" y="114033"/>
                      </a:cubicBezTo>
                      <a:cubicBezTo>
                        <a:pt x="0" y="48273"/>
                        <a:pt x="35339" y="182"/>
                        <a:pt x="123323" y="182"/>
                      </a:cubicBezTo>
                      <a:lnTo>
                        <a:pt x="324065" y="182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7AFEBA73-84BA-AA3C-4E6B-7EC8FDC8E4B6}"/>
                    </a:ext>
                  </a:extLst>
                </p:cNvPr>
                <p:cNvSpPr/>
                <p:nvPr/>
              </p:nvSpPr>
              <p:spPr>
                <a:xfrm>
                  <a:off x="7902973" y="2759091"/>
                  <a:ext cx="359222" cy="396383"/>
                </a:xfrm>
                <a:custGeom>
                  <a:avLst/>
                  <a:gdLst>
                    <a:gd name="connsiteX0" fmla="*/ 240089 w 359222"/>
                    <a:gd name="connsiteY0" fmla="*/ 364 h 396383"/>
                    <a:gd name="connsiteX1" fmla="*/ 359222 w 359222"/>
                    <a:gd name="connsiteY1" fmla="*/ 112576 h 396383"/>
                    <a:gd name="connsiteX2" fmla="*/ 267049 w 359222"/>
                    <a:gd name="connsiteY2" fmla="*/ 218776 h 396383"/>
                    <a:gd name="connsiteX3" fmla="*/ 102010 w 359222"/>
                    <a:gd name="connsiteY3" fmla="*/ 255755 h 396383"/>
                    <a:gd name="connsiteX4" fmla="*/ 69221 w 359222"/>
                    <a:gd name="connsiteY4" fmla="*/ 299109 h 396383"/>
                    <a:gd name="connsiteX5" fmla="*/ 69221 w 359222"/>
                    <a:gd name="connsiteY5" fmla="*/ 318965 h 396383"/>
                    <a:gd name="connsiteX6" fmla="*/ 76872 w 359222"/>
                    <a:gd name="connsiteY6" fmla="*/ 327162 h 396383"/>
                    <a:gd name="connsiteX7" fmla="*/ 348657 w 359222"/>
                    <a:gd name="connsiteY7" fmla="*/ 327162 h 396383"/>
                    <a:gd name="connsiteX8" fmla="*/ 348657 w 359222"/>
                    <a:gd name="connsiteY8" fmla="*/ 396383 h 396383"/>
                    <a:gd name="connsiteX9" fmla="*/ 32789 w 359222"/>
                    <a:gd name="connsiteY9" fmla="*/ 396383 h 396383"/>
                    <a:gd name="connsiteX10" fmla="*/ 0 w 359222"/>
                    <a:gd name="connsiteY10" fmla="*/ 364141 h 396383"/>
                    <a:gd name="connsiteX11" fmla="*/ 0 w 359222"/>
                    <a:gd name="connsiteY11" fmla="*/ 304209 h 396383"/>
                    <a:gd name="connsiteX12" fmla="*/ 86891 w 359222"/>
                    <a:gd name="connsiteY12" fmla="*/ 190359 h 396383"/>
                    <a:gd name="connsiteX13" fmla="*/ 253568 w 359222"/>
                    <a:gd name="connsiteY13" fmla="*/ 152287 h 396383"/>
                    <a:gd name="connsiteX14" fmla="*/ 290547 w 359222"/>
                    <a:gd name="connsiteY14" fmla="*/ 113487 h 396383"/>
                    <a:gd name="connsiteX15" fmla="*/ 241728 w 359222"/>
                    <a:gd name="connsiteY15" fmla="*/ 69403 h 396383"/>
                    <a:gd name="connsiteX16" fmla="*/ 12751 w 359222"/>
                    <a:gd name="connsiteY16" fmla="*/ 69403 h 396383"/>
                    <a:gd name="connsiteX17" fmla="*/ 12751 w 359222"/>
                    <a:gd name="connsiteY17" fmla="*/ 0 h 396383"/>
                    <a:gd name="connsiteX18" fmla="*/ 239906 w 359222"/>
                    <a:gd name="connsiteY18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9222" h="396383">
                      <a:moveTo>
                        <a:pt x="240089" y="364"/>
                      </a:moveTo>
                      <a:cubicBezTo>
                        <a:pt x="316414" y="364"/>
                        <a:pt x="359222" y="39711"/>
                        <a:pt x="359222" y="112576"/>
                      </a:cubicBezTo>
                      <a:cubicBezTo>
                        <a:pt x="359222" y="171232"/>
                        <a:pt x="330987" y="204203"/>
                        <a:pt x="267049" y="218776"/>
                      </a:cubicBezTo>
                      <a:lnTo>
                        <a:pt x="102010" y="255755"/>
                      </a:lnTo>
                      <a:cubicBezTo>
                        <a:pt x="74504" y="262130"/>
                        <a:pt x="69221" y="276885"/>
                        <a:pt x="69221" y="299109"/>
                      </a:cubicBezTo>
                      <a:lnTo>
                        <a:pt x="69221" y="318965"/>
                      </a:lnTo>
                      <a:cubicBezTo>
                        <a:pt x="69221" y="325340"/>
                        <a:pt x="71589" y="327162"/>
                        <a:pt x="76872" y="327162"/>
                      </a:cubicBezTo>
                      <a:lnTo>
                        <a:pt x="348657" y="327162"/>
                      </a:lnTo>
                      <a:lnTo>
                        <a:pt x="348657" y="396383"/>
                      </a:lnTo>
                      <a:lnTo>
                        <a:pt x="32789" y="396383"/>
                      </a:lnTo>
                      <a:cubicBezTo>
                        <a:pt x="10565" y="396383"/>
                        <a:pt x="0" y="385818"/>
                        <a:pt x="0" y="364141"/>
                      </a:cubicBezTo>
                      <a:lnTo>
                        <a:pt x="0" y="304209"/>
                      </a:lnTo>
                      <a:cubicBezTo>
                        <a:pt x="0" y="239542"/>
                        <a:pt x="19309" y="205478"/>
                        <a:pt x="86891" y="190359"/>
                      </a:cubicBezTo>
                      <a:lnTo>
                        <a:pt x="253568" y="152287"/>
                      </a:lnTo>
                      <a:cubicBezTo>
                        <a:pt x="281804" y="145911"/>
                        <a:pt x="290547" y="132431"/>
                        <a:pt x="290547" y="113487"/>
                      </a:cubicBezTo>
                      <a:cubicBezTo>
                        <a:pt x="290547" y="87073"/>
                        <a:pt x="273424" y="69403"/>
                        <a:pt x="241728" y="69403"/>
                      </a:cubicBezTo>
                      <a:lnTo>
                        <a:pt x="12751" y="69403"/>
                      </a:lnTo>
                      <a:lnTo>
                        <a:pt x="12751" y="0"/>
                      </a:lnTo>
                      <a:lnTo>
                        <a:pt x="239906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4029F5C8-41E3-D4CE-B3D0-BF790B6EF4B1}"/>
                    </a:ext>
                  </a:extLst>
                </p:cNvPr>
                <p:cNvSpPr/>
                <p:nvPr/>
              </p:nvSpPr>
              <p:spPr>
                <a:xfrm>
                  <a:off x="8309922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4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4 w 358129"/>
                    <a:gd name="connsiteY3" fmla="*/ 0 h 407859"/>
                    <a:gd name="connsiteX4" fmla="*/ 358129 w 358129"/>
                    <a:gd name="connsiteY4" fmla="*/ 204203 h 407859"/>
                    <a:gd name="connsiteX5" fmla="*/ 68128 w 358129"/>
                    <a:gd name="connsiteY5" fmla="*/ 203656 h 407859"/>
                    <a:gd name="connsiteX6" fmla="*/ 179064 w 358129"/>
                    <a:gd name="connsiteY6" fmla="*/ 338638 h 407859"/>
                    <a:gd name="connsiteX7" fmla="*/ 289454 w 358129"/>
                    <a:gd name="connsiteY7" fmla="*/ 203656 h 407859"/>
                    <a:gd name="connsiteX8" fmla="*/ 179064 w 358129"/>
                    <a:gd name="connsiteY8" fmla="*/ 69221 h 407859"/>
                    <a:gd name="connsiteX9" fmla="*/ 68128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7" y="407860"/>
                        <a:pt x="179064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8" y="0"/>
                        <a:pt x="179064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128" y="203656"/>
                      </a:moveTo>
                      <a:cubicBezTo>
                        <a:pt x="68128" y="294555"/>
                        <a:pt x="101646" y="338638"/>
                        <a:pt x="179064" y="338638"/>
                      </a:cubicBezTo>
                      <a:cubicBezTo>
                        <a:pt x="256483" y="338638"/>
                        <a:pt x="289454" y="294555"/>
                        <a:pt x="289454" y="203656"/>
                      </a:cubicBezTo>
                      <a:cubicBezTo>
                        <a:pt x="289454" y="112758"/>
                        <a:pt x="255937" y="69221"/>
                        <a:pt x="179064" y="69221"/>
                      </a:cubicBezTo>
                      <a:cubicBezTo>
                        <a:pt x="102192" y="69221"/>
                        <a:pt x="68128" y="113304"/>
                        <a:pt x="68128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0BE43066-12B4-7B3C-ED1D-E30E32DFF940}"/>
                    </a:ext>
                  </a:extLst>
                </p:cNvPr>
                <p:cNvSpPr/>
                <p:nvPr/>
              </p:nvSpPr>
              <p:spPr>
                <a:xfrm>
                  <a:off x="8744558" y="2759273"/>
                  <a:ext cx="332262" cy="396201"/>
                </a:xfrm>
                <a:custGeom>
                  <a:avLst/>
                  <a:gdLst>
                    <a:gd name="connsiteX0" fmla="*/ 198374 w 332262"/>
                    <a:gd name="connsiteY0" fmla="*/ 182 h 396201"/>
                    <a:gd name="connsiteX1" fmla="*/ 330988 w 332262"/>
                    <a:gd name="connsiteY1" fmla="*/ 106382 h 396201"/>
                    <a:gd name="connsiteX2" fmla="*/ 274700 w 332262"/>
                    <a:gd name="connsiteY2" fmla="*/ 197281 h 396201"/>
                    <a:gd name="connsiteX3" fmla="*/ 332263 w 332262"/>
                    <a:gd name="connsiteY3" fmla="*/ 290001 h 396201"/>
                    <a:gd name="connsiteX4" fmla="*/ 200196 w 332262"/>
                    <a:gd name="connsiteY4" fmla="*/ 396201 h 396201"/>
                    <a:gd name="connsiteX5" fmla="*/ 0 w 332262"/>
                    <a:gd name="connsiteY5" fmla="*/ 396201 h 396201"/>
                    <a:gd name="connsiteX6" fmla="*/ 0 w 332262"/>
                    <a:gd name="connsiteY6" fmla="*/ 326980 h 396201"/>
                    <a:gd name="connsiteX7" fmla="*/ 200196 w 332262"/>
                    <a:gd name="connsiteY7" fmla="*/ 326980 h 396201"/>
                    <a:gd name="connsiteX8" fmla="*/ 260126 w 332262"/>
                    <a:gd name="connsiteY8" fmla="*/ 276521 h 396201"/>
                    <a:gd name="connsiteX9" fmla="*/ 199649 w 332262"/>
                    <a:gd name="connsiteY9" fmla="*/ 228977 h 396201"/>
                    <a:gd name="connsiteX10" fmla="*/ 77601 w 332262"/>
                    <a:gd name="connsiteY10" fmla="*/ 228977 h 396201"/>
                    <a:gd name="connsiteX11" fmla="*/ 77601 w 332262"/>
                    <a:gd name="connsiteY11" fmla="*/ 166131 h 396201"/>
                    <a:gd name="connsiteX12" fmla="*/ 197828 w 332262"/>
                    <a:gd name="connsiteY12" fmla="*/ 166131 h 396201"/>
                    <a:gd name="connsiteX13" fmla="*/ 258305 w 332262"/>
                    <a:gd name="connsiteY13" fmla="*/ 118587 h 396201"/>
                    <a:gd name="connsiteX14" fmla="*/ 198374 w 332262"/>
                    <a:gd name="connsiteY14" fmla="*/ 69403 h 396201"/>
                    <a:gd name="connsiteX15" fmla="*/ 546 w 332262"/>
                    <a:gd name="connsiteY15" fmla="*/ 69403 h 396201"/>
                    <a:gd name="connsiteX16" fmla="*/ 546 w 332262"/>
                    <a:gd name="connsiteY16" fmla="*/ 0 h 396201"/>
                    <a:gd name="connsiteX17" fmla="*/ 198374 w 332262"/>
                    <a:gd name="connsiteY17" fmla="*/ 0 h 39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262" h="396201">
                      <a:moveTo>
                        <a:pt x="198374" y="182"/>
                      </a:moveTo>
                      <a:cubicBezTo>
                        <a:pt x="291641" y="182"/>
                        <a:pt x="330988" y="45358"/>
                        <a:pt x="330988" y="106382"/>
                      </a:cubicBezTo>
                      <a:cubicBezTo>
                        <a:pt x="330988" y="153380"/>
                        <a:pt x="310950" y="182161"/>
                        <a:pt x="274700" y="197281"/>
                      </a:cubicBezTo>
                      <a:cubicBezTo>
                        <a:pt x="312225" y="213129"/>
                        <a:pt x="332263" y="242457"/>
                        <a:pt x="332263" y="290001"/>
                      </a:cubicBezTo>
                      <a:cubicBezTo>
                        <a:pt x="332263" y="349203"/>
                        <a:pt x="293462" y="396201"/>
                        <a:pt x="200196" y="396201"/>
                      </a:cubicBezTo>
                      <a:lnTo>
                        <a:pt x="0" y="396201"/>
                      </a:lnTo>
                      <a:lnTo>
                        <a:pt x="0" y="326980"/>
                      </a:lnTo>
                      <a:lnTo>
                        <a:pt x="200196" y="326980"/>
                      </a:lnTo>
                      <a:cubicBezTo>
                        <a:pt x="240636" y="326980"/>
                        <a:pt x="260126" y="308217"/>
                        <a:pt x="260126" y="276521"/>
                      </a:cubicBezTo>
                      <a:cubicBezTo>
                        <a:pt x="260126" y="244825"/>
                        <a:pt x="239542" y="228977"/>
                        <a:pt x="199649" y="228977"/>
                      </a:cubicBezTo>
                      <a:lnTo>
                        <a:pt x="77601" y="228977"/>
                      </a:lnTo>
                      <a:lnTo>
                        <a:pt x="77601" y="166131"/>
                      </a:lnTo>
                      <a:lnTo>
                        <a:pt x="197828" y="166131"/>
                      </a:lnTo>
                      <a:cubicBezTo>
                        <a:pt x="238267" y="166131"/>
                        <a:pt x="258305" y="151558"/>
                        <a:pt x="258305" y="118587"/>
                      </a:cubicBezTo>
                      <a:cubicBezTo>
                        <a:pt x="258305" y="88713"/>
                        <a:pt x="240089" y="69403"/>
                        <a:pt x="198374" y="69403"/>
                      </a:cubicBezTo>
                      <a:lnTo>
                        <a:pt x="546" y="69403"/>
                      </a:lnTo>
                      <a:lnTo>
                        <a:pt x="546" y="0"/>
                      </a:lnTo>
                      <a:lnTo>
                        <a:pt x="198374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C122898F-42A7-8F72-2426-9FB466C90623}"/>
                    </a:ext>
                  </a:extLst>
                </p:cNvPr>
                <p:cNvSpPr/>
                <p:nvPr/>
              </p:nvSpPr>
              <p:spPr>
                <a:xfrm>
                  <a:off x="9137298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5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5 w 358129"/>
                    <a:gd name="connsiteY3" fmla="*/ 0 h 407859"/>
                    <a:gd name="connsiteX4" fmla="*/ 358129 w 358129"/>
                    <a:gd name="connsiteY4" fmla="*/ 204203 h 407859"/>
                    <a:gd name="connsiteX5" fmla="*/ 68311 w 358129"/>
                    <a:gd name="connsiteY5" fmla="*/ 203656 h 407859"/>
                    <a:gd name="connsiteX6" fmla="*/ 179247 w 358129"/>
                    <a:gd name="connsiteY6" fmla="*/ 338638 h 407859"/>
                    <a:gd name="connsiteX7" fmla="*/ 289637 w 358129"/>
                    <a:gd name="connsiteY7" fmla="*/ 203656 h 407859"/>
                    <a:gd name="connsiteX8" fmla="*/ 179247 w 358129"/>
                    <a:gd name="connsiteY8" fmla="*/ 69221 h 407859"/>
                    <a:gd name="connsiteX9" fmla="*/ 68311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8" y="407860"/>
                        <a:pt x="179065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9" y="0"/>
                        <a:pt x="179065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311" y="203656"/>
                      </a:moveTo>
                      <a:cubicBezTo>
                        <a:pt x="68311" y="294555"/>
                        <a:pt x="101646" y="338638"/>
                        <a:pt x="179247" y="338638"/>
                      </a:cubicBezTo>
                      <a:cubicBezTo>
                        <a:pt x="256848" y="338638"/>
                        <a:pt x="289637" y="294555"/>
                        <a:pt x="289637" y="203656"/>
                      </a:cubicBezTo>
                      <a:cubicBezTo>
                        <a:pt x="289637" y="112758"/>
                        <a:pt x="256301" y="69221"/>
                        <a:pt x="179247" y="69221"/>
                      </a:cubicBezTo>
                      <a:cubicBezTo>
                        <a:pt x="102193" y="69221"/>
                        <a:pt x="68311" y="113304"/>
                        <a:pt x="68311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44884D2-77CA-4B4F-BA3A-44BACA679D43}"/>
                  </a:ext>
                </a:extLst>
              </p:cNvPr>
              <p:cNvSpPr/>
              <p:nvPr/>
            </p:nvSpPr>
            <p:spPr>
              <a:xfrm>
                <a:off x="2752724" y="1340236"/>
                <a:ext cx="2907478" cy="415692"/>
              </a:xfrm>
              <a:custGeom>
                <a:avLst/>
                <a:gdLst>
                  <a:gd name="connsiteX0" fmla="*/ 591296 w 2907478"/>
                  <a:gd name="connsiteY0" fmla="*/ 82701 h 415692"/>
                  <a:gd name="connsiteX1" fmla="*/ 676547 w 2907478"/>
                  <a:gd name="connsiteY1" fmla="*/ 82701 h 415692"/>
                  <a:gd name="connsiteX2" fmla="*/ 766535 w 2907478"/>
                  <a:gd name="connsiteY2" fmla="*/ 277978 h 415692"/>
                  <a:gd name="connsiteX3" fmla="*/ 772729 w 2907478"/>
                  <a:gd name="connsiteY3" fmla="*/ 277978 h 415692"/>
                  <a:gd name="connsiteX4" fmla="*/ 772729 w 2907478"/>
                  <a:gd name="connsiteY4" fmla="*/ 82701 h 415692"/>
                  <a:gd name="connsiteX5" fmla="*/ 821548 w 2907478"/>
                  <a:gd name="connsiteY5" fmla="*/ 82701 h 415692"/>
                  <a:gd name="connsiteX6" fmla="*/ 821548 w 2907478"/>
                  <a:gd name="connsiteY6" fmla="*/ 332991 h 415692"/>
                  <a:gd name="connsiteX7" fmla="*/ 736296 w 2907478"/>
                  <a:gd name="connsiteY7" fmla="*/ 332991 h 415692"/>
                  <a:gd name="connsiteX8" fmla="*/ 645944 w 2907478"/>
                  <a:gd name="connsiteY8" fmla="*/ 137714 h 415692"/>
                  <a:gd name="connsiteX9" fmla="*/ 640115 w 2907478"/>
                  <a:gd name="connsiteY9" fmla="*/ 137714 h 415692"/>
                  <a:gd name="connsiteX10" fmla="*/ 640115 w 2907478"/>
                  <a:gd name="connsiteY10" fmla="*/ 332991 h 415692"/>
                  <a:gd name="connsiteX11" fmla="*/ 591296 w 2907478"/>
                  <a:gd name="connsiteY11" fmla="*/ 332991 h 415692"/>
                  <a:gd name="connsiteX12" fmla="*/ 591296 w 2907478"/>
                  <a:gd name="connsiteY12" fmla="*/ 82701 h 415692"/>
                  <a:gd name="connsiteX13" fmla="*/ 869274 w 2907478"/>
                  <a:gd name="connsiteY13" fmla="*/ 207846 h 415692"/>
                  <a:gd name="connsiteX14" fmla="*/ 997152 w 2907478"/>
                  <a:gd name="connsiteY14" fmla="*/ 76872 h 415692"/>
                  <a:gd name="connsiteX15" fmla="*/ 1113371 w 2907478"/>
                  <a:gd name="connsiteY15" fmla="*/ 174328 h 415692"/>
                  <a:gd name="connsiteX16" fmla="*/ 1063276 w 2907478"/>
                  <a:gd name="connsiteY16" fmla="*/ 174328 h 415692"/>
                  <a:gd name="connsiteX17" fmla="*/ 1010085 w 2907478"/>
                  <a:gd name="connsiteY17" fmla="*/ 122777 h 415692"/>
                  <a:gd name="connsiteX18" fmla="*/ 981850 w 2907478"/>
                  <a:gd name="connsiteY18" fmla="*/ 122777 h 415692"/>
                  <a:gd name="connsiteX19" fmla="*/ 919733 w 2907478"/>
                  <a:gd name="connsiteY19" fmla="*/ 208028 h 415692"/>
                  <a:gd name="connsiteX20" fmla="*/ 981850 w 2907478"/>
                  <a:gd name="connsiteY20" fmla="*/ 293280 h 415692"/>
                  <a:gd name="connsiteX21" fmla="*/ 1010085 w 2907478"/>
                  <a:gd name="connsiteY21" fmla="*/ 293280 h 415692"/>
                  <a:gd name="connsiteX22" fmla="*/ 1064005 w 2907478"/>
                  <a:gd name="connsiteY22" fmla="*/ 241728 h 415692"/>
                  <a:gd name="connsiteX23" fmla="*/ 1114099 w 2907478"/>
                  <a:gd name="connsiteY23" fmla="*/ 241728 h 415692"/>
                  <a:gd name="connsiteX24" fmla="*/ 995512 w 2907478"/>
                  <a:gd name="connsiteY24" fmla="*/ 339185 h 415692"/>
                  <a:gd name="connsiteX25" fmla="*/ 869092 w 2907478"/>
                  <a:gd name="connsiteY25" fmla="*/ 208210 h 415692"/>
                  <a:gd name="connsiteX26" fmla="*/ 1162736 w 2907478"/>
                  <a:gd name="connsiteY26" fmla="*/ 82701 h 415692"/>
                  <a:gd name="connsiteX27" fmla="*/ 1280413 w 2907478"/>
                  <a:gd name="connsiteY27" fmla="*/ 82701 h 415692"/>
                  <a:gd name="connsiteX28" fmla="*/ 1363296 w 2907478"/>
                  <a:gd name="connsiteY28" fmla="*/ 158663 h 415692"/>
                  <a:gd name="connsiteX29" fmla="*/ 1314841 w 2907478"/>
                  <a:gd name="connsiteY29" fmla="*/ 227520 h 415692"/>
                  <a:gd name="connsiteX30" fmla="*/ 1373133 w 2907478"/>
                  <a:gd name="connsiteY30" fmla="*/ 333173 h 415692"/>
                  <a:gd name="connsiteX31" fmla="*/ 1317574 w 2907478"/>
                  <a:gd name="connsiteY31" fmla="*/ 333173 h 415692"/>
                  <a:gd name="connsiteX32" fmla="*/ 1264018 w 2907478"/>
                  <a:gd name="connsiteY32" fmla="*/ 234988 h 415692"/>
                  <a:gd name="connsiteX33" fmla="*/ 1212466 w 2907478"/>
                  <a:gd name="connsiteY33" fmla="*/ 234988 h 415692"/>
                  <a:gd name="connsiteX34" fmla="*/ 1212466 w 2907478"/>
                  <a:gd name="connsiteY34" fmla="*/ 333173 h 415692"/>
                  <a:gd name="connsiteX35" fmla="*/ 1162736 w 2907478"/>
                  <a:gd name="connsiteY35" fmla="*/ 333173 h 415692"/>
                  <a:gd name="connsiteX36" fmla="*/ 1162736 w 2907478"/>
                  <a:gd name="connsiteY36" fmla="*/ 82701 h 415692"/>
                  <a:gd name="connsiteX37" fmla="*/ 1276951 w 2907478"/>
                  <a:gd name="connsiteY37" fmla="*/ 194548 h 415692"/>
                  <a:gd name="connsiteX38" fmla="*/ 1313748 w 2907478"/>
                  <a:gd name="connsiteY38" fmla="*/ 159756 h 415692"/>
                  <a:gd name="connsiteX39" fmla="*/ 1276951 w 2907478"/>
                  <a:gd name="connsiteY39" fmla="*/ 124963 h 415692"/>
                  <a:gd name="connsiteX40" fmla="*/ 1212466 w 2907478"/>
                  <a:gd name="connsiteY40" fmla="*/ 124963 h 415692"/>
                  <a:gd name="connsiteX41" fmla="*/ 1212466 w 2907478"/>
                  <a:gd name="connsiteY41" fmla="*/ 194548 h 415692"/>
                  <a:gd name="connsiteX42" fmla="*/ 1276951 w 2907478"/>
                  <a:gd name="connsiteY42" fmla="*/ 194548 h 415692"/>
                  <a:gd name="connsiteX43" fmla="*/ 1555841 w 2907478"/>
                  <a:gd name="connsiteY43" fmla="*/ 82701 h 415692"/>
                  <a:gd name="connsiteX44" fmla="*/ 1645100 w 2907478"/>
                  <a:gd name="connsiteY44" fmla="*/ 82701 h 415692"/>
                  <a:gd name="connsiteX45" fmla="*/ 1728347 w 2907478"/>
                  <a:gd name="connsiteY45" fmla="*/ 332991 h 415692"/>
                  <a:gd name="connsiteX46" fmla="*/ 1677160 w 2907478"/>
                  <a:gd name="connsiteY46" fmla="*/ 332991 h 415692"/>
                  <a:gd name="connsiteX47" fmla="*/ 1656394 w 2907478"/>
                  <a:gd name="connsiteY47" fmla="*/ 270874 h 415692"/>
                  <a:gd name="connsiteX48" fmla="*/ 1543271 w 2907478"/>
                  <a:gd name="connsiteY48" fmla="*/ 270874 h 415692"/>
                  <a:gd name="connsiteX49" fmla="*/ 1522505 w 2907478"/>
                  <a:gd name="connsiteY49" fmla="*/ 332991 h 415692"/>
                  <a:gd name="connsiteX50" fmla="*/ 1472411 w 2907478"/>
                  <a:gd name="connsiteY50" fmla="*/ 332991 h 415692"/>
                  <a:gd name="connsiteX51" fmla="*/ 1555658 w 2907478"/>
                  <a:gd name="connsiteY51" fmla="*/ 82701 h 415692"/>
                  <a:gd name="connsiteX52" fmla="*/ 1641821 w 2907478"/>
                  <a:gd name="connsiteY52" fmla="*/ 227702 h 415692"/>
                  <a:gd name="connsiteX53" fmla="*/ 1609760 w 2907478"/>
                  <a:gd name="connsiteY53" fmla="*/ 131521 h 415692"/>
                  <a:gd name="connsiteX54" fmla="*/ 1589358 w 2907478"/>
                  <a:gd name="connsiteY54" fmla="*/ 131521 h 415692"/>
                  <a:gd name="connsiteX55" fmla="*/ 1557298 w 2907478"/>
                  <a:gd name="connsiteY55" fmla="*/ 227702 h 415692"/>
                  <a:gd name="connsiteX56" fmla="*/ 1641821 w 2907478"/>
                  <a:gd name="connsiteY56" fmla="*/ 227702 h 415692"/>
                  <a:gd name="connsiteX57" fmla="*/ 1797751 w 2907478"/>
                  <a:gd name="connsiteY57" fmla="*/ 127149 h 415692"/>
                  <a:gd name="connsiteX58" fmla="*/ 1719604 w 2907478"/>
                  <a:gd name="connsiteY58" fmla="*/ 127149 h 415692"/>
                  <a:gd name="connsiteX59" fmla="*/ 1719604 w 2907478"/>
                  <a:gd name="connsiteY59" fmla="*/ 82519 h 415692"/>
                  <a:gd name="connsiteX60" fmla="*/ 1925446 w 2907478"/>
                  <a:gd name="connsiteY60" fmla="*/ 82519 h 415692"/>
                  <a:gd name="connsiteX61" fmla="*/ 1925446 w 2907478"/>
                  <a:gd name="connsiteY61" fmla="*/ 127149 h 415692"/>
                  <a:gd name="connsiteX62" fmla="*/ 1847663 w 2907478"/>
                  <a:gd name="connsiteY62" fmla="*/ 127149 h 415692"/>
                  <a:gd name="connsiteX63" fmla="*/ 1847663 w 2907478"/>
                  <a:gd name="connsiteY63" fmla="*/ 332991 h 415692"/>
                  <a:gd name="connsiteX64" fmla="*/ 1797933 w 2907478"/>
                  <a:gd name="connsiteY64" fmla="*/ 332991 h 415692"/>
                  <a:gd name="connsiteX65" fmla="*/ 1797933 w 2907478"/>
                  <a:gd name="connsiteY65" fmla="*/ 127149 h 415692"/>
                  <a:gd name="connsiteX66" fmla="*/ 1969165 w 2907478"/>
                  <a:gd name="connsiteY66" fmla="*/ 82701 h 415692"/>
                  <a:gd name="connsiteX67" fmla="*/ 2018895 w 2907478"/>
                  <a:gd name="connsiteY67" fmla="*/ 82701 h 415692"/>
                  <a:gd name="connsiteX68" fmla="*/ 2018895 w 2907478"/>
                  <a:gd name="connsiteY68" fmla="*/ 288544 h 415692"/>
                  <a:gd name="connsiteX69" fmla="*/ 2144768 w 2907478"/>
                  <a:gd name="connsiteY69" fmla="*/ 288544 h 415692"/>
                  <a:gd name="connsiteX70" fmla="*/ 2144768 w 2907478"/>
                  <a:gd name="connsiteY70" fmla="*/ 333173 h 415692"/>
                  <a:gd name="connsiteX71" fmla="*/ 1969165 w 2907478"/>
                  <a:gd name="connsiteY71" fmla="*/ 333173 h 415692"/>
                  <a:gd name="connsiteX72" fmla="*/ 1969165 w 2907478"/>
                  <a:gd name="connsiteY72" fmla="*/ 82701 h 415692"/>
                  <a:gd name="connsiteX73" fmla="*/ 2188305 w 2907478"/>
                  <a:gd name="connsiteY73" fmla="*/ 82701 h 415692"/>
                  <a:gd name="connsiteX74" fmla="*/ 2371742 w 2907478"/>
                  <a:gd name="connsiteY74" fmla="*/ 82701 h 415692"/>
                  <a:gd name="connsiteX75" fmla="*/ 2371742 w 2907478"/>
                  <a:gd name="connsiteY75" fmla="*/ 124963 h 415692"/>
                  <a:gd name="connsiteX76" fmla="*/ 2237489 w 2907478"/>
                  <a:gd name="connsiteY76" fmla="*/ 124963 h 415692"/>
                  <a:gd name="connsiteX77" fmla="*/ 2237489 w 2907478"/>
                  <a:gd name="connsiteY77" fmla="*/ 183983 h 415692"/>
                  <a:gd name="connsiteX78" fmla="*/ 2361905 w 2907478"/>
                  <a:gd name="connsiteY78" fmla="*/ 183983 h 415692"/>
                  <a:gd name="connsiteX79" fmla="*/ 2361905 w 2907478"/>
                  <a:gd name="connsiteY79" fmla="*/ 225516 h 415692"/>
                  <a:gd name="connsiteX80" fmla="*/ 2237489 w 2907478"/>
                  <a:gd name="connsiteY80" fmla="*/ 225516 h 415692"/>
                  <a:gd name="connsiteX81" fmla="*/ 2237489 w 2907478"/>
                  <a:gd name="connsiteY81" fmla="*/ 290912 h 415692"/>
                  <a:gd name="connsiteX82" fmla="*/ 2373563 w 2907478"/>
                  <a:gd name="connsiteY82" fmla="*/ 290912 h 415692"/>
                  <a:gd name="connsiteX83" fmla="*/ 2373563 w 2907478"/>
                  <a:gd name="connsiteY83" fmla="*/ 333173 h 415692"/>
                  <a:gd name="connsiteX84" fmla="*/ 2188123 w 2907478"/>
                  <a:gd name="connsiteY84" fmla="*/ 333173 h 415692"/>
                  <a:gd name="connsiteX85" fmla="*/ 2188123 w 2907478"/>
                  <a:gd name="connsiteY85" fmla="*/ 82701 h 415692"/>
                  <a:gd name="connsiteX86" fmla="*/ 2409085 w 2907478"/>
                  <a:gd name="connsiteY86" fmla="*/ 207846 h 415692"/>
                  <a:gd name="connsiteX87" fmla="*/ 2538601 w 2907478"/>
                  <a:gd name="connsiteY87" fmla="*/ 76872 h 415692"/>
                  <a:gd name="connsiteX88" fmla="*/ 2667754 w 2907478"/>
                  <a:gd name="connsiteY88" fmla="*/ 207846 h 415692"/>
                  <a:gd name="connsiteX89" fmla="*/ 2538601 w 2907478"/>
                  <a:gd name="connsiteY89" fmla="*/ 338820 h 415692"/>
                  <a:gd name="connsiteX90" fmla="*/ 2409085 w 2907478"/>
                  <a:gd name="connsiteY90" fmla="*/ 207846 h 415692"/>
                  <a:gd name="connsiteX91" fmla="*/ 2525121 w 2907478"/>
                  <a:gd name="connsiteY91" fmla="*/ 293098 h 415692"/>
                  <a:gd name="connsiteX92" fmla="*/ 2552081 w 2907478"/>
                  <a:gd name="connsiteY92" fmla="*/ 293098 h 415692"/>
                  <a:gd name="connsiteX93" fmla="*/ 2616566 w 2907478"/>
                  <a:gd name="connsiteY93" fmla="*/ 207846 h 415692"/>
                  <a:gd name="connsiteX94" fmla="*/ 2552081 w 2907478"/>
                  <a:gd name="connsiteY94" fmla="*/ 122595 h 415692"/>
                  <a:gd name="connsiteX95" fmla="*/ 2525121 w 2907478"/>
                  <a:gd name="connsiteY95" fmla="*/ 122595 h 415692"/>
                  <a:gd name="connsiteX96" fmla="*/ 2459726 w 2907478"/>
                  <a:gd name="connsiteY96" fmla="*/ 207846 h 415692"/>
                  <a:gd name="connsiteX97" fmla="*/ 2525121 w 2907478"/>
                  <a:gd name="connsiteY97" fmla="*/ 293098 h 415692"/>
                  <a:gd name="connsiteX98" fmla="*/ 2701089 w 2907478"/>
                  <a:gd name="connsiteY98" fmla="*/ 255937 h 415692"/>
                  <a:gd name="connsiteX99" fmla="*/ 2751913 w 2907478"/>
                  <a:gd name="connsiteY99" fmla="*/ 255937 h 415692"/>
                  <a:gd name="connsiteX100" fmla="*/ 2791806 w 2907478"/>
                  <a:gd name="connsiteY100" fmla="*/ 294191 h 415692"/>
                  <a:gd name="connsiteX101" fmla="*/ 2823866 w 2907478"/>
                  <a:gd name="connsiteY101" fmla="*/ 294191 h 415692"/>
                  <a:gd name="connsiteX102" fmla="*/ 2858295 w 2907478"/>
                  <a:gd name="connsiteY102" fmla="*/ 262859 h 415692"/>
                  <a:gd name="connsiteX103" fmla="*/ 2828967 w 2907478"/>
                  <a:gd name="connsiteY103" fmla="*/ 232802 h 415692"/>
                  <a:gd name="connsiteX104" fmla="*/ 2775776 w 2907478"/>
                  <a:gd name="connsiteY104" fmla="*/ 226973 h 415692"/>
                  <a:gd name="connsiteX105" fmla="*/ 2707647 w 2907478"/>
                  <a:gd name="connsiteY105" fmla="*/ 154655 h 415692"/>
                  <a:gd name="connsiteX106" fmla="*/ 2803828 w 2907478"/>
                  <a:gd name="connsiteY106" fmla="*/ 76872 h 415692"/>
                  <a:gd name="connsiteX107" fmla="*/ 2902013 w 2907478"/>
                  <a:gd name="connsiteY107" fmla="*/ 159391 h 415692"/>
                  <a:gd name="connsiteX108" fmla="*/ 2851555 w 2907478"/>
                  <a:gd name="connsiteY108" fmla="*/ 159391 h 415692"/>
                  <a:gd name="connsiteX109" fmla="*/ 2815122 w 2907478"/>
                  <a:gd name="connsiteY109" fmla="*/ 121502 h 415692"/>
                  <a:gd name="connsiteX110" fmla="*/ 2788527 w 2907478"/>
                  <a:gd name="connsiteY110" fmla="*/ 121502 h 415692"/>
                  <a:gd name="connsiteX111" fmla="*/ 2756467 w 2907478"/>
                  <a:gd name="connsiteY111" fmla="*/ 151194 h 415692"/>
                  <a:gd name="connsiteX112" fmla="*/ 2787434 w 2907478"/>
                  <a:gd name="connsiteY112" fmla="*/ 182526 h 415692"/>
                  <a:gd name="connsiteX113" fmla="*/ 2840625 w 2907478"/>
                  <a:gd name="connsiteY113" fmla="*/ 188355 h 415692"/>
                  <a:gd name="connsiteX114" fmla="*/ 2907478 w 2907478"/>
                  <a:gd name="connsiteY114" fmla="*/ 260309 h 415692"/>
                  <a:gd name="connsiteX115" fmla="*/ 2804557 w 2907478"/>
                  <a:gd name="connsiteY115" fmla="*/ 339002 h 415692"/>
                  <a:gd name="connsiteX116" fmla="*/ 2700907 w 2907478"/>
                  <a:gd name="connsiteY116" fmla="*/ 256119 h 415692"/>
                  <a:gd name="connsiteX117" fmla="*/ 207846 w 2907478"/>
                  <a:gd name="connsiteY117" fmla="*/ 0 h 415692"/>
                  <a:gd name="connsiteX118" fmla="*/ 207846 w 2907478"/>
                  <a:gd name="connsiteY118" fmla="*/ 0 h 415692"/>
                  <a:gd name="connsiteX119" fmla="*/ 0 w 2907478"/>
                  <a:gd name="connsiteY119" fmla="*/ 207846 h 415692"/>
                  <a:gd name="connsiteX120" fmla="*/ 207846 w 2907478"/>
                  <a:gd name="connsiteY120" fmla="*/ 415692 h 415692"/>
                  <a:gd name="connsiteX121" fmla="*/ 207846 w 2907478"/>
                  <a:gd name="connsiteY121" fmla="*/ 415692 h 415692"/>
                  <a:gd name="connsiteX122" fmla="*/ 415692 w 2907478"/>
                  <a:gd name="connsiteY122" fmla="*/ 207846 h 415692"/>
                  <a:gd name="connsiteX123" fmla="*/ 207846 w 2907478"/>
                  <a:gd name="connsiteY123" fmla="*/ 0 h 415692"/>
                  <a:gd name="connsiteX124" fmla="*/ 207846 w 2907478"/>
                  <a:gd name="connsiteY124" fmla="*/ 398569 h 415692"/>
                  <a:gd name="connsiteX125" fmla="*/ 142815 w 2907478"/>
                  <a:gd name="connsiteY125" fmla="*/ 353940 h 415692"/>
                  <a:gd name="connsiteX126" fmla="*/ 149919 w 2907478"/>
                  <a:gd name="connsiteY126" fmla="*/ 351389 h 415692"/>
                  <a:gd name="connsiteX127" fmla="*/ 268870 w 2907478"/>
                  <a:gd name="connsiteY127" fmla="*/ 280529 h 415692"/>
                  <a:gd name="connsiteX128" fmla="*/ 307306 w 2907478"/>
                  <a:gd name="connsiteY128" fmla="*/ 244278 h 415692"/>
                  <a:gd name="connsiteX129" fmla="*/ 207846 w 2907478"/>
                  <a:gd name="connsiteY129" fmla="*/ 398569 h 415692"/>
                  <a:gd name="connsiteX130" fmla="*/ 62117 w 2907478"/>
                  <a:gd name="connsiteY130" fmla="*/ 330805 h 415692"/>
                  <a:gd name="connsiteX131" fmla="*/ 61388 w 2907478"/>
                  <a:gd name="connsiteY131" fmla="*/ 330076 h 415692"/>
                  <a:gd name="connsiteX132" fmla="*/ 91263 w 2907478"/>
                  <a:gd name="connsiteY132" fmla="*/ 247193 h 415692"/>
                  <a:gd name="connsiteX133" fmla="*/ 111301 w 2907478"/>
                  <a:gd name="connsiteY133" fmla="*/ 330076 h 415692"/>
                  <a:gd name="connsiteX134" fmla="*/ 62117 w 2907478"/>
                  <a:gd name="connsiteY134" fmla="*/ 330805 h 415692"/>
                  <a:gd name="connsiteX135" fmla="*/ 207846 w 2907478"/>
                  <a:gd name="connsiteY135" fmla="*/ 17123 h 415692"/>
                  <a:gd name="connsiteX136" fmla="*/ 207846 w 2907478"/>
                  <a:gd name="connsiteY136" fmla="*/ 17123 h 415692"/>
                  <a:gd name="connsiteX137" fmla="*/ 272878 w 2907478"/>
                  <a:gd name="connsiteY137" fmla="*/ 61753 h 415692"/>
                  <a:gd name="connsiteX138" fmla="*/ 265774 w 2907478"/>
                  <a:gd name="connsiteY138" fmla="*/ 64303 h 415692"/>
                  <a:gd name="connsiteX139" fmla="*/ 146822 w 2907478"/>
                  <a:gd name="connsiteY139" fmla="*/ 135164 h 415692"/>
                  <a:gd name="connsiteX140" fmla="*/ 108386 w 2907478"/>
                  <a:gd name="connsiteY140" fmla="*/ 171414 h 415692"/>
                  <a:gd name="connsiteX141" fmla="*/ 207846 w 2907478"/>
                  <a:gd name="connsiteY141" fmla="*/ 17123 h 415692"/>
                  <a:gd name="connsiteX142" fmla="*/ 353393 w 2907478"/>
                  <a:gd name="connsiteY142" fmla="*/ 84887 h 415692"/>
                  <a:gd name="connsiteX143" fmla="*/ 354122 w 2907478"/>
                  <a:gd name="connsiteY143" fmla="*/ 85616 h 415692"/>
                  <a:gd name="connsiteX144" fmla="*/ 324247 w 2907478"/>
                  <a:gd name="connsiteY144" fmla="*/ 168499 h 415692"/>
                  <a:gd name="connsiteX145" fmla="*/ 304210 w 2907478"/>
                  <a:gd name="connsiteY145" fmla="*/ 85616 h 415692"/>
                  <a:gd name="connsiteX146" fmla="*/ 353393 w 2907478"/>
                  <a:gd name="connsiteY146" fmla="*/ 84887 h 415692"/>
                  <a:gd name="connsiteX147" fmla="*/ 139171 w 2907478"/>
                  <a:gd name="connsiteY147" fmla="*/ 190177 h 415692"/>
                  <a:gd name="connsiteX148" fmla="*/ 207846 w 2907478"/>
                  <a:gd name="connsiteY148" fmla="*/ 188901 h 415692"/>
                  <a:gd name="connsiteX149" fmla="*/ 306942 w 2907478"/>
                  <a:gd name="connsiteY149" fmla="*/ 191634 h 415692"/>
                  <a:gd name="connsiteX150" fmla="*/ 276521 w 2907478"/>
                  <a:gd name="connsiteY150" fmla="*/ 225334 h 415692"/>
                  <a:gd name="connsiteX151" fmla="*/ 207846 w 2907478"/>
                  <a:gd name="connsiteY151" fmla="*/ 226609 h 415692"/>
                  <a:gd name="connsiteX152" fmla="*/ 108750 w 2907478"/>
                  <a:gd name="connsiteY152" fmla="*/ 223876 h 415692"/>
                  <a:gd name="connsiteX153" fmla="*/ 139171 w 2907478"/>
                  <a:gd name="connsiteY153" fmla="*/ 190177 h 415692"/>
                  <a:gd name="connsiteX154" fmla="*/ 307488 w 2907478"/>
                  <a:gd name="connsiteY154" fmla="*/ 174693 h 415692"/>
                  <a:gd name="connsiteX155" fmla="*/ 207664 w 2907478"/>
                  <a:gd name="connsiteY155" fmla="*/ 171960 h 415692"/>
                  <a:gd name="connsiteX156" fmla="*/ 157570 w 2907478"/>
                  <a:gd name="connsiteY156" fmla="*/ 172689 h 415692"/>
                  <a:gd name="connsiteX157" fmla="*/ 169410 w 2907478"/>
                  <a:gd name="connsiteY157" fmla="*/ 162306 h 415692"/>
                  <a:gd name="connsiteX158" fmla="*/ 247193 w 2907478"/>
                  <a:gd name="connsiteY158" fmla="*/ 109661 h 415692"/>
                  <a:gd name="connsiteX159" fmla="*/ 287815 w 2907478"/>
                  <a:gd name="connsiteY159" fmla="*/ 91445 h 415692"/>
                  <a:gd name="connsiteX160" fmla="*/ 307488 w 2907478"/>
                  <a:gd name="connsiteY160" fmla="*/ 174875 h 415692"/>
                  <a:gd name="connsiteX161" fmla="*/ 68675 w 2907478"/>
                  <a:gd name="connsiteY161" fmla="*/ 220597 h 415692"/>
                  <a:gd name="connsiteX162" fmla="*/ 17123 w 2907478"/>
                  <a:gd name="connsiteY162" fmla="*/ 207664 h 415692"/>
                  <a:gd name="connsiteX163" fmla="*/ 89259 w 2907478"/>
                  <a:gd name="connsiteY163" fmla="*/ 192909 h 415692"/>
                  <a:gd name="connsiteX164" fmla="*/ 68675 w 2907478"/>
                  <a:gd name="connsiteY164" fmla="*/ 220597 h 415692"/>
                  <a:gd name="connsiteX165" fmla="*/ 28235 w 2907478"/>
                  <a:gd name="connsiteY165" fmla="*/ 231709 h 415692"/>
                  <a:gd name="connsiteX166" fmla="*/ 58292 w 2907478"/>
                  <a:gd name="connsiteY166" fmla="*/ 236628 h 415692"/>
                  <a:gd name="connsiteX167" fmla="*/ 56288 w 2907478"/>
                  <a:gd name="connsiteY167" fmla="*/ 239907 h 415692"/>
                  <a:gd name="connsiteX168" fmla="*/ 35886 w 2907478"/>
                  <a:gd name="connsiteY168" fmla="*/ 290547 h 415692"/>
                  <a:gd name="connsiteX169" fmla="*/ 18216 w 2907478"/>
                  <a:gd name="connsiteY169" fmla="*/ 228977 h 415692"/>
                  <a:gd name="connsiteX170" fmla="*/ 28235 w 2907478"/>
                  <a:gd name="connsiteY170" fmla="*/ 231709 h 415692"/>
                  <a:gd name="connsiteX171" fmla="*/ 108022 w 2907478"/>
                  <a:gd name="connsiteY171" fmla="*/ 241000 h 415692"/>
                  <a:gd name="connsiteX172" fmla="*/ 207846 w 2907478"/>
                  <a:gd name="connsiteY172" fmla="*/ 243732 h 415692"/>
                  <a:gd name="connsiteX173" fmla="*/ 257941 w 2907478"/>
                  <a:gd name="connsiteY173" fmla="*/ 243003 h 415692"/>
                  <a:gd name="connsiteX174" fmla="*/ 246100 w 2907478"/>
                  <a:gd name="connsiteY174" fmla="*/ 253387 h 415692"/>
                  <a:gd name="connsiteX175" fmla="*/ 168317 w 2907478"/>
                  <a:gd name="connsiteY175" fmla="*/ 306031 h 415692"/>
                  <a:gd name="connsiteX176" fmla="*/ 127695 w 2907478"/>
                  <a:gd name="connsiteY176" fmla="*/ 324247 h 415692"/>
                  <a:gd name="connsiteX177" fmla="*/ 108022 w 2907478"/>
                  <a:gd name="connsiteY177" fmla="*/ 240817 h 415692"/>
                  <a:gd name="connsiteX178" fmla="*/ 347017 w 2907478"/>
                  <a:gd name="connsiteY178" fmla="*/ 194913 h 415692"/>
                  <a:gd name="connsiteX179" fmla="*/ 398569 w 2907478"/>
                  <a:gd name="connsiteY179" fmla="*/ 207846 h 415692"/>
                  <a:gd name="connsiteX180" fmla="*/ 326433 w 2907478"/>
                  <a:gd name="connsiteY180" fmla="*/ 222601 h 415692"/>
                  <a:gd name="connsiteX181" fmla="*/ 347017 w 2907478"/>
                  <a:gd name="connsiteY181" fmla="*/ 194913 h 415692"/>
                  <a:gd name="connsiteX182" fmla="*/ 387275 w 2907478"/>
                  <a:gd name="connsiteY182" fmla="*/ 183801 h 415692"/>
                  <a:gd name="connsiteX183" fmla="*/ 357219 w 2907478"/>
                  <a:gd name="connsiteY183" fmla="*/ 178882 h 415692"/>
                  <a:gd name="connsiteX184" fmla="*/ 359222 w 2907478"/>
                  <a:gd name="connsiteY184" fmla="*/ 175604 h 415692"/>
                  <a:gd name="connsiteX185" fmla="*/ 379624 w 2907478"/>
                  <a:gd name="connsiteY185" fmla="*/ 124963 h 415692"/>
                  <a:gd name="connsiteX186" fmla="*/ 397294 w 2907478"/>
                  <a:gd name="connsiteY186" fmla="*/ 186533 h 415692"/>
                  <a:gd name="connsiteX187" fmla="*/ 387275 w 2907478"/>
                  <a:gd name="connsiteY187" fmla="*/ 183801 h 415692"/>
                  <a:gd name="connsiteX188" fmla="*/ 318965 w 2907478"/>
                  <a:gd name="connsiteY188" fmla="*/ 53009 h 415692"/>
                  <a:gd name="connsiteX189" fmla="*/ 289819 w 2907478"/>
                  <a:gd name="connsiteY189" fmla="*/ 56652 h 415692"/>
                  <a:gd name="connsiteX190" fmla="*/ 266320 w 2907478"/>
                  <a:gd name="connsiteY190" fmla="*/ 26231 h 415692"/>
                  <a:gd name="connsiteX191" fmla="*/ 318965 w 2907478"/>
                  <a:gd name="connsiteY191" fmla="*/ 53009 h 415692"/>
                  <a:gd name="connsiteX192" fmla="*/ 149372 w 2907478"/>
                  <a:gd name="connsiteY192" fmla="*/ 26413 h 415692"/>
                  <a:gd name="connsiteX193" fmla="*/ 90716 w 2907478"/>
                  <a:gd name="connsiteY193" fmla="*/ 175786 h 415692"/>
                  <a:gd name="connsiteX194" fmla="*/ 71407 w 2907478"/>
                  <a:gd name="connsiteY194" fmla="*/ 177425 h 415692"/>
                  <a:gd name="connsiteX195" fmla="*/ 28417 w 2907478"/>
                  <a:gd name="connsiteY195" fmla="*/ 183801 h 415692"/>
                  <a:gd name="connsiteX196" fmla="*/ 18398 w 2907478"/>
                  <a:gd name="connsiteY196" fmla="*/ 186533 h 415692"/>
                  <a:gd name="connsiteX197" fmla="*/ 149372 w 2907478"/>
                  <a:gd name="connsiteY197" fmla="*/ 26231 h 415692"/>
                  <a:gd name="connsiteX198" fmla="*/ 96546 w 2907478"/>
                  <a:gd name="connsiteY198" fmla="*/ 362501 h 415692"/>
                  <a:gd name="connsiteX199" fmla="*/ 125691 w 2907478"/>
                  <a:gd name="connsiteY199" fmla="*/ 358858 h 415692"/>
                  <a:gd name="connsiteX200" fmla="*/ 149190 w 2907478"/>
                  <a:gd name="connsiteY200" fmla="*/ 389279 h 415692"/>
                  <a:gd name="connsiteX201" fmla="*/ 96546 w 2907478"/>
                  <a:gd name="connsiteY201" fmla="*/ 362501 h 415692"/>
                  <a:gd name="connsiteX202" fmla="*/ 266320 w 2907478"/>
                  <a:gd name="connsiteY202" fmla="*/ 389279 h 415692"/>
                  <a:gd name="connsiteX203" fmla="*/ 324976 w 2907478"/>
                  <a:gd name="connsiteY203" fmla="*/ 239907 h 415692"/>
                  <a:gd name="connsiteX204" fmla="*/ 344285 w 2907478"/>
                  <a:gd name="connsiteY204" fmla="*/ 238267 h 415692"/>
                  <a:gd name="connsiteX205" fmla="*/ 387275 w 2907478"/>
                  <a:gd name="connsiteY205" fmla="*/ 231891 h 415692"/>
                  <a:gd name="connsiteX206" fmla="*/ 397294 w 2907478"/>
                  <a:gd name="connsiteY206" fmla="*/ 229159 h 415692"/>
                  <a:gd name="connsiteX207" fmla="*/ 266320 w 2907478"/>
                  <a:gd name="connsiteY207" fmla="*/ 389461 h 415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</a:cxnLst>
                <a:rect l="l" t="t" r="r" b="b"/>
                <a:pathLst>
                  <a:path w="2907478" h="415692">
                    <a:moveTo>
                      <a:pt x="591296" y="82701"/>
                    </a:moveTo>
                    <a:lnTo>
                      <a:pt x="676547" y="82701"/>
                    </a:lnTo>
                    <a:cubicBezTo>
                      <a:pt x="676547" y="82701"/>
                      <a:pt x="766535" y="277978"/>
                      <a:pt x="766535" y="277978"/>
                    </a:cubicBezTo>
                    <a:lnTo>
                      <a:pt x="772729" y="277978"/>
                    </a:lnTo>
                    <a:lnTo>
                      <a:pt x="772729" y="82701"/>
                    </a:lnTo>
                    <a:lnTo>
                      <a:pt x="821548" y="82701"/>
                    </a:lnTo>
                    <a:lnTo>
                      <a:pt x="821548" y="332991"/>
                    </a:lnTo>
                    <a:lnTo>
                      <a:pt x="736296" y="332991"/>
                    </a:lnTo>
                    <a:lnTo>
                      <a:pt x="645944" y="137714"/>
                    </a:lnTo>
                    <a:lnTo>
                      <a:pt x="640115" y="137714"/>
                    </a:lnTo>
                    <a:lnTo>
                      <a:pt x="640115" y="332991"/>
                    </a:lnTo>
                    <a:lnTo>
                      <a:pt x="591296" y="332991"/>
                    </a:lnTo>
                    <a:lnTo>
                      <a:pt x="591296" y="82701"/>
                    </a:lnTo>
                    <a:close/>
                    <a:moveTo>
                      <a:pt x="869274" y="207846"/>
                    </a:moveTo>
                    <a:cubicBezTo>
                      <a:pt x="869274" y="130063"/>
                      <a:pt x="921372" y="76872"/>
                      <a:pt x="997152" y="76872"/>
                    </a:cubicBezTo>
                    <a:cubicBezTo>
                      <a:pt x="1064369" y="76872"/>
                      <a:pt x="1109727" y="115126"/>
                      <a:pt x="1113371" y="174328"/>
                    </a:cubicBezTo>
                    <a:lnTo>
                      <a:pt x="1063276" y="174328"/>
                    </a:lnTo>
                    <a:cubicBezTo>
                      <a:pt x="1055443" y="138261"/>
                      <a:pt x="1034312" y="122777"/>
                      <a:pt x="1010085" y="122777"/>
                    </a:cubicBezTo>
                    <a:lnTo>
                      <a:pt x="981850" y="122777"/>
                    </a:lnTo>
                    <a:cubicBezTo>
                      <a:pt x="947786" y="122777"/>
                      <a:pt x="919733" y="160302"/>
                      <a:pt x="919733" y="208028"/>
                    </a:cubicBezTo>
                    <a:cubicBezTo>
                      <a:pt x="919733" y="255755"/>
                      <a:pt x="947968" y="293280"/>
                      <a:pt x="981850" y="293280"/>
                    </a:cubicBezTo>
                    <a:lnTo>
                      <a:pt x="1010085" y="293280"/>
                    </a:lnTo>
                    <a:cubicBezTo>
                      <a:pt x="1034312" y="293280"/>
                      <a:pt x="1056172" y="277614"/>
                      <a:pt x="1064005" y="241728"/>
                    </a:cubicBezTo>
                    <a:lnTo>
                      <a:pt x="1114099" y="241728"/>
                    </a:lnTo>
                    <a:cubicBezTo>
                      <a:pt x="1110638" y="299291"/>
                      <a:pt x="1064369" y="339185"/>
                      <a:pt x="995512" y="339185"/>
                    </a:cubicBezTo>
                    <a:cubicBezTo>
                      <a:pt x="923194" y="339185"/>
                      <a:pt x="869092" y="294555"/>
                      <a:pt x="869092" y="208210"/>
                    </a:cubicBezTo>
                    <a:close/>
                    <a:moveTo>
                      <a:pt x="1162736" y="82701"/>
                    </a:moveTo>
                    <a:lnTo>
                      <a:pt x="1280413" y="82701"/>
                    </a:lnTo>
                    <a:cubicBezTo>
                      <a:pt x="1335607" y="82701"/>
                      <a:pt x="1363296" y="118769"/>
                      <a:pt x="1363296" y="158663"/>
                    </a:cubicBezTo>
                    <a:cubicBezTo>
                      <a:pt x="1363296" y="189994"/>
                      <a:pt x="1346173" y="216590"/>
                      <a:pt x="1314841" y="227520"/>
                    </a:cubicBezTo>
                    <a:lnTo>
                      <a:pt x="1373133" y="333173"/>
                    </a:lnTo>
                    <a:lnTo>
                      <a:pt x="1317574" y="333173"/>
                    </a:lnTo>
                    <a:lnTo>
                      <a:pt x="1264018" y="234988"/>
                    </a:lnTo>
                    <a:lnTo>
                      <a:pt x="1212466" y="234988"/>
                    </a:lnTo>
                    <a:lnTo>
                      <a:pt x="1212466" y="333173"/>
                    </a:lnTo>
                    <a:lnTo>
                      <a:pt x="1162736" y="333173"/>
                    </a:lnTo>
                    <a:lnTo>
                      <a:pt x="1162736" y="82701"/>
                    </a:lnTo>
                    <a:close/>
                    <a:moveTo>
                      <a:pt x="1276951" y="194548"/>
                    </a:moveTo>
                    <a:cubicBezTo>
                      <a:pt x="1300086" y="194548"/>
                      <a:pt x="1313748" y="179247"/>
                      <a:pt x="1313748" y="159756"/>
                    </a:cubicBezTo>
                    <a:cubicBezTo>
                      <a:pt x="1313748" y="140264"/>
                      <a:pt x="1300086" y="124963"/>
                      <a:pt x="1276951" y="124963"/>
                    </a:cubicBezTo>
                    <a:lnTo>
                      <a:pt x="1212466" y="124963"/>
                    </a:lnTo>
                    <a:lnTo>
                      <a:pt x="1212466" y="194548"/>
                    </a:lnTo>
                    <a:lnTo>
                      <a:pt x="1276951" y="194548"/>
                    </a:lnTo>
                    <a:close/>
                    <a:moveTo>
                      <a:pt x="1555841" y="82701"/>
                    </a:moveTo>
                    <a:lnTo>
                      <a:pt x="1645100" y="82701"/>
                    </a:lnTo>
                    <a:lnTo>
                      <a:pt x="1728347" y="332991"/>
                    </a:lnTo>
                    <a:lnTo>
                      <a:pt x="1677160" y="332991"/>
                    </a:lnTo>
                    <a:lnTo>
                      <a:pt x="1656394" y="270874"/>
                    </a:lnTo>
                    <a:lnTo>
                      <a:pt x="1543271" y="270874"/>
                    </a:lnTo>
                    <a:lnTo>
                      <a:pt x="1522505" y="332991"/>
                    </a:lnTo>
                    <a:lnTo>
                      <a:pt x="1472411" y="332991"/>
                    </a:lnTo>
                    <a:lnTo>
                      <a:pt x="1555658" y="82701"/>
                    </a:lnTo>
                    <a:close/>
                    <a:moveTo>
                      <a:pt x="1641821" y="227702"/>
                    </a:moveTo>
                    <a:lnTo>
                      <a:pt x="1609760" y="131521"/>
                    </a:lnTo>
                    <a:lnTo>
                      <a:pt x="1589358" y="131521"/>
                    </a:lnTo>
                    <a:lnTo>
                      <a:pt x="1557298" y="227702"/>
                    </a:lnTo>
                    <a:lnTo>
                      <a:pt x="1641821" y="227702"/>
                    </a:lnTo>
                    <a:close/>
                    <a:moveTo>
                      <a:pt x="1797751" y="127149"/>
                    </a:moveTo>
                    <a:lnTo>
                      <a:pt x="1719604" y="127149"/>
                    </a:lnTo>
                    <a:lnTo>
                      <a:pt x="1719604" y="82519"/>
                    </a:lnTo>
                    <a:lnTo>
                      <a:pt x="1925446" y="82519"/>
                    </a:lnTo>
                    <a:lnTo>
                      <a:pt x="1925446" y="127149"/>
                    </a:lnTo>
                    <a:lnTo>
                      <a:pt x="1847663" y="127149"/>
                    </a:lnTo>
                    <a:lnTo>
                      <a:pt x="1847663" y="332991"/>
                    </a:lnTo>
                    <a:lnTo>
                      <a:pt x="1797933" y="332991"/>
                    </a:lnTo>
                    <a:lnTo>
                      <a:pt x="1797933" y="127149"/>
                    </a:lnTo>
                    <a:close/>
                    <a:moveTo>
                      <a:pt x="1969165" y="82701"/>
                    </a:moveTo>
                    <a:lnTo>
                      <a:pt x="2018895" y="82701"/>
                    </a:lnTo>
                    <a:lnTo>
                      <a:pt x="2018895" y="288544"/>
                    </a:lnTo>
                    <a:lnTo>
                      <a:pt x="2144768" y="288544"/>
                    </a:lnTo>
                    <a:lnTo>
                      <a:pt x="2144768" y="333173"/>
                    </a:lnTo>
                    <a:lnTo>
                      <a:pt x="1969165" y="333173"/>
                    </a:lnTo>
                    <a:lnTo>
                      <a:pt x="1969165" y="82701"/>
                    </a:lnTo>
                    <a:close/>
                    <a:moveTo>
                      <a:pt x="2188305" y="82701"/>
                    </a:moveTo>
                    <a:lnTo>
                      <a:pt x="2371742" y="82701"/>
                    </a:lnTo>
                    <a:lnTo>
                      <a:pt x="2371742" y="124963"/>
                    </a:lnTo>
                    <a:lnTo>
                      <a:pt x="2237489" y="124963"/>
                    </a:lnTo>
                    <a:lnTo>
                      <a:pt x="2237489" y="183983"/>
                    </a:lnTo>
                    <a:lnTo>
                      <a:pt x="2361905" y="183983"/>
                    </a:lnTo>
                    <a:lnTo>
                      <a:pt x="2361905" y="225516"/>
                    </a:lnTo>
                    <a:lnTo>
                      <a:pt x="2237489" y="225516"/>
                    </a:lnTo>
                    <a:lnTo>
                      <a:pt x="2237489" y="290912"/>
                    </a:lnTo>
                    <a:lnTo>
                      <a:pt x="2373563" y="290912"/>
                    </a:lnTo>
                    <a:lnTo>
                      <a:pt x="2373563" y="333173"/>
                    </a:lnTo>
                    <a:lnTo>
                      <a:pt x="2188123" y="333173"/>
                    </a:lnTo>
                    <a:lnTo>
                      <a:pt x="2188123" y="82701"/>
                    </a:lnTo>
                    <a:close/>
                    <a:moveTo>
                      <a:pt x="2409085" y="207846"/>
                    </a:moveTo>
                    <a:cubicBezTo>
                      <a:pt x="2409085" y="129699"/>
                      <a:pt x="2461547" y="76872"/>
                      <a:pt x="2538601" y="76872"/>
                    </a:cubicBezTo>
                    <a:cubicBezTo>
                      <a:pt x="2615656" y="76872"/>
                      <a:pt x="2667754" y="129699"/>
                      <a:pt x="2667754" y="207846"/>
                    </a:cubicBezTo>
                    <a:cubicBezTo>
                      <a:pt x="2667754" y="285993"/>
                      <a:pt x="2614927" y="338820"/>
                      <a:pt x="2538601" y="338820"/>
                    </a:cubicBezTo>
                    <a:cubicBezTo>
                      <a:pt x="2462276" y="338820"/>
                      <a:pt x="2409085" y="285993"/>
                      <a:pt x="2409085" y="207846"/>
                    </a:cubicBezTo>
                    <a:close/>
                    <a:moveTo>
                      <a:pt x="2525121" y="293098"/>
                    </a:moveTo>
                    <a:lnTo>
                      <a:pt x="2552081" y="293098"/>
                    </a:lnTo>
                    <a:cubicBezTo>
                      <a:pt x="2588878" y="293098"/>
                      <a:pt x="2616566" y="255572"/>
                      <a:pt x="2616566" y="207846"/>
                    </a:cubicBezTo>
                    <a:cubicBezTo>
                      <a:pt x="2616566" y="160120"/>
                      <a:pt x="2588878" y="122595"/>
                      <a:pt x="2552081" y="122595"/>
                    </a:cubicBezTo>
                    <a:lnTo>
                      <a:pt x="2525121" y="122595"/>
                    </a:lnTo>
                    <a:cubicBezTo>
                      <a:pt x="2487961" y="122595"/>
                      <a:pt x="2459726" y="160849"/>
                      <a:pt x="2459726" y="207846"/>
                    </a:cubicBezTo>
                    <a:cubicBezTo>
                      <a:pt x="2459726" y="254844"/>
                      <a:pt x="2487961" y="293098"/>
                      <a:pt x="2525121" y="293098"/>
                    </a:cubicBezTo>
                    <a:close/>
                    <a:moveTo>
                      <a:pt x="2701089" y="255937"/>
                    </a:moveTo>
                    <a:lnTo>
                      <a:pt x="2751913" y="255937"/>
                    </a:lnTo>
                    <a:cubicBezTo>
                      <a:pt x="2754645" y="277796"/>
                      <a:pt x="2767943" y="294191"/>
                      <a:pt x="2791806" y="294191"/>
                    </a:cubicBezTo>
                    <a:lnTo>
                      <a:pt x="2823866" y="294191"/>
                    </a:lnTo>
                    <a:cubicBezTo>
                      <a:pt x="2845726" y="294191"/>
                      <a:pt x="2858295" y="280893"/>
                      <a:pt x="2858295" y="262859"/>
                    </a:cubicBezTo>
                    <a:cubicBezTo>
                      <a:pt x="2858295" y="246464"/>
                      <a:pt x="2847365" y="234624"/>
                      <a:pt x="2828967" y="232802"/>
                    </a:cubicBezTo>
                    <a:lnTo>
                      <a:pt x="2775776" y="226973"/>
                    </a:lnTo>
                    <a:cubicBezTo>
                      <a:pt x="2730417" y="221873"/>
                      <a:pt x="2707647" y="194913"/>
                      <a:pt x="2707647" y="154655"/>
                    </a:cubicBezTo>
                    <a:cubicBezTo>
                      <a:pt x="2707647" y="105836"/>
                      <a:pt x="2744079" y="76872"/>
                      <a:pt x="2803828" y="76872"/>
                    </a:cubicBezTo>
                    <a:cubicBezTo>
                      <a:pt x="2863577" y="76872"/>
                      <a:pt x="2899645" y="104561"/>
                      <a:pt x="2902013" y="159391"/>
                    </a:cubicBezTo>
                    <a:lnTo>
                      <a:pt x="2851555" y="159391"/>
                    </a:lnTo>
                    <a:cubicBezTo>
                      <a:pt x="2849915" y="140264"/>
                      <a:pt x="2837892" y="121502"/>
                      <a:pt x="2815122" y="121502"/>
                    </a:cubicBezTo>
                    <a:lnTo>
                      <a:pt x="2788527" y="121502"/>
                    </a:lnTo>
                    <a:cubicBezTo>
                      <a:pt x="2769400" y="121502"/>
                      <a:pt x="2756467" y="132796"/>
                      <a:pt x="2756467" y="151194"/>
                    </a:cubicBezTo>
                    <a:cubicBezTo>
                      <a:pt x="2756467" y="169592"/>
                      <a:pt x="2770129" y="180522"/>
                      <a:pt x="2787434" y="182526"/>
                    </a:cubicBezTo>
                    <a:lnTo>
                      <a:pt x="2840625" y="188355"/>
                    </a:lnTo>
                    <a:cubicBezTo>
                      <a:pt x="2883251" y="193091"/>
                      <a:pt x="2907478" y="216954"/>
                      <a:pt x="2907478" y="260309"/>
                    </a:cubicBezTo>
                    <a:cubicBezTo>
                      <a:pt x="2907478" y="309674"/>
                      <a:pt x="2873050" y="339002"/>
                      <a:pt x="2804557" y="339002"/>
                    </a:cubicBezTo>
                    <a:cubicBezTo>
                      <a:pt x="2736064" y="339002"/>
                      <a:pt x="2702000" y="310767"/>
                      <a:pt x="2700907" y="256119"/>
                    </a:cubicBezTo>
                    <a:close/>
                    <a:moveTo>
                      <a:pt x="207846" y="0"/>
                    </a:moveTo>
                    <a:lnTo>
                      <a:pt x="207846" y="0"/>
                    </a:lnTo>
                    <a:cubicBezTo>
                      <a:pt x="93267" y="0"/>
                      <a:pt x="0" y="93267"/>
                      <a:pt x="0" y="207846"/>
                    </a:cubicBezTo>
                    <a:cubicBezTo>
                      <a:pt x="0" y="322426"/>
                      <a:pt x="93267" y="415692"/>
                      <a:pt x="207846" y="415692"/>
                    </a:cubicBezTo>
                    <a:lnTo>
                      <a:pt x="207846" y="415692"/>
                    </a:lnTo>
                    <a:cubicBezTo>
                      <a:pt x="322426" y="415692"/>
                      <a:pt x="415692" y="322426"/>
                      <a:pt x="415692" y="207846"/>
                    </a:cubicBezTo>
                    <a:cubicBezTo>
                      <a:pt x="415692" y="93267"/>
                      <a:pt x="322426" y="0"/>
                      <a:pt x="207846" y="0"/>
                    </a:cubicBezTo>
                    <a:close/>
                    <a:moveTo>
                      <a:pt x="207846" y="398569"/>
                    </a:moveTo>
                    <a:cubicBezTo>
                      <a:pt x="183072" y="398569"/>
                      <a:pt x="160484" y="381810"/>
                      <a:pt x="142815" y="353940"/>
                    </a:cubicBezTo>
                    <a:cubicBezTo>
                      <a:pt x="145183" y="353029"/>
                      <a:pt x="147551" y="352300"/>
                      <a:pt x="149919" y="351389"/>
                    </a:cubicBezTo>
                    <a:cubicBezTo>
                      <a:pt x="192362" y="335541"/>
                      <a:pt x="232984" y="310767"/>
                      <a:pt x="268870" y="280529"/>
                    </a:cubicBezTo>
                    <a:cubicBezTo>
                      <a:pt x="282350" y="269235"/>
                      <a:pt x="295284" y="257030"/>
                      <a:pt x="307306" y="244278"/>
                    </a:cubicBezTo>
                    <a:cubicBezTo>
                      <a:pt x="298198" y="332080"/>
                      <a:pt x="257030" y="398569"/>
                      <a:pt x="207846" y="398569"/>
                    </a:cubicBezTo>
                    <a:close/>
                    <a:moveTo>
                      <a:pt x="62117" y="330805"/>
                    </a:moveTo>
                    <a:cubicBezTo>
                      <a:pt x="62117" y="330805"/>
                      <a:pt x="61571" y="330259"/>
                      <a:pt x="61388" y="330076"/>
                    </a:cubicBezTo>
                    <a:cubicBezTo>
                      <a:pt x="49730" y="314411"/>
                      <a:pt x="74322" y="272149"/>
                      <a:pt x="91263" y="247193"/>
                    </a:cubicBezTo>
                    <a:cubicBezTo>
                      <a:pt x="94542" y="277796"/>
                      <a:pt x="101464" y="306031"/>
                      <a:pt x="111301" y="330076"/>
                    </a:cubicBezTo>
                    <a:cubicBezTo>
                      <a:pt x="90534" y="336452"/>
                      <a:pt x="70314" y="339367"/>
                      <a:pt x="62117" y="330805"/>
                    </a:cubicBezTo>
                    <a:close/>
                    <a:moveTo>
                      <a:pt x="207846" y="17123"/>
                    </a:moveTo>
                    <a:lnTo>
                      <a:pt x="207846" y="17123"/>
                    </a:lnTo>
                    <a:cubicBezTo>
                      <a:pt x="232620" y="17123"/>
                      <a:pt x="255208" y="33882"/>
                      <a:pt x="272878" y="61753"/>
                    </a:cubicBezTo>
                    <a:cubicBezTo>
                      <a:pt x="270510" y="62664"/>
                      <a:pt x="268142" y="63392"/>
                      <a:pt x="265774" y="64303"/>
                    </a:cubicBezTo>
                    <a:cubicBezTo>
                      <a:pt x="223330" y="80151"/>
                      <a:pt x="182708" y="104925"/>
                      <a:pt x="146822" y="135164"/>
                    </a:cubicBezTo>
                    <a:cubicBezTo>
                      <a:pt x="133342" y="146458"/>
                      <a:pt x="120409" y="158663"/>
                      <a:pt x="108386" y="171414"/>
                    </a:cubicBezTo>
                    <a:cubicBezTo>
                      <a:pt x="117494" y="83612"/>
                      <a:pt x="158480" y="17123"/>
                      <a:pt x="207846" y="17123"/>
                    </a:cubicBezTo>
                    <a:close/>
                    <a:moveTo>
                      <a:pt x="353393" y="84887"/>
                    </a:moveTo>
                    <a:cubicBezTo>
                      <a:pt x="353393" y="84887"/>
                      <a:pt x="353940" y="85434"/>
                      <a:pt x="354122" y="85616"/>
                    </a:cubicBezTo>
                    <a:cubicBezTo>
                      <a:pt x="365780" y="101282"/>
                      <a:pt x="341188" y="143543"/>
                      <a:pt x="324247" y="168499"/>
                    </a:cubicBezTo>
                    <a:cubicBezTo>
                      <a:pt x="320968" y="137896"/>
                      <a:pt x="314046" y="109661"/>
                      <a:pt x="304210" y="85616"/>
                    </a:cubicBezTo>
                    <a:cubicBezTo>
                      <a:pt x="324976" y="79240"/>
                      <a:pt x="345196" y="76326"/>
                      <a:pt x="353393" y="84887"/>
                    </a:cubicBezTo>
                    <a:close/>
                    <a:moveTo>
                      <a:pt x="139171" y="190177"/>
                    </a:moveTo>
                    <a:cubicBezTo>
                      <a:pt x="160484" y="189448"/>
                      <a:pt x="183619" y="188901"/>
                      <a:pt x="207846" y="188901"/>
                    </a:cubicBezTo>
                    <a:cubicBezTo>
                      <a:pt x="244096" y="188901"/>
                      <a:pt x="277978" y="189812"/>
                      <a:pt x="306942" y="191634"/>
                    </a:cubicBezTo>
                    <a:cubicBezTo>
                      <a:pt x="297470" y="203292"/>
                      <a:pt x="287269" y="214404"/>
                      <a:pt x="276521" y="225334"/>
                    </a:cubicBezTo>
                    <a:cubicBezTo>
                      <a:pt x="255208" y="226062"/>
                      <a:pt x="232074" y="226609"/>
                      <a:pt x="207846" y="226609"/>
                    </a:cubicBezTo>
                    <a:cubicBezTo>
                      <a:pt x="171596" y="226609"/>
                      <a:pt x="137714" y="225698"/>
                      <a:pt x="108750" y="223876"/>
                    </a:cubicBezTo>
                    <a:cubicBezTo>
                      <a:pt x="118223" y="212218"/>
                      <a:pt x="128424" y="201106"/>
                      <a:pt x="139171" y="190177"/>
                    </a:cubicBezTo>
                    <a:close/>
                    <a:moveTo>
                      <a:pt x="307488" y="174693"/>
                    </a:moveTo>
                    <a:cubicBezTo>
                      <a:pt x="277614" y="172871"/>
                      <a:pt x="243368" y="171960"/>
                      <a:pt x="207664" y="171960"/>
                    </a:cubicBezTo>
                    <a:cubicBezTo>
                      <a:pt x="190541" y="171960"/>
                      <a:pt x="173782" y="172143"/>
                      <a:pt x="157570" y="172689"/>
                    </a:cubicBezTo>
                    <a:cubicBezTo>
                      <a:pt x="161395" y="169228"/>
                      <a:pt x="165403" y="165767"/>
                      <a:pt x="169410" y="162306"/>
                    </a:cubicBezTo>
                    <a:cubicBezTo>
                      <a:pt x="193820" y="142086"/>
                      <a:pt x="220051" y="124416"/>
                      <a:pt x="247193" y="109661"/>
                    </a:cubicBezTo>
                    <a:cubicBezTo>
                      <a:pt x="252658" y="106747"/>
                      <a:pt x="269235" y="98549"/>
                      <a:pt x="287815" y="91445"/>
                    </a:cubicBezTo>
                    <a:cubicBezTo>
                      <a:pt x="297652" y="115308"/>
                      <a:pt x="304574" y="143725"/>
                      <a:pt x="307488" y="174875"/>
                    </a:cubicBezTo>
                    <a:close/>
                    <a:moveTo>
                      <a:pt x="68675" y="220597"/>
                    </a:moveTo>
                    <a:cubicBezTo>
                      <a:pt x="36797" y="217319"/>
                      <a:pt x="17123" y="212765"/>
                      <a:pt x="17123" y="207664"/>
                    </a:cubicBezTo>
                    <a:cubicBezTo>
                      <a:pt x="17123" y="201653"/>
                      <a:pt x="45358" y="196370"/>
                      <a:pt x="89259" y="192909"/>
                    </a:cubicBezTo>
                    <a:cubicBezTo>
                      <a:pt x="81973" y="201835"/>
                      <a:pt x="75050" y="211125"/>
                      <a:pt x="68675" y="220597"/>
                    </a:cubicBezTo>
                    <a:close/>
                    <a:moveTo>
                      <a:pt x="28235" y="231709"/>
                    </a:moveTo>
                    <a:cubicBezTo>
                      <a:pt x="36068" y="233531"/>
                      <a:pt x="46087" y="235170"/>
                      <a:pt x="58292" y="236628"/>
                    </a:cubicBezTo>
                    <a:cubicBezTo>
                      <a:pt x="57563" y="237721"/>
                      <a:pt x="57017" y="238814"/>
                      <a:pt x="56288" y="239907"/>
                    </a:cubicBezTo>
                    <a:cubicBezTo>
                      <a:pt x="47544" y="254844"/>
                      <a:pt x="38800" y="272513"/>
                      <a:pt x="35886" y="290547"/>
                    </a:cubicBezTo>
                    <a:cubicBezTo>
                      <a:pt x="26596" y="271603"/>
                      <a:pt x="20584" y="250836"/>
                      <a:pt x="18216" y="228977"/>
                    </a:cubicBezTo>
                    <a:cubicBezTo>
                      <a:pt x="22042" y="230434"/>
                      <a:pt x="25685" y="231163"/>
                      <a:pt x="28235" y="231709"/>
                    </a:cubicBezTo>
                    <a:close/>
                    <a:moveTo>
                      <a:pt x="108022" y="241000"/>
                    </a:moveTo>
                    <a:cubicBezTo>
                      <a:pt x="137896" y="242821"/>
                      <a:pt x="172143" y="243732"/>
                      <a:pt x="207846" y="243732"/>
                    </a:cubicBezTo>
                    <a:cubicBezTo>
                      <a:pt x="224969" y="243732"/>
                      <a:pt x="241728" y="243550"/>
                      <a:pt x="257941" y="243003"/>
                    </a:cubicBezTo>
                    <a:cubicBezTo>
                      <a:pt x="254115" y="246464"/>
                      <a:pt x="250108" y="249925"/>
                      <a:pt x="246100" y="253387"/>
                    </a:cubicBezTo>
                    <a:cubicBezTo>
                      <a:pt x="221690" y="273606"/>
                      <a:pt x="195459" y="291276"/>
                      <a:pt x="168317" y="306031"/>
                    </a:cubicBezTo>
                    <a:cubicBezTo>
                      <a:pt x="162852" y="308946"/>
                      <a:pt x="146276" y="317143"/>
                      <a:pt x="127695" y="324247"/>
                    </a:cubicBezTo>
                    <a:cubicBezTo>
                      <a:pt x="117858" y="300384"/>
                      <a:pt x="110936" y="271967"/>
                      <a:pt x="108022" y="240817"/>
                    </a:cubicBezTo>
                    <a:close/>
                    <a:moveTo>
                      <a:pt x="347017" y="194913"/>
                    </a:moveTo>
                    <a:cubicBezTo>
                      <a:pt x="378896" y="198192"/>
                      <a:pt x="398569" y="202746"/>
                      <a:pt x="398569" y="207846"/>
                    </a:cubicBezTo>
                    <a:cubicBezTo>
                      <a:pt x="398569" y="213857"/>
                      <a:pt x="370334" y="219140"/>
                      <a:pt x="326433" y="222601"/>
                    </a:cubicBezTo>
                    <a:cubicBezTo>
                      <a:pt x="333720" y="213675"/>
                      <a:pt x="340642" y="204385"/>
                      <a:pt x="347017" y="194913"/>
                    </a:cubicBezTo>
                    <a:close/>
                    <a:moveTo>
                      <a:pt x="387275" y="183801"/>
                    </a:moveTo>
                    <a:cubicBezTo>
                      <a:pt x="379442" y="181979"/>
                      <a:pt x="369423" y="180340"/>
                      <a:pt x="357219" y="178882"/>
                    </a:cubicBezTo>
                    <a:cubicBezTo>
                      <a:pt x="357947" y="177790"/>
                      <a:pt x="358494" y="176697"/>
                      <a:pt x="359222" y="175604"/>
                    </a:cubicBezTo>
                    <a:cubicBezTo>
                      <a:pt x="367966" y="160666"/>
                      <a:pt x="376710" y="142997"/>
                      <a:pt x="379624" y="124963"/>
                    </a:cubicBezTo>
                    <a:cubicBezTo>
                      <a:pt x="388915" y="143908"/>
                      <a:pt x="394926" y="164674"/>
                      <a:pt x="397294" y="186533"/>
                    </a:cubicBezTo>
                    <a:cubicBezTo>
                      <a:pt x="393469" y="185076"/>
                      <a:pt x="389825" y="184347"/>
                      <a:pt x="387275" y="183801"/>
                    </a:cubicBezTo>
                    <a:close/>
                    <a:moveTo>
                      <a:pt x="318965" y="53009"/>
                    </a:moveTo>
                    <a:cubicBezTo>
                      <a:pt x="309310" y="53009"/>
                      <a:pt x="299291" y="54284"/>
                      <a:pt x="289819" y="56652"/>
                    </a:cubicBezTo>
                    <a:cubicBezTo>
                      <a:pt x="282715" y="44812"/>
                      <a:pt x="274882" y="34611"/>
                      <a:pt x="266320" y="26231"/>
                    </a:cubicBezTo>
                    <a:cubicBezTo>
                      <a:pt x="285447" y="32425"/>
                      <a:pt x="303117" y="41533"/>
                      <a:pt x="318965" y="53009"/>
                    </a:cubicBezTo>
                    <a:close/>
                    <a:moveTo>
                      <a:pt x="149372" y="26413"/>
                    </a:moveTo>
                    <a:cubicBezTo>
                      <a:pt x="118405" y="56834"/>
                      <a:pt x="96363" y="110936"/>
                      <a:pt x="90716" y="175786"/>
                    </a:cubicBezTo>
                    <a:cubicBezTo>
                      <a:pt x="83976" y="176332"/>
                      <a:pt x="77419" y="176879"/>
                      <a:pt x="71407" y="177425"/>
                    </a:cubicBezTo>
                    <a:cubicBezTo>
                      <a:pt x="53191" y="179247"/>
                      <a:pt x="38618" y="181433"/>
                      <a:pt x="28417" y="183801"/>
                    </a:cubicBezTo>
                    <a:cubicBezTo>
                      <a:pt x="25867" y="184347"/>
                      <a:pt x="22224" y="185258"/>
                      <a:pt x="18398" y="186533"/>
                    </a:cubicBezTo>
                    <a:cubicBezTo>
                      <a:pt x="26778" y="111118"/>
                      <a:pt x="79240" y="48819"/>
                      <a:pt x="149372" y="26231"/>
                    </a:cubicBezTo>
                    <a:close/>
                    <a:moveTo>
                      <a:pt x="96546" y="362501"/>
                    </a:moveTo>
                    <a:cubicBezTo>
                      <a:pt x="106200" y="362501"/>
                      <a:pt x="116219" y="361226"/>
                      <a:pt x="125691" y="358858"/>
                    </a:cubicBezTo>
                    <a:cubicBezTo>
                      <a:pt x="132796" y="370698"/>
                      <a:pt x="140629" y="380900"/>
                      <a:pt x="149190" y="389279"/>
                    </a:cubicBezTo>
                    <a:cubicBezTo>
                      <a:pt x="130063" y="383085"/>
                      <a:pt x="112394" y="373977"/>
                      <a:pt x="96546" y="362501"/>
                    </a:cubicBezTo>
                    <a:close/>
                    <a:moveTo>
                      <a:pt x="266320" y="389279"/>
                    </a:moveTo>
                    <a:cubicBezTo>
                      <a:pt x="297287" y="358858"/>
                      <a:pt x="319329" y="304756"/>
                      <a:pt x="324976" y="239907"/>
                    </a:cubicBezTo>
                    <a:cubicBezTo>
                      <a:pt x="331716" y="239360"/>
                      <a:pt x="338274" y="238814"/>
                      <a:pt x="344285" y="238267"/>
                    </a:cubicBezTo>
                    <a:cubicBezTo>
                      <a:pt x="362501" y="236445"/>
                      <a:pt x="377074" y="234260"/>
                      <a:pt x="387275" y="231891"/>
                    </a:cubicBezTo>
                    <a:cubicBezTo>
                      <a:pt x="389825" y="231345"/>
                      <a:pt x="393469" y="230434"/>
                      <a:pt x="397294" y="229159"/>
                    </a:cubicBezTo>
                    <a:cubicBezTo>
                      <a:pt x="388915" y="304574"/>
                      <a:pt x="336452" y="366873"/>
                      <a:pt x="266320" y="38946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58FDF6FA-AA4B-179B-4C44-4902B3184523}"/>
                  </a:ext>
                </a:extLst>
              </p:cNvPr>
              <p:cNvSpPr/>
              <p:nvPr/>
            </p:nvSpPr>
            <p:spPr>
              <a:xfrm>
                <a:off x="7838670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0E2B3A66-8420-1E87-22C0-D2EA32F4AAE4}"/>
                  </a:ext>
                </a:extLst>
              </p:cNvPr>
              <p:cNvSpPr/>
              <p:nvPr/>
            </p:nvSpPr>
            <p:spPr>
              <a:xfrm>
                <a:off x="8667869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DA11A87B-45EF-6425-677A-0AAD2CEBD3FB}"/>
                  </a:ext>
                </a:extLst>
              </p:cNvPr>
              <p:cNvSpPr/>
              <p:nvPr/>
            </p:nvSpPr>
            <p:spPr>
              <a:xfrm>
                <a:off x="8090963" y="2067424"/>
                <a:ext cx="364869" cy="344649"/>
              </a:xfrm>
              <a:custGeom>
                <a:avLst/>
                <a:gdLst>
                  <a:gd name="connsiteX0" fmla="*/ 146822 w 364869"/>
                  <a:gd name="connsiteY0" fmla="*/ 182 h 344649"/>
                  <a:gd name="connsiteX1" fmla="*/ 0 w 364869"/>
                  <a:gd name="connsiteY1" fmla="*/ 173600 h 344649"/>
                  <a:gd name="connsiteX2" fmla="*/ 146822 w 364869"/>
                  <a:gd name="connsiteY2" fmla="*/ 344649 h 344649"/>
                  <a:gd name="connsiteX3" fmla="*/ 218958 w 364869"/>
                  <a:gd name="connsiteY3" fmla="*/ 344649 h 344649"/>
                  <a:gd name="connsiteX4" fmla="*/ 364869 w 364869"/>
                  <a:gd name="connsiteY4" fmla="*/ 172689 h 344649"/>
                  <a:gd name="connsiteX5" fmla="*/ 218958 w 364869"/>
                  <a:gd name="connsiteY5" fmla="*/ 0 h 344649"/>
                  <a:gd name="connsiteX6" fmla="*/ 146822 w 364869"/>
                  <a:gd name="connsiteY6" fmla="*/ 0 h 344649"/>
                  <a:gd name="connsiteX7" fmla="*/ 258123 w 364869"/>
                  <a:gd name="connsiteY7" fmla="*/ 287997 h 344649"/>
                  <a:gd name="connsiteX8" fmla="*/ 277068 w 364869"/>
                  <a:gd name="connsiteY8" fmla="*/ 273789 h 344649"/>
                  <a:gd name="connsiteX9" fmla="*/ 301113 w 364869"/>
                  <a:gd name="connsiteY9" fmla="*/ 218958 h 344649"/>
                  <a:gd name="connsiteX10" fmla="*/ 316961 w 364869"/>
                  <a:gd name="connsiteY10" fmla="*/ 204203 h 344649"/>
                  <a:gd name="connsiteX11" fmla="*/ 331716 w 364869"/>
                  <a:gd name="connsiteY11" fmla="*/ 220233 h 344649"/>
                  <a:gd name="connsiteX12" fmla="*/ 298745 w 364869"/>
                  <a:gd name="connsiteY12" fmla="*/ 295648 h 344649"/>
                  <a:gd name="connsiteX13" fmla="*/ 272514 w 364869"/>
                  <a:gd name="connsiteY13" fmla="*/ 315321 h 344649"/>
                  <a:gd name="connsiteX14" fmla="*/ 265409 w 364869"/>
                  <a:gd name="connsiteY14" fmla="*/ 317143 h 344649"/>
                  <a:gd name="connsiteX15" fmla="*/ 251747 w 364869"/>
                  <a:gd name="connsiteY15" fmla="*/ 308946 h 344649"/>
                  <a:gd name="connsiteX16" fmla="*/ 258123 w 364869"/>
                  <a:gd name="connsiteY16" fmla="*/ 288179 h 344649"/>
                  <a:gd name="connsiteX17" fmla="*/ 258123 w 364869"/>
                  <a:gd name="connsiteY17" fmla="*/ 288179 h 344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4869" h="344649">
                    <a:moveTo>
                      <a:pt x="146822" y="182"/>
                    </a:moveTo>
                    <a:cubicBezTo>
                      <a:pt x="44812" y="182"/>
                      <a:pt x="0" y="51916"/>
                      <a:pt x="0" y="173600"/>
                    </a:cubicBezTo>
                    <a:cubicBezTo>
                      <a:pt x="0" y="295284"/>
                      <a:pt x="43901" y="344649"/>
                      <a:pt x="146822" y="344649"/>
                    </a:cubicBezTo>
                    <a:lnTo>
                      <a:pt x="218958" y="344649"/>
                    </a:lnTo>
                    <a:cubicBezTo>
                      <a:pt x="320969" y="344649"/>
                      <a:pt x="364869" y="294373"/>
                      <a:pt x="364869" y="172689"/>
                    </a:cubicBezTo>
                    <a:cubicBezTo>
                      <a:pt x="364869" y="51005"/>
                      <a:pt x="320969" y="0"/>
                      <a:pt x="218958" y="0"/>
                    </a:cubicBezTo>
                    <a:lnTo>
                      <a:pt x="146822" y="0"/>
                    </a:lnTo>
                    <a:close/>
                    <a:moveTo>
                      <a:pt x="258123" y="287997"/>
                    </a:moveTo>
                    <a:cubicBezTo>
                      <a:pt x="265045" y="284354"/>
                      <a:pt x="271421" y="279618"/>
                      <a:pt x="277068" y="273789"/>
                    </a:cubicBezTo>
                    <a:cubicBezTo>
                      <a:pt x="291823" y="259216"/>
                      <a:pt x="300202" y="239724"/>
                      <a:pt x="301113" y="218958"/>
                    </a:cubicBezTo>
                    <a:cubicBezTo>
                      <a:pt x="301477" y="210396"/>
                      <a:pt x="308764" y="203839"/>
                      <a:pt x="316961" y="204203"/>
                    </a:cubicBezTo>
                    <a:cubicBezTo>
                      <a:pt x="325523" y="204567"/>
                      <a:pt x="332080" y="211672"/>
                      <a:pt x="331716" y="220233"/>
                    </a:cubicBezTo>
                    <a:cubicBezTo>
                      <a:pt x="330623" y="248650"/>
                      <a:pt x="318965" y="275428"/>
                      <a:pt x="298745" y="295648"/>
                    </a:cubicBezTo>
                    <a:cubicBezTo>
                      <a:pt x="290912" y="303481"/>
                      <a:pt x="281986" y="310039"/>
                      <a:pt x="272514" y="315321"/>
                    </a:cubicBezTo>
                    <a:cubicBezTo>
                      <a:pt x="270328" y="316597"/>
                      <a:pt x="267777" y="317143"/>
                      <a:pt x="265409" y="317143"/>
                    </a:cubicBezTo>
                    <a:cubicBezTo>
                      <a:pt x="259945" y="317143"/>
                      <a:pt x="254480" y="314228"/>
                      <a:pt x="251747" y="308946"/>
                    </a:cubicBezTo>
                    <a:cubicBezTo>
                      <a:pt x="247740" y="301477"/>
                      <a:pt x="250472" y="292187"/>
                      <a:pt x="258123" y="288179"/>
                    </a:cubicBezTo>
                    <a:lnTo>
                      <a:pt x="258123" y="288179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E429ABB-9753-C289-69EA-4662D928E84F}"/>
              </a:ext>
            </a:extLst>
          </p:cNvPr>
          <p:cNvGrpSpPr/>
          <p:nvPr userDrawn="1"/>
        </p:nvGrpSpPr>
        <p:grpSpPr>
          <a:xfrm>
            <a:off x="6611525" y="467263"/>
            <a:ext cx="5018430" cy="5609652"/>
            <a:chOff x="6611525" y="467263"/>
            <a:chExt cx="5018430" cy="5609652"/>
          </a:xfrm>
        </p:grpSpPr>
        <p:grpSp>
          <p:nvGrpSpPr>
            <p:cNvPr id="34" name="Graphic 8">
              <a:extLst>
                <a:ext uri="{FF2B5EF4-FFF2-40B4-BE49-F238E27FC236}">
                  <a16:creationId xmlns:a16="http://schemas.microsoft.com/office/drawing/2014/main" id="{E55F626D-1E1C-11DE-0701-FA3647442540}"/>
                </a:ext>
              </a:extLst>
            </p:cNvPr>
            <p:cNvGrpSpPr/>
            <p:nvPr/>
          </p:nvGrpSpPr>
          <p:grpSpPr>
            <a:xfrm>
              <a:off x="6611525" y="5225114"/>
              <a:ext cx="5018430" cy="553158"/>
              <a:chOff x="6611525" y="5225114"/>
              <a:chExt cx="5018430" cy="553158"/>
            </a:xfrm>
            <a:solidFill>
              <a:srgbClr val="789F90"/>
            </a:solidFill>
          </p:grpSpPr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382BF101-274D-5064-4FFE-ED78B0E2A214}"/>
                  </a:ext>
                </a:extLst>
              </p:cNvPr>
              <p:cNvSpPr/>
              <p:nvPr/>
            </p:nvSpPr>
            <p:spPr>
              <a:xfrm>
                <a:off x="6611525" y="5225114"/>
                <a:ext cx="841060" cy="553158"/>
              </a:xfrm>
              <a:custGeom>
                <a:avLst/>
                <a:gdLst>
                  <a:gd name="connsiteX0" fmla="*/ 99658 w 841060"/>
                  <a:gd name="connsiteY0" fmla="*/ 543574 h 553158"/>
                  <a:gd name="connsiteX1" fmla="*/ 0 w 841060"/>
                  <a:gd name="connsiteY1" fmla="*/ 543574 h 553158"/>
                  <a:gd name="connsiteX2" fmla="*/ 165436 w 841060"/>
                  <a:gd name="connsiteY2" fmla="*/ 98997 h 553158"/>
                  <a:gd name="connsiteX3" fmla="*/ 291206 w 841060"/>
                  <a:gd name="connsiteY3" fmla="*/ 0 h 553158"/>
                  <a:gd name="connsiteX4" fmla="*/ 409870 w 841060"/>
                  <a:gd name="connsiteY4" fmla="*/ 116350 h 553158"/>
                  <a:gd name="connsiteX5" fmla="*/ 409870 w 841060"/>
                  <a:gd name="connsiteY5" fmla="*/ 432016 h 553158"/>
                  <a:gd name="connsiteX6" fmla="*/ 436809 w 841060"/>
                  <a:gd name="connsiteY6" fmla="*/ 462095 h 553158"/>
                  <a:gd name="connsiteX7" fmla="*/ 466888 w 841060"/>
                  <a:gd name="connsiteY7" fmla="*/ 439949 h 553158"/>
                  <a:gd name="connsiteX8" fmla="*/ 596626 w 841060"/>
                  <a:gd name="connsiteY8" fmla="*/ 99162 h 553158"/>
                  <a:gd name="connsiteX9" fmla="*/ 722396 w 841060"/>
                  <a:gd name="connsiteY9" fmla="*/ 165 h 553158"/>
                  <a:gd name="connsiteX10" fmla="*/ 841060 w 841060"/>
                  <a:gd name="connsiteY10" fmla="*/ 116515 h 553158"/>
                  <a:gd name="connsiteX11" fmla="*/ 841060 w 841060"/>
                  <a:gd name="connsiteY11" fmla="*/ 543574 h 553158"/>
                  <a:gd name="connsiteX12" fmla="*/ 746856 w 841060"/>
                  <a:gd name="connsiteY12" fmla="*/ 543574 h 553158"/>
                  <a:gd name="connsiteX13" fmla="*/ 746856 w 841060"/>
                  <a:gd name="connsiteY13" fmla="*/ 121143 h 553158"/>
                  <a:gd name="connsiteX14" fmla="*/ 719917 w 841060"/>
                  <a:gd name="connsiteY14" fmla="*/ 90402 h 553158"/>
                  <a:gd name="connsiteX15" fmla="*/ 690664 w 841060"/>
                  <a:gd name="connsiteY15" fmla="*/ 113375 h 553158"/>
                  <a:gd name="connsiteX16" fmla="*/ 560927 w 841060"/>
                  <a:gd name="connsiteY16" fmla="*/ 454328 h 553158"/>
                  <a:gd name="connsiteX17" fmla="*/ 434330 w 841060"/>
                  <a:gd name="connsiteY17" fmla="*/ 553159 h 553158"/>
                  <a:gd name="connsiteX18" fmla="*/ 316493 w 841060"/>
                  <a:gd name="connsiteY18" fmla="*/ 435982 h 553158"/>
                  <a:gd name="connsiteX19" fmla="*/ 316493 w 841060"/>
                  <a:gd name="connsiteY19" fmla="*/ 121143 h 553158"/>
                  <a:gd name="connsiteX20" fmla="*/ 288892 w 841060"/>
                  <a:gd name="connsiteY20" fmla="*/ 90402 h 553158"/>
                  <a:gd name="connsiteX21" fmla="*/ 259640 w 841060"/>
                  <a:gd name="connsiteY21" fmla="*/ 113375 h 553158"/>
                  <a:gd name="connsiteX22" fmla="*/ 99823 w 841060"/>
                  <a:gd name="connsiteY22" fmla="*/ 543739 h 553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41060" h="553158">
                    <a:moveTo>
                      <a:pt x="99658" y="543574"/>
                    </a:moveTo>
                    <a:lnTo>
                      <a:pt x="0" y="543574"/>
                    </a:lnTo>
                    <a:lnTo>
                      <a:pt x="165436" y="98997"/>
                    </a:lnTo>
                    <a:cubicBezTo>
                      <a:pt x="185929" y="38012"/>
                      <a:pt x="219975" y="0"/>
                      <a:pt x="291206" y="0"/>
                    </a:cubicBezTo>
                    <a:cubicBezTo>
                      <a:pt x="370371" y="0"/>
                      <a:pt x="409870" y="46606"/>
                      <a:pt x="409870" y="116350"/>
                    </a:cubicBezTo>
                    <a:lnTo>
                      <a:pt x="409870" y="432016"/>
                    </a:lnTo>
                    <a:cubicBezTo>
                      <a:pt x="409870" y="450196"/>
                      <a:pt x="420943" y="462095"/>
                      <a:pt x="436809" y="462095"/>
                    </a:cubicBezTo>
                    <a:cubicBezTo>
                      <a:pt x="451022" y="462095"/>
                      <a:pt x="462096" y="453336"/>
                      <a:pt x="466888" y="439949"/>
                    </a:cubicBezTo>
                    <a:lnTo>
                      <a:pt x="596626" y="99162"/>
                    </a:lnTo>
                    <a:cubicBezTo>
                      <a:pt x="617284" y="38177"/>
                      <a:pt x="651165" y="165"/>
                      <a:pt x="722396" y="165"/>
                    </a:cubicBezTo>
                    <a:cubicBezTo>
                      <a:pt x="801395" y="165"/>
                      <a:pt x="841060" y="46771"/>
                      <a:pt x="841060" y="116515"/>
                    </a:cubicBezTo>
                    <a:lnTo>
                      <a:pt x="841060" y="543574"/>
                    </a:lnTo>
                    <a:lnTo>
                      <a:pt x="746856" y="543574"/>
                    </a:lnTo>
                    <a:lnTo>
                      <a:pt x="746856" y="121143"/>
                    </a:lnTo>
                    <a:cubicBezTo>
                      <a:pt x="746856" y="102137"/>
                      <a:pt x="735783" y="90402"/>
                      <a:pt x="719917" y="90402"/>
                    </a:cubicBezTo>
                    <a:cubicBezTo>
                      <a:pt x="706530" y="90402"/>
                      <a:pt x="695457" y="99823"/>
                      <a:pt x="690664" y="113375"/>
                    </a:cubicBezTo>
                    <a:lnTo>
                      <a:pt x="560927" y="454328"/>
                    </a:lnTo>
                    <a:cubicBezTo>
                      <a:pt x="540268" y="515147"/>
                      <a:pt x="505562" y="553159"/>
                      <a:pt x="434330" y="553159"/>
                    </a:cubicBezTo>
                    <a:cubicBezTo>
                      <a:pt x="355992" y="553159"/>
                      <a:pt x="316493" y="506553"/>
                      <a:pt x="316493" y="435982"/>
                    </a:cubicBezTo>
                    <a:lnTo>
                      <a:pt x="316493" y="121143"/>
                    </a:lnTo>
                    <a:cubicBezTo>
                      <a:pt x="316493" y="102137"/>
                      <a:pt x="304758" y="90402"/>
                      <a:pt x="288892" y="90402"/>
                    </a:cubicBezTo>
                    <a:cubicBezTo>
                      <a:pt x="274514" y="90402"/>
                      <a:pt x="265093" y="99823"/>
                      <a:pt x="259640" y="113375"/>
                    </a:cubicBezTo>
                    <a:lnTo>
                      <a:pt x="99823" y="54373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803E7AAF-9198-A153-57DA-75E37BF650D3}"/>
                  </a:ext>
                </a:extLst>
              </p:cNvPr>
              <p:cNvSpPr/>
              <p:nvPr/>
            </p:nvSpPr>
            <p:spPr>
              <a:xfrm>
                <a:off x="7524147" y="5225278"/>
                <a:ext cx="590841" cy="543408"/>
              </a:xfrm>
              <a:custGeom>
                <a:avLst/>
                <a:gdLst>
                  <a:gd name="connsiteX0" fmla="*/ 102798 w 590841"/>
                  <a:gd name="connsiteY0" fmla="*/ 543409 h 543408"/>
                  <a:gd name="connsiteX1" fmla="*/ 0 w 590841"/>
                  <a:gd name="connsiteY1" fmla="*/ 543409 h 543408"/>
                  <a:gd name="connsiteX2" fmla="*/ 187416 w 590841"/>
                  <a:gd name="connsiteY2" fmla="*/ 68918 h 543408"/>
                  <a:gd name="connsiteX3" fmla="*/ 299800 w 590841"/>
                  <a:gd name="connsiteY3" fmla="*/ 0 h 543408"/>
                  <a:gd name="connsiteX4" fmla="*/ 410531 w 590841"/>
                  <a:gd name="connsiteY4" fmla="*/ 68918 h 543408"/>
                  <a:gd name="connsiteX5" fmla="*/ 590841 w 590841"/>
                  <a:gd name="connsiteY5" fmla="*/ 543409 h 543408"/>
                  <a:gd name="connsiteX6" fmla="*/ 487217 w 590841"/>
                  <a:gd name="connsiteY6" fmla="*/ 543409 h 543408"/>
                  <a:gd name="connsiteX7" fmla="*/ 325087 w 590841"/>
                  <a:gd name="connsiteY7" fmla="*/ 113871 h 543408"/>
                  <a:gd name="connsiteX8" fmla="*/ 298974 w 590841"/>
                  <a:gd name="connsiteY8" fmla="*/ 95692 h 543408"/>
                  <a:gd name="connsiteX9" fmla="*/ 272035 w 590841"/>
                  <a:gd name="connsiteY9" fmla="*/ 113871 h 543408"/>
                  <a:gd name="connsiteX10" fmla="*/ 102798 w 590841"/>
                  <a:gd name="connsiteY10" fmla="*/ 543409 h 54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0841" h="543408">
                    <a:moveTo>
                      <a:pt x="102798" y="543409"/>
                    </a:moveTo>
                    <a:lnTo>
                      <a:pt x="0" y="543409"/>
                    </a:lnTo>
                    <a:lnTo>
                      <a:pt x="187416" y="68918"/>
                    </a:lnTo>
                    <a:cubicBezTo>
                      <a:pt x="207249" y="19006"/>
                      <a:pt x="243608" y="0"/>
                      <a:pt x="299800" y="0"/>
                    </a:cubicBezTo>
                    <a:cubicBezTo>
                      <a:pt x="355992" y="0"/>
                      <a:pt x="391525" y="19006"/>
                      <a:pt x="410531" y="68918"/>
                    </a:cubicBezTo>
                    <a:lnTo>
                      <a:pt x="590841" y="543409"/>
                    </a:lnTo>
                    <a:lnTo>
                      <a:pt x="487217" y="543409"/>
                    </a:lnTo>
                    <a:lnTo>
                      <a:pt x="325087" y="113871"/>
                    </a:lnTo>
                    <a:cubicBezTo>
                      <a:pt x="320294" y="101145"/>
                      <a:pt x="311700" y="95692"/>
                      <a:pt x="298974" y="95692"/>
                    </a:cubicBezTo>
                    <a:cubicBezTo>
                      <a:pt x="286248" y="95692"/>
                      <a:pt x="277654" y="101145"/>
                      <a:pt x="272035" y="113871"/>
                    </a:cubicBezTo>
                    <a:lnTo>
                      <a:pt x="102798" y="54340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860A5135-037C-A06B-4190-360BF9B4A2E6}"/>
                  </a:ext>
                </a:extLst>
              </p:cNvPr>
              <p:cNvSpPr/>
              <p:nvPr/>
            </p:nvSpPr>
            <p:spPr>
              <a:xfrm>
                <a:off x="8185062" y="5234699"/>
                <a:ext cx="472177" cy="534153"/>
              </a:xfrm>
              <a:custGeom>
                <a:avLst/>
                <a:gdLst>
                  <a:gd name="connsiteX0" fmla="*/ 289388 w 472177"/>
                  <a:gd name="connsiteY0" fmla="*/ 0 h 534153"/>
                  <a:gd name="connsiteX1" fmla="*/ 461104 w 472177"/>
                  <a:gd name="connsiteY1" fmla="*/ 159817 h 534153"/>
                  <a:gd name="connsiteX2" fmla="*/ 347894 w 472177"/>
                  <a:gd name="connsiteY2" fmla="*/ 320459 h 534153"/>
                  <a:gd name="connsiteX3" fmla="*/ 472177 w 472177"/>
                  <a:gd name="connsiteY3" fmla="*/ 534154 h 534153"/>
                  <a:gd name="connsiteX4" fmla="*/ 368553 w 472177"/>
                  <a:gd name="connsiteY4" fmla="*/ 534154 h 534153"/>
                  <a:gd name="connsiteX5" fmla="*/ 246748 w 472177"/>
                  <a:gd name="connsiteY5" fmla="*/ 327731 h 534153"/>
                  <a:gd name="connsiteX6" fmla="*/ 107591 w 472177"/>
                  <a:gd name="connsiteY6" fmla="*/ 327731 h 534153"/>
                  <a:gd name="connsiteX7" fmla="*/ 94204 w 472177"/>
                  <a:gd name="connsiteY7" fmla="*/ 341118 h 534153"/>
                  <a:gd name="connsiteX8" fmla="*/ 94204 w 472177"/>
                  <a:gd name="connsiteY8" fmla="*/ 534154 h 534153"/>
                  <a:gd name="connsiteX9" fmla="*/ 826 w 472177"/>
                  <a:gd name="connsiteY9" fmla="*/ 534154 h 534153"/>
                  <a:gd name="connsiteX10" fmla="*/ 826 w 472177"/>
                  <a:gd name="connsiteY10" fmla="*/ 322938 h 534153"/>
                  <a:gd name="connsiteX11" fmla="*/ 84618 w 472177"/>
                  <a:gd name="connsiteY11" fmla="*/ 238320 h 534153"/>
                  <a:gd name="connsiteX12" fmla="*/ 292694 w 472177"/>
                  <a:gd name="connsiteY12" fmla="*/ 238320 h 534153"/>
                  <a:gd name="connsiteX13" fmla="*/ 367065 w 472177"/>
                  <a:gd name="connsiteY13" fmla="*/ 163948 h 534153"/>
                  <a:gd name="connsiteX14" fmla="*/ 292694 w 472177"/>
                  <a:gd name="connsiteY14" fmla="*/ 93543 h 534153"/>
                  <a:gd name="connsiteX15" fmla="*/ 0 w 472177"/>
                  <a:gd name="connsiteY15" fmla="*/ 93543 h 534153"/>
                  <a:gd name="connsiteX16" fmla="*/ 0 w 472177"/>
                  <a:gd name="connsiteY16" fmla="*/ 165 h 534153"/>
                  <a:gd name="connsiteX17" fmla="*/ 289388 w 472177"/>
                  <a:gd name="connsiteY17" fmla="*/ 165 h 534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72177" h="534153">
                    <a:moveTo>
                      <a:pt x="289388" y="0"/>
                    </a:moveTo>
                    <a:cubicBezTo>
                      <a:pt x="409705" y="0"/>
                      <a:pt x="461104" y="74372"/>
                      <a:pt x="461104" y="159817"/>
                    </a:cubicBezTo>
                    <a:cubicBezTo>
                      <a:pt x="461104" y="226255"/>
                      <a:pt x="429537" y="297486"/>
                      <a:pt x="347894" y="320459"/>
                    </a:cubicBezTo>
                    <a:lnTo>
                      <a:pt x="472177" y="534154"/>
                    </a:lnTo>
                    <a:lnTo>
                      <a:pt x="368553" y="534154"/>
                    </a:lnTo>
                    <a:lnTo>
                      <a:pt x="246748" y="327731"/>
                    </a:lnTo>
                    <a:lnTo>
                      <a:pt x="107591" y="327731"/>
                    </a:lnTo>
                    <a:cubicBezTo>
                      <a:pt x="98832" y="327731"/>
                      <a:pt x="94204" y="331698"/>
                      <a:pt x="94204" y="341118"/>
                    </a:cubicBezTo>
                    <a:lnTo>
                      <a:pt x="94204" y="534154"/>
                    </a:lnTo>
                    <a:lnTo>
                      <a:pt x="826" y="534154"/>
                    </a:lnTo>
                    <a:lnTo>
                      <a:pt x="826" y="322938"/>
                    </a:lnTo>
                    <a:cubicBezTo>
                      <a:pt x="826" y="262780"/>
                      <a:pt x="26113" y="238320"/>
                      <a:pt x="84618" y="238320"/>
                    </a:cubicBezTo>
                    <a:lnTo>
                      <a:pt x="292694" y="238320"/>
                    </a:lnTo>
                    <a:cubicBezTo>
                      <a:pt x="345745" y="238320"/>
                      <a:pt x="367065" y="201960"/>
                      <a:pt x="367065" y="163948"/>
                    </a:cubicBezTo>
                    <a:cubicBezTo>
                      <a:pt x="367065" y="125936"/>
                      <a:pt x="344093" y="93543"/>
                      <a:pt x="292694" y="93543"/>
                    </a:cubicBezTo>
                    <a:lnTo>
                      <a:pt x="0" y="93543"/>
                    </a:lnTo>
                    <a:lnTo>
                      <a:pt x="0" y="165"/>
                    </a:lnTo>
                    <a:lnTo>
                      <a:pt x="289388" y="165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1416B3A6-32E5-DB2F-1544-340FA165B70E}"/>
                  </a:ext>
                </a:extLst>
              </p:cNvPr>
              <p:cNvSpPr/>
              <p:nvPr/>
            </p:nvSpPr>
            <p:spPr>
              <a:xfrm>
                <a:off x="8719381" y="5234699"/>
                <a:ext cx="476804" cy="533988"/>
              </a:xfrm>
              <a:custGeom>
                <a:avLst/>
                <a:gdLst>
                  <a:gd name="connsiteX0" fmla="*/ 436479 w 476804"/>
                  <a:gd name="connsiteY0" fmla="*/ 0 h 533988"/>
                  <a:gd name="connsiteX1" fmla="*/ 436479 w 476804"/>
                  <a:gd name="connsiteY1" fmla="*/ 93378 h 533988"/>
                  <a:gd name="connsiteX2" fmla="*/ 162791 w 476804"/>
                  <a:gd name="connsiteY2" fmla="*/ 93378 h 533988"/>
                  <a:gd name="connsiteX3" fmla="*/ 93212 w 476804"/>
                  <a:gd name="connsiteY3" fmla="*/ 156676 h 533988"/>
                  <a:gd name="connsiteX4" fmla="*/ 172377 w 476804"/>
                  <a:gd name="connsiteY4" fmla="*/ 219975 h 533988"/>
                  <a:gd name="connsiteX5" fmla="*/ 297321 w 476804"/>
                  <a:gd name="connsiteY5" fmla="*/ 219975 h 533988"/>
                  <a:gd name="connsiteX6" fmla="*/ 476805 w 476804"/>
                  <a:gd name="connsiteY6" fmla="*/ 377312 h 533988"/>
                  <a:gd name="connsiteX7" fmla="*/ 306742 w 476804"/>
                  <a:gd name="connsiteY7" fmla="*/ 533988 h 533988"/>
                  <a:gd name="connsiteX8" fmla="*/ 9420 w 476804"/>
                  <a:gd name="connsiteY8" fmla="*/ 533988 h 533988"/>
                  <a:gd name="connsiteX9" fmla="*/ 9420 w 476804"/>
                  <a:gd name="connsiteY9" fmla="*/ 440611 h 533988"/>
                  <a:gd name="connsiteX10" fmla="*/ 310047 w 476804"/>
                  <a:gd name="connsiteY10" fmla="*/ 440611 h 533988"/>
                  <a:gd name="connsiteX11" fmla="*/ 383592 w 476804"/>
                  <a:gd name="connsiteY11" fmla="*/ 374172 h 533988"/>
                  <a:gd name="connsiteX12" fmla="*/ 299800 w 476804"/>
                  <a:gd name="connsiteY12" fmla="*/ 307733 h 533988"/>
                  <a:gd name="connsiteX13" fmla="*/ 175682 w 476804"/>
                  <a:gd name="connsiteY13" fmla="*/ 307733 h 533988"/>
                  <a:gd name="connsiteX14" fmla="*/ 0 w 476804"/>
                  <a:gd name="connsiteY14" fmla="*/ 153536 h 533988"/>
                  <a:gd name="connsiteX15" fmla="*/ 166097 w 476804"/>
                  <a:gd name="connsiteY15" fmla="*/ 0 h 533988"/>
                  <a:gd name="connsiteX16" fmla="*/ 436644 w 476804"/>
                  <a:gd name="connsiteY16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6804" h="533988">
                    <a:moveTo>
                      <a:pt x="436479" y="0"/>
                    </a:moveTo>
                    <a:lnTo>
                      <a:pt x="436479" y="93378"/>
                    </a:lnTo>
                    <a:lnTo>
                      <a:pt x="162791" y="93378"/>
                    </a:lnTo>
                    <a:cubicBezTo>
                      <a:pt x="114532" y="93378"/>
                      <a:pt x="93212" y="119491"/>
                      <a:pt x="93212" y="156676"/>
                    </a:cubicBezTo>
                    <a:cubicBezTo>
                      <a:pt x="93212" y="189069"/>
                      <a:pt x="109905" y="219975"/>
                      <a:pt x="172377" y="219975"/>
                    </a:cubicBezTo>
                    <a:lnTo>
                      <a:pt x="297321" y="219975"/>
                    </a:lnTo>
                    <a:cubicBezTo>
                      <a:pt x="442759" y="219975"/>
                      <a:pt x="476805" y="300627"/>
                      <a:pt x="476805" y="377312"/>
                    </a:cubicBezTo>
                    <a:cubicBezTo>
                      <a:pt x="476805" y="467384"/>
                      <a:pt x="428546" y="533988"/>
                      <a:pt x="306742" y="533988"/>
                    </a:cubicBezTo>
                    <a:lnTo>
                      <a:pt x="9420" y="533988"/>
                    </a:lnTo>
                    <a:lnTo>
                      <a:pt x="9420" y="440611"/>
                    </a:lnTo>
                    <a:lnTo>
                      <a:pt x="310047" y="440611"/>
                    </a:lnTo>
                    <a:cubicBezTo>
                      <a:pt x="360620" y="440611"/>
                      <a:pt x="383592" y="412845"/>
                      <a:pt x="383592" y="374172"/>
                    </a:cubicBezTo>
                    <a:cubicBezTo>
                      <a:pt x="383592" y="339465"/>
                      <a:pt x="365412" y="307733"/>
                      <a:pt x="299800" y="307733"/>
                    </a:cubicBezTo>
                    <a:lnTo>
                      <a:pt x="175682" y="307733"/>
                    </a:lnTo>
                    <a:cubicBezTo>
                      <a:pt x="33219" y="307733"/>
                      <a:pt x="0" y="227908"/>
                      <a:pt x="0" y="153536"/>
                    </a:cubicBezTo>
                    <a:cubicBezTo>
                      <a:pt x="0" y="64951"/>
                      <a:pt x="47598" y="0"/>
                      <a:pt x="166097" y="0"/>
                    </a:cubicBezTo>
                    <a:lnTo>
                      <a:pt x="436644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F5448966-D345-D8B0-D283-323E55B56978}"/>
                  </a:ext>
                </a:extLst>
              </p:cNvPr>
              <p:cNvSpPr/>
              <p:nvPr/>
            </p:nvSpPr>
            <p:spPr>
              <a:xfrm>
                <a:off x="9483756" y="5234699"/>
                <a:ext cx="484241" cy="533988"/>
              </a:xfrm>
              <a:custGeom>
                <a:avLst/>
                <a:gdLst>
                  <a:gd name="connsiteX0" fmla="*/ 323599 w 484241"/>
                  <a:gd name="connsiteY0" fmla="*/ 0 h 533988"/>
                  <a:gd name="connsiteX1" fmla="*/ 484242 w 484241"/>
                  <a:gd name="connsiteY1" fmla="*/ 151057 h 533988"/>
                  <a:gd name="connsiteX2" fmla="*/ 359959 w 484241"/>
                  <a:gd name="connsiteY2" fmla="*/ 294181 h 533988"/>
                  <a:gd name="connsiteX3" fmla="*/ 137670 w 484241"/>
                  <a:gd name="connsiteY3" fmla="*/ 344093 h 533988"/>
                  <a:gd name="connsiteX4" fmla="*/ 93378 w 484241"/>
                  <a:gd name="connsiteY4" fmla="*/ 402598 h 533988"/>
                  <a:gd name="connsiteX5" fmla="*/ 93378 w 484241"/>
                  <a:gd name="connsiteY5" fmla="*/ 429537 h 533988"/>
                  <a:gd name="connsiteX6" fmla="*/ 103625 w 484241"/>
                  <a:gd name="connsiteY6" fmla="*/ 440611 h 533988"/>
                  <a:gd name="connsiteX7" fmla="*/ 469863 w 484241"/>
                  <a:gd name="connsiteY7" fmla="*/ 440611 h 533988"/>
                  <a:gd name="connsiteX8" fmla="*/ 469863 w 484241"/>
                  <a:gd name="connsiteY8" fmla="*/ 533988 h 533988"/>
                  <a:gd name="connsiteX9" fmla="*/ 44293 w 484241"/>
                  <a:gd name="connsiteY9" fmla="*/ 533988 h 533988"/>
                  <a:gd name="connsiteX10" fmla="*/ 0 w 484241"/>
                  <a:gd name="connsiteY10" fmla="*/ 490522 h 533988"/>
                  <a:gd name="connsiteX11" fmla="*/ 0 w 484241"/>
                  <a:gd name="connsiteY11" fmla="*/ 409870 h 533988"/>
                  <a:gd name="connsiteX12" fmla="*/ 117177 w 484241"/>
                  <a:gd name="connsiteY12" fmla="*/ 256334 h 533988"/>
                  <a:gd name="connsiteX13" fmla="*/ 341779 w 484241"/>
                  <a:gd name="connsiteY13" fmla="*/ 204935 h 533988"/>
                  <a:gd name="connsiteX14" fmla="*/ 391691 w 484241"/>
                  <a:gd name="connsiteY14" fmla="*/ 152710 h 533988"/>
                  <a:gd name="connsiteX15" fmla="*/ 325913 w 484241"/>
                  <a:gd name="connsiteY15" fmla="*/ 93378 h 533988"/>
                  <a:gd name="connsiteX16" fmla="*/ 17353 w 484241"/>
                  <a:gd name="connsiteY16" fmla="*/ 93378 h 533988"/>
                  <a:gd name="connsiteX17" fmla="*/ 17353 w 484241"/>
                  <a:gd name="connsiteY17" fmla="*/ 0 h 533988"/>
                  <a:gd name="connsiteX18" fmla="*/ 323599 w 484241"/>
                  <a:gd name="connsiteY18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4241" h="533988">
                    <a:moveTo>
                      <a:pt x="323599" y="0"/>
                    </a:moveTo>
                    <a:cubicBezTo>
                      <a:pt x="426397" y="0"/>
                      <a:pt x="484242" y="53052"/>
                      <a:pt x="484242" y="151057"/>
                    </a:cubicBezTo>
                    <a:cubicBezTo>
                      <a:pt x="484242" y="230221"/>
                      <a:pt x="446230" y="274514"/>
                      <a:pt x="359959" y="294181"/>
                    </a:cubicBezTo>
                    <a:lnTo>
                      <a:pt x="137670" y="344093"/>
                    </a:lnTo>
                    <a:cubicBezTo>
                      <a:pt x="100650" y="352852"/>
                      <a:pt x="93378" y="372519"/>
                      <a:pt x="93378" y="402598"/>
                    </a:cubicBezTo>
                    <a:lnTo>
                      <a:pt x="93378" y="429537"/>
                    </a:lnTo>
                    <a:cubicBezTo>
                      <a:pt x="93378" y="438296"/>
                      <a:pt x="96518" y="440611"/>
                      <a:pt x="103625" y="440611"/>
                    </a:cubicBezTo>
                    <a:lnTo>
                      <a:pt x="469863" y="440611"/>
                    </a:lnTo>
                    <a:lnTo>
                      <a:pt x="469863" y="533988"/>
                    </a:lnTo>
                    <a:lnTo>
                      <a:pt x="44293" y="533988"/>
                    </a:lnTo>
                    <a:cubicBezTo>
                      <a:pt x="14213" y="533988"/>
                      <a:pt x="0" y="519775"/>
                      <a:pt x="0" y="490522"/>
                    </a:cubicBezTo>
                    <a:lnTo>
                      <a:pt x="0" y="409870"/>
                    </a:lnTo>
                    <a:cubicBezTo>
                      <a:pt x="0" y="322773"/>
                      <a:pt x="26113" y="276993"/>
                      <a:pt x="117177" y="256334"/>
                    </a:cubicBezTo>
                    <a:lnTo>
                      <a:pt x="341779" y="204935"/>
                    </a:lnTo>
                    <a:cubicBezTo>
                      <a:pt x="379791" y="196176"/>
                      <a:pt x="391691" y="177996"/>
                      <a:pt x="391691" y="152710"/>
                    </a:cubicBezTo>
                    <a:cubicBezTo>
                      <a:pt x="391691" y="117011"/>
                      <a:pt x="368718" y="93378"/>
                      <a:pt x="325913" y="93378"/>
                    </a:cubicBezTo>
                    <a:lnTo>
                      <a:pt x="17353" y="93378"/>
                    </a:lnTo>
                    <a:lnTo>
                      <a:pt x="17353" y="0"/>
                    </a:lnTo>
                    <a:lnTo>
                      <a:pt x="323599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6CA8ABB3-797A-8E84-EE32-51DE201890CB}"/>
                  </a:ext>
                </a:extLst>
              </p:cNvPr>
              <p:cNvSpPr/>
              <p:nvPr/>
            </p:nvSpPr>
            <p:spPr>
              <a:xfrm>
                <a:off x="10032122" y="5226931"/>
                <a:ext cx="482589" cy="549688"/>
              </a:xfrm>
              <a:custGeom>
                <a:avLst/>
                <a:gdLst>
                  <a:gd name="connsiteX0" fmla="*/ 482589 w 482589"/>
                  <a:gd name="connsiteY0" fmla="*/ 275175 h 549688"/>
                  <a:gd name="connsiteX1" fmla="*/ 241295 w 482589"/>
                  <a:gd name="connsiteY1" fmla="*/ 549689 h 549688"/>
                  <a:gd name="connsiteX2" fmla="*/ 0 w 482589"/>
                  <a:gd name="connsiteY2" fmla="*/ 275175 h 549688"/>
                  <a:gd name="connsiteX3" fmla="*/ 241295 w 482589"/>
                  <a:gd name="connsiteY3" fmla="*/ 0 h 549688"/>
                  <a:gd name="connsiteX4" fmla="*/ 482589 w 482589"/>
                  <a:gd name="connsiteY4" fmla="*/ 275175 h 549688"/>
                  <a:gd name="connsiteX5" fmla="*/ 91890 w 482589"/>
                  <a:gd name="connsiteY5" fmla="*/ 274514 h 549688"/>
                  <a:gd name="connsiteX6" fmla="*/ 241460 w 482589"/>
                  <a:gd name="connsiteY6" fmla="*/ 456476 h 549688"/>
                  <a:gd name="connsiteX7" fmla="*/ 390203 w 482589"/>
                  <a:gd name="connsiteY7" fmla="*/ 274514 h 549688"/>
                  <a:gd name="connsiteX8" fmla="*/ 241460 w 482589"/>
                  <a:gd name="connsiteY8" fmla="*/ 93378 h 549688"/>
                  <a:gd name="connsiteX9" fmla="*/ 91890 w 482589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9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5" y="549689"/>
                    </a:cubicBezTo>
                    <a:cubicBezTo>
                      <a:pt x="85445" y="549689"/>
                      <a:pt x="0" y="453997"/>
                      <a:pt x="0" y="275175"/>
                    </a:cubicBezTo>
                    <a:cubicBezTo>
                      <a:pt x="0" y="96352"/>
                      <a:pt x="86271" y="0"/>
                      <a:pt x="241295" y="0"/>
                    </a:cubicBezTo>
                    <a:cubicBezTo>
                      <a:pt x="396318" y="0"/>
                      <a:pt x="482589" y="95692"/>
                      <a:pt x="482589" y="275175"/>
                    </a:cubicBezTo>
                    <a:close/>
                    <a:moveTo>
                      <a:pt x="91890" y="274514"/>
                    </a:moveTo>
                    <a:cubicBezTo>
                      <a:pt x="91890" y="397144"/>
                      <a:pt x="137009" y="456476"/>
                      <a:pt x="241460" y="456476"/>
                    </a:cubicBezTo>
                    <a:cubicBezTo>
                      <a:pt x="345910" y="456476"/>
                      <a:pt x="390203" y="397144"/>
                      <a:pt x="390203" y="274514"/>
                    </a:cubicBezTo>
                    <a:cubicBezTo>
                      <a:pt x="390203" y="151883"/>
                      <a:pt x="345084" y="93378"/>
                      <a:pt x="241460" y="93378"/>
                    </a:cubicBezTo>
                    <a:cubicBezTo>
                      <a:pt x="137835" y="93378"/>
                      <a:pt x="91890" y="152710"/>
                      <a:pt x="91890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A24C7835-9074-5064-54DC-E55D4C7EE9DA}"/>
                  </a:ext>
                </a:extLst>
              </p:cNvPr>
              <p:cNvSpPr/>
              <p:nvPr/>
            </p:nvSpPr>
            <p:spPr>
              <a:xfrm>
                <a:off x="10618005" y="5234203"/>
                <a:ext cx="447717" cy="534318"/>
              </a:xfrm>
              <a:custGeom>
                <a:avLst/>
                <a:gdLst>
                  <a:gd name="connsiteX0" fmla="*/ 267242 w 447717"/>
                  <a:gd name="connsiteY0" fmla="*/ 496 h 534318"/>
                  <a:gd name="connsiteX1" fmla="*/ 446064 w 447717"/>
                  <a:gd name="connsiteY1" fmla="*/ 143620 h 534318"/>
                  <a:gd name="connsiteX2" fmla="*/ 370205 w 447717"/>
                  <a:gd name="connsiteY2" fmla="*/ 266250 h 534318"/>
                  <a:gd name="connsiteX3" fmla="*/ 447717 w 447717"/>
                  <a:gd name="connsiteY3" fmla="*/ 391194 h 534318"/>
                  <a:gd name="connsiteX4" fmla="*/ 269721 w 447717"/>
                  <a:gd name="connsiteY4" fmla="*/ 534318 h 534318"/>
                  <a:gd name="connsiteX5" fmla="*/ 0 w 447717"/>
                  <a:gd name="connsiteY5" fmla="*/ 534318 h 534318"/>
                  <a:gd name="connsiteX6" fmla="*/ 0 w 447717"/>
                  <a:gd name="connsiteY6" fmla="*/ 440941 h 534318"/>
                  <a:gd name="connsiteX7" fmla="*/ 269721 w 447717"/>
                  <a:gd name="connsiteY7" fmla="*/ 440941 h 534318"/>
                  <a:gd name="connsiteX8" fmla="*/ 350373 w 447717"/>
                  <a:gd name="connsiteY8" fmla="*/ 372850 h 534318"/>
                  <a:gd name="connsiteX9" fmla="*/ 268895 w 447717"/>
                  <a:gd name="connsiteY9" fmla="*/ 308725 h 534318"/>
                  <a:gd name="connsiteX10" fmla="*/ 104285 w 447717"/>
                  <a:gd name="connsiteY10" fmla="*/ 308725 h 534318"/>
                  <a:gd name="connsiteX11" fmla="*/ 104285 w 447717"/>
                  <a:gd name="connsiteY11" fmla="*/ 223941 h 534318"/>
                  <a:gd name="connsiteX12" fmla="*/ 266416 w 447717"/>
                  <a:gd name="connsiteY12" fmla="*/ 223941 h 534318"/>
                  <a:gd name="connsiteX13" fmla="*/ 347894 w 447717"/>
                  <a:gd name="connsiteY13" fmla="*/ 159816 h 534318"/>
                  <a:gd name="connsiteX14" fmla="*/ 267242 w 447717"/>
                  <a:gd name="connsiteY14" fmla="*/ 93378 h 534318"/>
                  <a:gd name="connsiteX15" fmla="*/ 661 w 447717"/>
                  <a:gd name="connsiteY15" fmla="*/ 93378 h 534318"/>
                  <a:gd name="connsiteX16" fmla="*/ 661 w 447717"/>
                  <a:gd name="connsiteY16" fmla="*/ 0 h 534318"/>
                  <a:gd name="connsiteX17" fmla="*/ 267242 w 447717"/>
                  <a:gd name="connsiteY17" fmla="*/ 0 h 53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7717" h="534318">
                    <a:moveTo>
                      <a:pt x="267242" y="496"/>
                    </a:moveTo>
                    <a:cubicBezTo>
                      <a:pt x="393013" y="496"/>
                      <a:pt x="446064" y="61481"/>
                      <a:pt x="446064" y="143620"/>
                    </a:cubicBezTo>
                    <a:cubicBezTo>
                      <a:pt x="446064" y="206918"/>
                      <a:pt x="419125" y="245757"/>
                      <a:pt x="370205" y="266250"/>
                    </a:cubicBezTo>
                    <a:cubicBezTo>
                      <a:pt x="420778" y="287736"/>
                      <a:pt x="447717" y="327235"/>
                      <a:pt x="447717" y="391194"/>
                    </a:cubicBezTo>
                    <a:cubicBezTo>
                      <a:pt x="447717" y="471020"/>
                      <a:pt x="395492" y="534318"/>
                      <a:pt x="269721" y="534318"/>
                    </a:cubicBezTo>
                    <a:lnTo>
                      <a:pt x="0" y="534318"/>
                    </a:lnTo>
                    <a:lnTo>
                      <a:pt x="0" y="440941"/>
                    </a:lnTo>
                    <a:lnTo>
                      <a:pt x="269721" y="440941"/>
                    </a:lnTo>
                    <a:cubicBezTo>
                      <a:pt x="324260" y="440941"/>
                      <a:pt x="350373" y="415655"/>
                      <a:pt x="350373" y="372850"/>
                    </a:cubicBezTo>
                    <a:cubicBezTo>
                      <a:pt x="350373" y="330045"/>
                      <a:pt x="322608" y="308725"/>
                      <a:pt x="268895" y="308725"/>
                    </a:cubicBezTo>
                    <a:lnTo>
                      <a:pt x="104285" y="308725"/>
                    </a:lnTo>
                    <a:lnTo>
                      <a:pt x="104285" y="223941"/>
                    </a:lnTo>
                    <a:lnTo>
                      <a:pt x="266416" y="223941"/>
                    </a:lnTo>
                    <a:cubicBezTo>
                      <a:pt x="320955" y="223941"/>
                      <a:pt x="347894" y="204274"/>
                      <a:pt x="347894" y="159816"/>
                    </a:cubicBezTo>
                    <a:cubicBezTo>
                      <a:pt x="347894" y="119491"/>
                      <a:pt x="323434" y="93378"/>
                      <a:pt x="267242" y="93378"/>
                    </a:cubicBezTo>
                    <a:lnTo>
                      <a:pt x="661" y="93378"/>
                    </a:lnTo>
                    <a:lnTo>
                      <a:pt x="661" y="0"/>
                    </a:lnTo>
                    <a:lnTo>
                      <a:pt x="267242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4F43E7D7-99A6-CF35-B6E7-DFA710F6C4BA}"/>
                  </a:ext>
                </a:extLst>
              </p:cNvPr>
              <p:cNvSpPr/>
              <p:nvPr/>
            </p:nvSpPr>
            <p:spPr>
              <a:xfrm>
                <a:off x="11147366" y="5226931"/>
                <a:ext cx="482588" cy="549688"/>
              </a:xfrm>
              <a:custGeom>
                <a:avLst/>
                <a:gdLst>
                  <a:gd name="connsiteX0" fmla="*/ 482589 w 482588"/>
                  <a:gd name="connsiteY0" fmla="*/ 275175 h 549688"/>
                  <a:gd name="connsiteX1" fmla="*/ 241294 w 482588"/>
                  <a:gd name="connsiteY1" fmla="*/ 549689 h 549688"/>
                  <a:gd name="connsiteX2" fmla="*/ 0 w 482588"/>
                  <a:gd name="connsiteY2" fmla="*/ 275175 h 549688"/>
                  <a:gd name="connsiteX3" fmla="*/ 241294 w 482588"/>
                  <a:gd name="connsiteY3" fmla="*/ 0 h 549688"/>
                  <a:gd name="connsiteX4" fmla="*/ 482589 w 482588"/>
                  <a:gd name="connsiteY4" fmla="*/ 275175 h 549688"/>
                  <a:gd name="connsiteX5" fmla="*/ 91725 w 482588"/>
                  <a:gd name="connsiteY5" fmla="*/ 274514 h 549688"/>
                  <a:gd name="connsiteX6" fmla="*/ 241129 w 482588"/>
                  <a:gd name="connsiteY6" fmla="*/ 456476 h 549688"/>
                  <a:gd name="connsiteX7" fmla="*/ 389872 w 482588"/>
                  <a:gd name="connsiteY7" fmla="*/ 274514 h 549688"/>
                  <a:gd name="connsiteX8" fmla="*/ 241129 w 482588"/>
                  <a:gd name="connsiteY8" fmla="*/ 93378 h 549688"/>
                  <a:gd name="connsiteX9" fmla="*/ 91725 w 482588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8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4" y="549689"/>
                    </a:cubicBezTo>
                    <a:cubicBezTo>
                      <a:pt x="85444" y="549689"/>
                      <a:pt x="0" y="453997"/>
                      <a:pt x="0" y="275175"/>
                    </a:cubicBezTo>
                    <a:cubicBezTo>
                      <a:pt x="0" y="96352"/>
                      <a:pt x="86106" y="0"/>
                      <a:pt x="241294" y="0"/>
                    </a:cubicBezTo>
                    <a:cubicBezTo>
                      <a:pt x="396483" y="0"/>
                      <a:pt x="482589" y="95692"/>
                      <a:pt x="482589" y="275175"/>
                    </a:cubicBezTo>
                    <a:close/>
                    <a:moveTo>
                      <a:pt x="91725" y="274514"/>
                    </a:moveTo>
                    <a:cubicBezTo>
                      <a:pt x="91725" y="397144"/>
                      <a:pt x="136678" y="456476"/>
                      <a:pt x="241129" y="456476"/>
                    </a:cubicBezTo>
                    <a:cubicBezTo>
                      <a:pt x="345580" y="456476"/>
                      <a:pt x="389872" y="397144"/>
                      <a:pt x="389872" y="274514"/>
                    </a:cubicBezTo>
                    <a:cubicBezTo>
                      <a:pt x="389872" y="151883"/>
                      <a:pt x="344919" y="93378"/>
                      <a:pt x="241129" y="93378"/>
                    </a:cubicBezTo>
                    <a:cubicBezTo>
                      <a:pt x="137340" y="93378"/>
                      <a:pt x="91725" y="152710"/>
                      <a:pt x="91725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5" name="Graphic 8">
              <a:extLst>
                <a:ext uri="{FF2B5EF4-FFF2-40B4-BE49-F238E27FC236}">
                  <a16:creationId xmlns:a16="http://schemas.microsoft.com/office/drawing/2014/main" id="{B0113201-96AF-8C06-5364-4C3CA3E7E645}"/>
                </a:ext>
              </a:extLst>
            </p:cNvPr>
            <p:cNvGrpSpPr/>
            <p:nvPr/>
          </p:nvGrpSpPr>
          <p:grpSpPr>
            <a:xfrm>
              <a:off x="6611525" y="5883880"/>
              <a:ext cx="5018265" cy="193035"/>
              <a:chOff x="6611525" y="5883880"/>
              <a:chExt cx="5018265" cy="193035"/>
            </a:xfrm>
            <a:solidFill>
              <a:srgbClr val="FFFFFF"/>
            </a:solidFill>
          </p:grpSpPr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B6BEA021-263A-0268-9A5C-25E119CC52C7}"/>
                  </a:ext>
                </a:extLst>
              </p:cNvPr>
              <p:cNvSpPr/>
              <p:nvPr/>
            </p:nvSpPr>
            <p:spPr>
              <a:xfrm>
                <a:off x="6611525" y="5897929"/>
                <a:ext cx="212206" cy="139322"/>
              </a:xfrm>
              <a:custGeom>
                <a:avLst/>
                <a:gdLst>
                  <a:gd name="connsiteX0" fmla="*/ 25121 w 212206"/>
                  <a:gd name="connsiteY0" fmla="*/ 137009 h 139322"/>
                  <a:gd name="connsiteX1" fmla="*/ 0 w 212206"/>
                  <a:gd name="connsiteY1" fmla="*/ 137009 h 139322"/>
                  <a:gd name="connsiteX2" fmla="*/ 41813 w 212206"/>
                  <a:gd name="connsiteY2" fmla="*/ 24955 h 139322"/>
                  <a:gd name="connsiteX3" fmla="*/ 73545 w 212206"/>
                  <a:gd name="connsiteY3" fmla="*/ 0 h 139322"/>
                  <a:gd name="connsiteX4" fmla="*/ 103459 w 212206"/>
                  <a:gd name="connsiteY4" fmla="*/ 29253 h 139322"/>
                  <a:gd name="connsiteX5" fmla="*/ 103459 w 212206"/>
                  <a:gd name="connsiteY5" fmla="*/ 108913 h 139322"/>
                  <a:gd name="connsiteX6" fmla="*/ 110235 w 212206"/>
                  <a:gd name="connsiteY6" fmla="*/ 116515 h 139322"/>
                  <a:gd name="connsiteX7" fmla="*/ 117838 w 212206"/>
                  <a:gd name="connsiteY7" fmla="*/ 110896 h 139322"/>
                  <a:gd name="connsiteX8" fmla="*/ 150561 w 212206"/>
                  <a:gd name="connsiteY8" fmla="*/ 24955 h 139322"/>
                  <a:gd name="connsiteX9" fmla="*/ 182293 w 212206"/>
                  <a:gd name="connsiteY9" fmla="*/ 0 h 139322"/>
                  <a:gd name="connsiteX10" fmla="*/ 212207 w 212206"/>
                  <a:gd name="connsiteY10" fmla="*/ 29253 h 139322"/>
                  <a:gd name="connsiteX11" fmla="*/ 212207 w 212206"/>
                  <a:gd name="connsiteY11" fmla="*/ 137009 h 139322"/>
                  <a:gd name="connsiteX12" fmla="*/ 188408 w 212206"/>
                  <a:gd name="connsiteY12" fmla="*/ 137009 h 139322"/>
                  <a:gd name="connsiteX13" fmla="*/ 188408 w 212206"/>
                  <a:gd name="connsiteY13" fmla="*/ 30410 h 139322"/>
                  <a:gd name="connsiteX14" fmla="*/ 181632 w 212206"/>
                  <a:gd name="connsiteY14" fmla="*/ 22642 h 139322"/>
                  <a:gd name="connsiteX15" fmla="*/ 174195 w 212206"/>
                  <a:gd name="connsiteY15" fmla="*/ 28427 h 139322"/>
                  <a:gd name="connsiteX16" fmla="*/ 141471 w 212206"/>
                  <a:gd name="connsiteY16" fmla="*/ 114367 h 139322"/>
                  <a:gd name="connsiteX17" fmla="*/ 109574 w 212206"/>
                  <a:gd name="connsiteY17" fmla="*/ 139323 h 139322"/>
                  <a:gd name="connsiteX18" fmla="*/ 79826 w 212206"/>
                  <a:gd name="connsiteY18" fmla="*/ 109739 h 139322"/>
                  <a:gd name="connsiteX19" fmla="*/ 79826 w 212206"/>
                  <a:gd name="connsiteY19" fmla="*/ 30410 h 139322"/>
                  <a:gd name="connsiteX20" fmla="*/ 72884 w 212206"/>
                  <a:gd name="connsiteY20" fmla="*/ 22642 h 139322"/>
                  <a:gd name="connsiteX21" fmla="*/ 65447 w 212206"/>
                  <a:gd name="connsiteY21" fmla="*/ 28427 h 139322"/>
                  <a:gd name="connsiteX22" fmla="*/ 25121 w 212206"/>
                  <a:gd name="connsiteY22" fmla="*/ 137009 h 13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12206" h="139322">
                    <a:moveTo>
                      <a:pt x="25121" y="137009"/>
                    </a:moveTo>
                    <a:lnTo>
                      <a:pt x="0" y="137009"/>
                    </a:lnTo>
                    <a:lnTo>
                      <a:pt x="41813" y="24955"/>
                    </a:lnTo>
                    <a:cubicBezTo>
                      <a:pt x="46937" y="9585"/>
                      <a:pt x="55531" y="0"/>
                      <a:pt x="73545" y="0"/>
                    </a:cubicBezTo>
                    <a:cubicBezTo>
                      <a:pt x="93543" y="0"/>
                      <a:pt x="103459" y="11734"/>
                      <a:pt x="103459" y="29253"/>
                    </a:cubicBezTo>
                    <a:lnTo>
                      <a:pt x="103459" y="108913"/>
                    </a:lnTo>
                    <a:cubicBezTo>
                      <a:pt x="103459" y="113541"/>
                      <a:pt x="106269" y="116515"/>
                      <a:pt x="110235" y="116515"/>
                    </a:cubicBezTo>
                    <a:cubicBezTo>
                      <a:pt x="113871" y="116515"/>
                      <a:pt x="116681" y="114367"/>
                      <a:pt x="117838" y="110896"/>
                    </a:cubicBezTo>
                    <a:lnTo>
                      <a:pt x="150561" y="24955"/>
                    </a:lnTo>
                    <a:cubicBezTo>
                      <a:pt x="155685" y="9585"/>
                      <a:pt x="164279" y="0"/>
                      <a:pt x="182293" y="0"/>
                    </a:cubicBezTo>
                    <a:cubicBezTo>
                      <a:pt x="202291" y="0"/>
                      <a:pt x="212207" y="11734"/>
                      <a:pt x="212207" y="29253"/>
                    </a:cubicBezTo>
                    <a:lnTo>
                      <a:pt x="212207" y="137009"/>
                    </a:lnTo>
                    <a:lnTo>
                      <a:pt x="188408" y="137009"/>
                    </a:lnTo>
                    <a:lnTo>
                      <a:pt x="188408" y="30410"/>
                    </a:lnTo>
                    <a:cubicBezTo>
                      <a:pt x="188408" y="25617"/>
                      <a:pt x="185598" y="22642"/>
                      <a:pt x="181632" y="22642"/>
                    </a:cubicBezTo>
                    <a:cubicBezTo>
                      <a:pt x="178161" y="22642"/>
                      <a:pt x="175517" y="24955"/>
                      <a:pt x="174195" y="28427"/>
                    </a:cubicBezTo>
                    <a:lnTo>
                      <a:pt x="141471" y="114367"/>
                    </a:lnTo>
                    <a:cubicBezTo>
                      <a:pt x="136348" y="129737"/>
                      <a:pt x="127423" y="139323"/>
                      <a:pt x="109574" y="139323"/>
                    </a:cubicBezTo>
                    <a:cubicBezTo>
                      <a:pt x="89742" y="139323"/>
                      <a:pt x="79826" y="127589"/>
                      <a:pt x="79826" y="109739"/>
                    </a:cubicBezTo>
                    <a:lnTo>
                      <a:pt x="79826" y="30410"/>
                    </a:lnTo>
                    <a:cubicBezTo>
                      <a:pt x="79826" y="25617"/>
                      <a:pt x="76851" y="22642"/>
                      <a:pt x="72884" y="22642"/>
                    </a:cubicBezTo>
                    <a:cubicBezTo>
                      <a:pt x="69248" y="22642"/>
                      <a:pt x="66934" y="24955"/>
                      <a:pt x="65447" y="28427"/>
                    </a:cubicBezTo>
                    <a:lnTo>
                      <a:pt x="25121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6B529061-7792-DF4B-71D4-69927E5D2EE0}"/>
                  </a:ext>
                </a:extLst>
              </p:cNvPr>
              <p:cNvSpPr/>
              <p:nvPr/>
            </p:nvSpPr>
            <p:spPr>
              <a:xfrm>
                <a:off x="6851662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386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3" y="84949"/>
                      <a:pt x="92386" y="75528"/>
                      <a:pt x="92386" y="52886"/>
                    </a:cubicBezTo>
                    <a:cubicBezTo>
                      <a:pt x="92386" y="30244"/>
                      <a:pt x="84123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417A43B-7551-99E6-2200-965E35275DF5}"/>
                  </a:ext>
                </a:extLst>
              </p:cNvPr>
              <p:cNvSpPr/>
              <p:nvPr/>
            </p:nvSpPr>
            <p:spPr>
              <a:xfrm>
                <a:off x="6987184" y="5883880"/>
                <a:ext cx="113705" cy="151057"/>
              </a:xfrm>
              <a:custGeom>
                <a:avLst/>
                <a:gdLst>
                  <a:gd name="connsiteX0" fmla="*/ 113541 w 113705"/>
                  <a:gd name="connsiteY0" fmla="*/ 0 h 151057"/>
                  <a:gd name="connsiteX1" fmla="*/ 113541 w 113705"/>
                  <a:gd name="connsiteY1" fmla="*/ 105938 h 151057"/>
                  <a:gd name="connsiteX2" fmla="*/ 74867 w 113705"/>
                  <a:gd name="connsiteY2" fmla="*/ 151057 h 151057"/>
                  <a:gd name="connsiteX3" fmla="*/ 45780 w 113705"/>
                  <a:gd name="connsiteY3" fmla="*/ 151057 h 151057"/>
                  <a:gd name="connsiteX4" fmla="*/ 0 w 113705"/>
                  <a:gd name="connsiteY4" fmla="*/ 98336 h 151057"/>
                  <a:gd name="connsiteX5" fmla="*/ 45780 w 113705"/>
                  <a:gd name="connsiteY5" fmla="*/ 45615 h 151057"/>
                  <a:gd name="connsiteX6" fmla="*/ 92386 w 113705"/>
                  <a:gd name="connsiteY6" fmla="*/ 45615 h 151057"/>
                  <a:gd name="connsiteX7" fmla="*/ 92386 w 113705"/>
                  <a:gd name="connsiteY7" fmla="*/ 0 h 151057"/>
                  <a:gd name="connsiteX8" fmla="*/ 113706 w 113705"/>
                  <a:gd name="connsiteY8" fmla="*/ 0 h 151057"/>
                  <a:gd name="connsiteX9" fmla="*/ 92221 w 113705"/>
                  <a:gd name="connsiteY9" fmla="*/ 104947 h 151057"/>
                  <a:gd name="connsiteX10" fmla="*/ 92221 w 113705"/>
                  <a:gd name="connsiteY10" fmla="*/ 66108 h 151057"/>
                  <a:gd name="connsiteX11" fmla="*/ 47598 w 113705"/>
                  <a:gd name="connsiteY11" fmla="*/ 66108 h 151057"/>
                  <a:gd name="connsiteX12" fmla="*/ 21320 w 113705"/>
                  <a:gd name="connsiteY12" fmla="*/ 98501 h 151057"/>
                  <a:gd name="connsiteX13" fmla="*/ 47598 w 113705"/>
                  <a:gd name="connsiteY13" fmla="*/ 130563 h 151057"/>
                  <a:gd name="connsiteX14" fmla="*/ 68587 w 113705"/>
                  <a:gd name="connsiteY14" fmla="*/ 130563 h 151057"/>
                  <a:gd name="connsiteX15" fmla="*/ 92221 w 113705"/>
                  <a:gd name="connsiteY15" fmla="*/ 105112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705" h="151057">
                    <a:moveTo>
                      <a:pt x="113541" y="0"/>
                    </a:moveTo>
                    <a:lnTo>
                      <a:pt x="113541" y="105938"/>
                    </a:lnTo>
                    <a:cubicBezTo>
                      <a:pt x="113541" y="136183"/>
                      <a:pt x="99989" y="151057"/>
                      <a:pt x="74867" y="151057"/>
                    </a:cubicBezTo>
                    <a:lnTo>
                      <a:pt x="45780" y="151057"/>
                    </a:lnTo>
                    <a:cubicBezTo>
                      <a:pt x="17684" y="151057"/>
                      <a:pt x="0" y="133869"/>
                      <a:pt x="0" y="98336"/>
                    </a:cubicBezTo>
                    <a:cubicBezTo>
                      <a:pt x="0" y="62802"/>
                      <a:pt x="17519" y="45615"/>
                      <a:pt x="45780" y="45615"/>
                    </a:cubicBezTo>
                    <a:lnTo>
                      <a:pt x="92386" y="45615"/>
                    </a:lnTo>
                    <a:lnTo>
                      <a:pt x="92386" y="0"/>
                    </a:lnTo>
                    <a:lnTo>
                      <a:pt x="113706" y="0"/>
                    </a:lnTo>
                    <a:close/>
                    <a:moveTo>
                      <a:pt x="92221" y="104947"/>
                    </a:moveTo>
                    <a:lnTo>
                      <a:pt x="92221" y="66108"/>
                    </a:lnTo>
                    <a:lnTo>
                      <a:pt x="47598" y="66108"/>
                    </a:lnTo>
                    <a:cubicBezTo>
                      <a:pt x="29418" y="66108"/>
                      <a:pt x="21320" y="75694"/>
                      <a:pt x="21320" y="98501"/>
                    </a:cubicBezTo>
                    <a:cubicBezTo>
                      <a:pt x="21320" y="121308"/>
                      <a:pt x="29583" y="130563"/>
                      <a:pt x="47598" y="130563"/>
                    </a:cubicBezTo>
                    <a:lnTo>
                      <a:pt x="68587" y="130563"/>
                    </a:lnTo>
                    <a:cubicBezTo>
                      <a:pt x="85610" y="130563"/>
                      <a:pt x="92221" y="122961"/>
                      <a:pt x="92221" y="1051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77DE29D7-2E88-7EE9-C776-8C64E0D6D273}"/>
                  </a:ext>
                </a:extLst>
              </p:cNvPr>
              <p:cNvSpPr/>
              <p:nvPr/>
            </p:nvSpPr>
            <p:spPr>
              <a:xfrm>
                <a:off x="7130308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525 w 106268"/>
                  <a:gd name="connsiteY17" fmla="*/ 20328 h 105277"/>
                  <a:gd name="connsiteX18" fmla="*/ 20328 w 106268"/>
                  <a:gd name="connsiteY18" fmla="*/ 34872 h 105277"/>
                  <a:gd name="connsiteX19" fmla="*/ 20328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41EF96B-F8CC-4795-C214-8C8374110094}"/>
                  </a:ext>
                </a:extLst>
              </p:cNvPr>
              <p:cNvSpPr/>
              <p:nvPr/>
            </p:nvSpPr>
            <p:spPr>
              <a:xfrm>
                <a:off x="7263681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2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2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6CD8FD12-814B-F288-EB9F-0CBB314F057F}"/>
                  </a:ext>
                </a:extLst>
              </p:cNvPr>
              <p:cNvSpPr/>
              <p:nvPr/>
            </p:nvSpPr>
            <p:spPr>
              <a:xfrm>
                <a:off x="735772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B40260CA-C998-2D25-8019-1989F99A1B02}"/>
                  </a:ext>
                </a:extLst>
              </p:cNvPr>
              <p:cNvSpPr/>
              <p:nvPr/>
            </p:nvSpPr>
            <p:spPr>
              <a:xfrm>
                <a:off x="7500513" y="5889830"/>
                <a:ext cx="21319" cy="144942"/>
              </a:xfrm>
              <a:custGeom>
                <a:avLst/>
                <a:gdLst>
                  <a:gd name="connsiteX0" fmla="*/ 21320 w 21319"/>
                  <a:gd name="connsiteY0" fmla="*/ 0 h 144942"/>
                  <a:gd name="connsiteX1" fmla="*/ 21320 w 21319"/>
                  <a:gd name="connsiteY1" fmla="*/ 24460 h 144942"/>
                  <a:gd name="connsiteX2" fmla="*/ 0 w 21319"/>
                  <a:gd name="connsiteY2" fmla="*/ 24460 h 144942"/>
                  <a:gd name="connsiteX3" fmla="*/ 0 w 21319"/>
                  <a:gd name="connsiteY3" fmla="*/ 0 h 144942"/>
                  <a:gd name="connsiteX4" fmla="*/ 21320 w 21319"/>
                  <a:gd name="connsiteY4" fmla="*/ 0 h 144942"/>
                  <a:gd name="connsiteX5" fmla="*/ 21155 w 21319"/>
                  <a:gd name="connsiteY5" fmla="*/ 39665 h 144942"/>
                  <a:gd name="connsiteX6" fmla="*/ 21155 w 21319"/>
                  <a:gd name="connsiteY6" fmla="*/ 144942 h 144942"/>
                  <a:gd name="connsiteX7" fmla="*/ 0 w 21319"/>
                  <a:gd name="connsiteY7" fmla="*/ 144942 h 144942"/>
                  <a:gd name="connsiteX8" fmla="*/ 0 w 21319"/>
                  <a:gd name="connsiteY8" fmla="*/ 39665 h 144942"/>
                  <a:gd name="connsiteX9" fmla="*/ 21155 w 21319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19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B57B9053-9673-038B-1EFF-E00090CD7C1C}"/>
                  </a:ext>
                </a:extLst>
              </p:cNvPr>
              <p:cNvSpPr/>
              <p:nvPr/>
            </p:nvSpPr>
            <p:spPr>
              <a:xfrm>
                <a:off x="7548276" y="5929495"/>
                <a:ext cx="104450" cy="105277"/>
              </a:xfrm>
              <a:custGeom>
                <a:avLst/>
                <a:gdLst>
                  <a:gd name="connsiteX0" fmla="*/ 77346 w 104450"/>
                  <a:gd name="connsiteY0" fmla="*/ 0 h 105277"/>
                  <a:gd name="connsiteX1" fmla="*/ 104451 w 104450"/>
                  <a:gd name="connsiteY1" fmla="*/ 24129 h 105277"/>
                  <a:gd name="connsiteX2" fmla="*/ 86436 w 104450"/>
                  <a:gd name="connsiteY2" fmla="*/ 49416 h 105277"/>
                  <a:gd name="connsiteX3" fmla="*/ 25947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4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6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6" y="0"/>
                    </a:moveTo>
                    <a:cubicBezTo>
                      <a:pt x="95691" y="0"/>
                      <a:pt x="104451" y="9585"/>
                      <a:pt x="104451" y="24129"/>
                    </a:cubicBezTo>
                    <a:cubicBezTo>
                      <a:pt x="104451" y="37020"/>
                      <a:pt x="97509" y="45449"/>
                      <a:pt x="86436" y="49416"/>
                    </a:cubicBezTo>
                    <a:lnTo>
                      <a:pt x="25947" y="71396"/>
                    </a:lnTo>
                    <a:cubicBezTo>
                      <a:pt x="22311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4" y="59993"/>
                      <a:pt x="18014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3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6AB94F8-A091-E6B2-22E6-10B4AB9CD789}"/>
                  </a:ext>
                </a:extLst>
              </p:cNvPr>
              <p:cNvSpPr/>
              <p:nvPr/>
            </p:nvSpPr>
            <p:spPr>
              <a:xfrm>
                <a:off x="7679335" y="5889830"/>
                <a:ext cx="21485" cy="144942"/>
              </a:xfrm>
              <a:custGeom>
                <a:avLst/>
                <a:gdLst>
                  <a:gd name="connsiteX0" fmla="*/ 21485 w 21485"/>
                  <a:gd name="connsiteY0" fmla="*/ 0 h 144942"/>
                  <a:gd name="connsiteX1" fmla="*/ 21485 w 21485"/>
                  <a:gd name="connsiteY1" fmla="*/ 24460 h 144942"/>
                  <a:gd name="connsiteX2" fmla="*/ 165 w 21485"/>
                  <a:gd name="connsiteY2" fmla="*/ 24460 h 144942"/>
                  <a:gd name="connsiteX3" fmla="*/ 165 w 21485"/>
                  <a:gd name="connsiteY3" fmla="*/ 0 h 144942"/>
                  <a:gd name="connsiteX4" fmla="*/ 21485 w 21485"/>
                  <a:gd name="connsiteY4" fmla="*/ 0 h 144942"/>
                  <a:gd name="connsiteX5" fmla="*/ 21155 w 21485"/>
                  <a:gd name="connsiteY5" fmla="*/ 39665 h 144942"/>
                  <a:gd name="connsiteX6" fmla="*/ 21155 w 21485"/>
                  <a:gd name="connsiteY6" fmla="*/ 144942 h 144942"/>
                  <a:gd name="connsiteX7" fmla="*/ 0 w 21485"/>
                  <a:gd name="connsiteY7" fmla="*/ 144942 h 144942"/>
                  <a:gd name="connsiteX8" fmla="*/ 0 w 21485"/>
                  <a:gd name="connsiteY8" fmla="*/ 39665 h 144942"/>
                  <a:gd name="connsiteX9" fmla="*/ 21155 w 21485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485" h="144942">
                    <a:moveTo>
                      <a:pt x="21485" y="0"/>
                    </a:moveTo>
                    <a:lnTo>
                      <a:pt x="21485" y="24460"/>
                    </a:lnTo>
                    <a:lnTo>
                      <a:pt x="165" y="24460"/>
                    </a:lnTo>
                    <a:lnTo>
                      <a:pt x="165" y="0"/>
                    </a:lnTo>
                    <a:lnTo>
                      <a:pt x="21485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B26765EC-CB50-D9BA-7BF6-1A55F5028CD9}"/>
                  </a:ext>
                </a:extLst>
              </p:cNvPr>
              <p:cNvSpPr/>
              <p:nvPr/>
            </p:nvSpPr>
            <p:spPr>
              <a:xfrm>
                <a:off x="773238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D1B7839E-668F-2A0A-DFEA-DAF28BE7FE4E}"/>
                  </a:ext>
                </a:extLst>
              </p:cNvPr>
              <p:cNvSpPr/>
              <p:nvPr/>
            </p:nvSpPr>
            <p:spPr>
              <a:xfrm>
                <a:off x="7869892" y="5929495"/>
                <a:ext cx="113705" cy="147420"/>
              </a:xfrm>
              <a:custGeom>
                <a:avLst/>
                <a:gdLst>
                  <a:gd name="connsiteX0" fmla="*/ 75033 w 113705"/>
                  <a:gd name="connsiteY0" fmla="*/ 0 h 147420"/>
                  <a:gd name="connsiteX1" fmla="*/ 113706 w 113705"/>
                  <a:gd name="connsiteY1" fmla="*/ 45118 h 147420"/>
                  <a:gd name="connsiteX2" fmla="*/ 113706 w 113705"/>
                  <a:gd name="connsiteY2" fmla="*/ 105773 h 147420"/>
                  <a:gd name="connsiteX3" fmla="*/ 73711 w 113705"/>
                  <a:gd name="connsiteY3" fmla="*/ 147421 h 147420"/>
                  <a:gd name="connsiteX4" fmla="*/ 11073 w 113705"/>
                  <a:gd name="connsiteY4" fmla="*/ 147421 h 147420"/>
                  <a:gd name="connsiteX5" fmla="*/ 11073 w 113705"/>
                  <a:gd name="connsiteY5" fmla="*/ 127093 h 147420"/>
                  <a:gd name="connsiteX6" fmla="*/ 71397 w 113705"/>
                  <a:gd name="connsiteY6" fmla="*/ 127093 h 147420"/>
                  <a:gd name="connsiteX7" fmla="*/ 92386 w 113705"/>
                  <a:gd name="connsiteY7" fmla="*/ 105773 h 147420"/>
                  <a:gd name="connsiteX8" fmla="*/ 92386 w 113705"/>
                  <a:gd name="connsiteY8" fmla="*/ 100980 h 147420"/>
                  <a:gd name="connsiteX9" fmla="*/ 45780 w 113705"/>
                  <a:gd name="connsiteY9" fmla="*/ 100980 h 147420"/>
                  <a:gd name="connsiteX10" fmla="*/ 0 w 113705"/>
                  <a:gd name="connsiteY10" fmla="*/ 50242 h 147420"/>
                  <a:gd name="connsiteX11" fmla="*/ 45780 w 113705"/>
                  <a:gd name="connsiteY11" fmla="*/ 0 h 147420"/>
                  <a:gd name="connsiteX12" fmla="*/ 74867 w 113705"/>
                  <a:gd name="connsiteY12" fmla="*/ 0 h 147420"/>
                  <a:gd name="connsiteX13" fmla="*/ 47763 w 113705"/>
                  <a:gd name="connsiteY13" fmla="*/ 81808 h 147420"/>
                  <a:gd name="connsiteX14" fmla="*/ 92386 w 113705"/>
                  <a:gd name="connsiteY14" fmla="*/ 81808 h 147420"/>
                  <a:gd name="connsiteX15" fmla="*/ 92386 w 113705"/>
                  <a:gd name="connsiteY15" fmla="*/ 44954 h 147420"/>
                  <a:gd name="connsiteX16" fmla="*/ 68752 w 113705"/>
                  <a:gd name="connsiteY16" fmla="*/ 20493 h 147420"/>
                  <a:gd name="connsiteX17" fmla="*/ 47763 w 113705"/>
                  <a:gd name="connsiteY17" fmla="*/ 20493 h 147420"/>
                  <a:gd name="connsiteX18" fmla="*/ 21485 w 113705"/>
                  <a:gd name="connsiteY18" fmla="*/ 51233 h 147420"/>
                  <a:gd name="connsiteX19" fmla="*/ 47763 w 113705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705" h="147420">
                    <a:moveTo>
                      <a:pt x="75033" y="0"/>
                    </a:moveTo>
                    <a:cubicBezTo>
                      <a:pt x="100154" y="0"/>
                      <a:pt x="113706" y="14709"/>
                      <a:pt x="113706" y="45118"/>
                    </a:cubicBezTo>
                    <a:lnTo>
                      <a:pt x="113706" y="105773"/>
                    </a:lnTo>
                    <a:cubicBezTo>
                      <a:pt x="113706" y="135687"/>
                      <a:pt x="103294" y="147421"/>
                      <a:pt x="73711" y="147421"/>
                    </a:cubicBezTo>
                    <a:lnTo>
                      <a:pt x="11073" y="147421"/>
                    </a:lnTo>
                    <a:lnTo>
                      <a:pt x="11073" y="127093"/>
                    </a:lnTo>
                    <a:lnTo>
                      <a:pt x="71397" y="127093"/>
                    </a:lnTo>
                    <a:cubicBezTo>
                      <a:pt x="87097" y="127093"/>
                      <a:pt x="92386" y="120977"/>
                      <a:pt x="92386" y="105773"/>
                    </a:cubicBezTo>
                    <a:lnTo>
                      <a:pt x="92386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763" y="81808"/>
                    </a:moveTo>
                    <a:lnTo>
                      <a:pt x="92386" y="81808"/>
                    </a:lnTo>
                    <a:lnTo>
                      <a:pt x="92386" y="44954"/>
                    </a:lnTo>
                    <a:cubicBezTo>
                      <a:pt x="92386" y="27765"/>
                      <a:pt x="85775" y="20493"/>
                      <a:pt x="68752" y="20493"/>
                    </a:cubicBezTo>
                    <a:lnTo>
                      <a:pt x="47763" y="20493"/>
                    </a:lnTo>
                    <a:cubicBezTo>
                      <a:pt x="29583" y="20493"/>
                      <a:pt x="21485" y="29583"/>
                      <a:pt x="21485" y="51233"/>
                    </a:cubicBezTo>
                    <a:cubicBezTo>
                      <a:pt x="21485" y="72884"/>
                      <a:pt x="29749" y="81974"/>
                      <a:pt x="4776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B61A13F6-E09C-E2BA-605D-6728483DDC9F}"/>
                  </a:ext>
                </a:extLst>
              </p:cNvPr>
              <p:cNvSpPr/>
              <p:nvPr/>
            </p:nvSpPr>
            <p:spPr>
              <a:xfrm>
                <a:off x="8057969" y="5897929"/>
                <a:ext cx="149239" cy="137009"/>
              </a:xfrm>
              <a:custGeom>
                <a:avLst/>
                <a:gdLst>
                  <a:gd name="connsiteX0" fmla="*/ 25947 w 149239"/>
                  <a:gd name="connsiteY0" fmla="*/ 137009 h 137009"/>
                  <a:gd name="connsiteX1" fmla="*/ 0 w 149239"/>
                  <a:gd name="connsiteY1" fmla="*/ 137009 h 137009"/>
                  <a:gd name="connsiteX2" fmla="*/ 47267 w 149239"/>
                  <a:gd name="connsiteY2" fmla="*/ 17353 h 137009"/>
                  <a:gd name="connsiteX3" fmla="*/ 75694 w 149239"/>
                  <a:gd name="connsiteY3" fmla="*/ 0 h 137009"/>
                  <a:gd name="connsiteX4" fmla="*/ 103625 w 149239"/>
                  <a:gd name="connsiteY4" fmla="*/ 17353 h 137009"/>
                  <a:gd name="connsiteX5" fmla="*/ 149239 w 149239"/>
                  <a:gd name="connsiteY5" fmla="*/ 137009 h 137009"/>
                  <a:gd name="connsiteX6" fmla="*/ 123126 w 149239"/>
                  <a:gd name="connsiteY6" fmla="*/ 137009 h 137009"/>
                  <a:gd name="connsiteX7" fmla="*/ 82139 w 149239"/>
                  <a:gd name="connsiteY7" fmla="*/ 28757 h 137009"/>
                  <a:gd name="connsiteX8" fmla="*/ 75528 w 149239"/>
                  <a:gd name="connsiteY8" fmla="*/ 24129 h 137009"/>
                  <a:gd name="connsiteX9" fmla="*/ 68752 w 149239"/>
                  <a:gd name="connsiteY9" fmla="*/ 28757 h 137009"/>
                  <a:gd name="connsiteX10" fmla="*/ 25947 w 149239"/>
                  <a:gd name="connsiteY10" fmla="*/ 137009 h 137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239" h="137009">
                    <a:moveTo>
                      <a:pt x="25947" y="137009"/>
                    </a:moveTo>
                    <a:lnTo>
                      <a:pt x="0" y="137009"/>
                    </a:lnTo>
                    <a:lnTo>
                      <a:pt x="47267" y="17353"/>
                    </a:lnTo>
                    <a:cubicBezTo>
                      <a:pt x="52225" y="4793"/>
                      <a:pt x="61481" y="0"/>
                      <a:pt x="75694" y="0"/>
                    </a:cubicBezTo>
                    <a:cubicBezTo>
                      <a:pt x="89907" y="0"/>
                      <a:pt x="98832" y="4793"/>
                      <a:pt x="103625" y="17353"/>
                    </a:cubicBezTo>
                    <a:lnTo>
                      <a:pt x="149239" y="137009"/>
                    </a:lnTo>
                    <a:lnTo>
                      <a:pt x="123126" y="137009"/>
                    </a:lnTo>
                    <a:lnTo>
                      <a:pt x="82139" y="28757"/>
                    </a:lnTo>
                    <a:cubicBezTo>
                      <a:pt x="80982" y="25617"/>
                      <a:pt x="78669" y="24129"/>
                      <a:pt x="75528" y="24129"/>
                    </a:cubicBezTo>
                    <a:cubicBezTo>
                      <a:pt x="72388" y="24129"/>
                      <a:pt x="70075" y="25452"/>
                      <a:pt x="68752" y="28757"/>
                    </a:cubicBezTo>
                    <a:lnTo>
                      <a:pt x="25947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FFEC8D2-8005-9A5B-3B36-8D21559ABF5C}"/>
                  </a:ext>
                </a:extLst>
              </p:cNvPr>
              <p:cNvSpPr/>
              <p:nvPr/>
            </p:nvSpPr>
            <p:spPr>
              <a:xfrm>
                <a:off x="8216464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0EFD4961-5B6C-3E96-30DB-F472A2FDD743}"/>
                  </a:ext>
                </a:extLst>
              </p:cNvPr>
              <p:cNvSpPr/>
              <p:nvPr/>
            </p:nvSpPr>
            <p:spPr>
              <a:xfrm>
                <a:off x="8338103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3539E7F-7FB5-9344-9BF6-6317DEF27251}"/>
                  </a:ext>
                </a:extLst>
              </p:cNvPr>
              <p:cNvSpPr/>
              <p:nvPr/>
            </p:nvSpPr>
            <p:spPr>
              <a:xfrm>
                <a:off x="8462716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493 w 106268"/>
                  <a:gd name="connsiteY13" fmla="*/ 46110 h 105277"/>
                  <a:gd name="connsiteX14" fmla="*/ 70075 w 106268"/>
                  <a:gd name="connsiteY14" fmla="*/ 46110 h 105277"/>
                  <a:gd name="connsiteX15" fmla="*/ 85610 w 106268"/>
                  <a:gd name="connsiteY15" fmla="*/ 33550 h 105277"/>
                  <a:gd name="connsiteX16" fmla="*/ 70570 w 106268"/>
                  <a:gd name="connsiteY16" fmla="*/ 20328 h 105277"/>
                  <a:gd name="connsiteX17" fmla="*/ 36690 w 106268"/>
                  <a:gd name="connsiteY17" fmla="*/ 20328 h 105277"/>
                  <a:gd name="connsiteX18" fmla="*/ 20493 w 106268"/>
                  <a:gd name="connsiteY18" fmla="*/ 34872 h 105277"/>
                  <a:gd name="connsiteX19" fmla="*/ 2049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3" y="46110"/>
                    </a:moveTo>
                    <a:lnTo>
                      <a:pt x="70075" y="46110"/>
                    </a:lnTo>
                    <a:cubicBezTo>
                      <a:pt x="81478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0" y="20328"/>
                    </a:cubicBezTo>
                    <a:lnTo>
                      <a:pt x="36690" y="20328"/>
                    </a:lnTo>
                    <a:cubicBezTo>
                      <a:pt x="25121" y="20328"/>
                      <a:pt x="20493" y="26774"/>
                      <a:pt x="20493" y="34872"/>
                    </a:cubicBezTo>
                    <a:lnTo>
                      <a:pt x="2049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62C288F8-1352-63AC-C1CC-8E564D4B8BDC}"/>
                  </a:ext>
                </a:extLst>
              </p:cNvPr>
              <p:cNvSpPr/>
              <p:nvPr/>
            </p:nvSpPr>
            <p:spPr>
              <a:xfrm>
                <a:off x="8591462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EF1E340-B8E0-D051-ECE1-EF36FDB3084D}"/>
                  </a:ext>
                </a:extLst>
              </p:cNvPr>
              <p:cNvSpPr/>
              <p:nvPr/>
            </p:nvSpPr>
            <p:spPr>
              <a:xfrm>
                <a:off x="8709961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A6257F02-09A0-CE61-2F47-44DFF752C5D0}"/>
                  </a:ext>
                </a:extLst>
              </p:cNvPr>
              <p:cNvSpPr/>
              <p:nvPr/>
            </p:nvSpPr>
            <p:spPr>
              <a:xfrm>
                <a:off x="8940347" y="5939411"/>
                <a:ext cx="60984" cy="52225"/>
              </a:xfrm>
              <a:custGeom>
                <a:avLst/>
                <a:gdLst>
                  <a:gd name="connsiteX0" fmla="*/ 39004 w 60984"/>
                  <a:gd name="connsiteY0" fmla="*/ 0 h 52225"/>
                  <a:gd name="connsiteX1" fmla="*/ 60985 w 60984"/>
                  <a:gd name="connsiteY1" fmla="*/ 26113 h 52225"/>
                  <a:gd name="connsiteX2" fmla="*/ 39004 w 60984"/>
                  <a:gd name="connsiteY2" fmla="*/ 52225 h 52225"/>
                  <a:gd name="connsiteX3" fmla="*/ 21816 w 60984"/>
                  <a:gd name="connsiteY3" fmla="*/ 52225 h 52225"/>
                  <a:gd name="connsiteX4" fmla="*/ 0 w 60984"/>
                  <a:gd name="connsiteY4" fmla="*/ 26113 h 52225"/>
                  <a:gd name="connsiteX5" fmla="*/ 21816 w 60984"/>
                  <a:gd name="connsiteY5" fmla="*/ 0 h 52225"/>
                  <a:gd name="connsiteX6" fmla="*/ 39004 w 60984"/>
                  <a:gd name="connsiteY6" fmla="*/ 0 h 5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984" h="52225">
                    <a:moveTo>
                      <a:pt x="39004" y="0"/>
                    </a:moveTo>
                    <a:cubicBezTo>
                      <a:pt x="52391" y="0"/>
                      <a:pt x="60985" y="8429"/>
                      <a:pt x="60985" y="26113"/>
                    </a:cubicBezTo>
                    <a:cubicBezTo>
                      <a:pt x="60985" y="43797"/>
                      <a:pt x="52391" y="52225"/>
                      <a:pt x="39004" y="52225"/>
                    </a:cubicBezTo>
                    <a:lnTo>
                      <a:pt x="21816" y="52225"/>
                    </a:lnTo>
                    <a:cubicBezTo>
                      <a:pt x="8429" y="52225"/>
                      <a:pt x="0" y="43797"/>
                      <a:pt x="0" y="26113"/>
                    </a:cubicBezTo>
                    <a:cubicBezTo>
                      <a:pt x="0" y="8429"/>
                      <a:pt x="8429" y="0"/>
                      <a:pt x="21816" y="0"/>
                    </a:cubicBezTo>
                    <a:lnTo>
                      <a:pt x="3900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7B63585B-94DE-2CA9-ED58-A24418F1815E}"/>
                  </a:ext>
                </a:extLst>
              </p:cNvPr>
              <p:cNvSpPr/>
              <p:nvPr/>
            </p:nvSpPr>
            <p:spPr>
              <a:xfrm>
                <a:off x="9141646" y="5900242"/>
                <a:ext cx="119325" cy="134860"/>
              </a:xfrm>
              <a:custGeom>
                <a:avLst/>
                <a:gdLst>
                  <a:gd name="connsiteX0" fmla="*/ 73215 w 119325"/>
                  <a:gd name="connsiteY0" fmla="*/ 0 h 134860"/>
                  <a:gd name="connsiteX1" fmla="*/ 116516 w 119325"/>
                  <a:gd name="connsiteY1" fmla="*/ 40326 h 134860"/>
                  <a:gd name="connsiteX2" fmla="*/ 87924 w 119325"/>
                  <a:gd name="connsiteY2" fmla="*/ 80817 h 134860"/>
                  <a:gd name="connsiteX3" fmla="*/ 119325 w 119325"/>
                  <a:gd name="connsiteY3" fmla="*/ 134696 h 134860"/>
                  <a:gd name="connsiteX4" fmla="*/ 93212 w 119325"/>
                  <a:gd name="connsiteY4" fmla="*/ 134696 h 134860"/>
                  <a:gd name="connsiteX5" fmla="*/ 62472 w 119325"/>
                  <a:gd name="connsiteY5" fmla="*/ 82635 h 134860"/>
                  <a:gd name="connsiteX6" fmla="*/ 27270 w 119325"/>
                  <a:gd name="connsiteY6" fmla="*/ 82635 h 134860"/>
                  <a:gd name="connsiteX7" fmla="*/ 23799 w 119325"/>
                  <a:gd name="connsiteY7" fmla="*/ 86106 h 134860"/>
                  <a:gd name="connsiteX8" fmla="*/ 23799 w 119325"/>
                  <a:gd name="connsiteY8" fmla="*/ 134861 h 134860"/>
                  <a:gd name="connsiteX9" fmla="*/ 165 w 119325"/>
                  <a:gd name="connsiteY9" fmla="*/ 134861 h 134860"/>
                  <a:gd name="connsiteX10" fmla="*/ 165 w 119325"/>
                  <a:gd name="connsiteY10" fmla="*/ 81644 h 134860"/>
                  <a:gd name="connsiteX11" fmla="*/ 21320 w 119325"/>
                  <a:gd name="connsiteY11" fmla="*/ 60324 h 134860"/>
                  <a:gd name="connsiteX12" fmla="*/ 73876 w 119325"/>
                  <a:gd name="connsiteY12" fmla="*/ 60324 h 134860"/>
                  <a:gd name="connsiteX13" fmla="*/ 92717 w 119325"/>
                  <a:gd name="connsiteY13" fmla="*/ 41648 h 134860"/>
                  <a:gd name="connsiteX14" fmla="*/ 73876 w 119325"/>
                  <a:gd name="connsiteY14" fmla="*/ 23964 h 134860"/>
                  <a:gd name="connsiteX15" fmla="*/ 0 w 119325"/>
                  <a:gd name="connsiteY15" fmla="*/ 23964 h 134860"/>
                  <a:gd name="connsiteX16" fmla="*/ 0 w 119325"/>
                  <a:gd name="connsiteY16" fmla="*/ 496 h 134860"/>
                  <a:gd name="connsiteX17" fmla="*/ 73049 w 119325"/>
                  <a:gd name="connsiteY17" fmla="*/ 496 h 13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9325" h="134860">
                    <a:moveTo>
                      <a:pt x="73215" y="0"/>
                    </a:moveTo>
                    <a:cubicBezTo>
                      <a:pt x="103625" y="0"/>
                      <a:pt x="116516" y="18676"/>
                      <a:pt x="116516" y="40326"/>
                    </a:cubicBezTo>
                    <a:cubicBezTo>
                      <a:pt x="116516" y="57018"/>
                      <a:pt x="108583" y="75033"/>
                      <a:pt x="87924" y="80817"/>
                    </a:cubicBezTo>
                    <a:lnTo>
                      <a:pt x="119325" y="134696"/>
                    </a:lnTo>
                    <a:lnTo>
                      <a:pt x="93212" y="134696"/>
                    </a:lnTo>
                    <a:lnTo>
                      <a:pt x="62472" y="82635"/>
                    </a:lnTo>
                    <a:lnTo>
                      <a:pt x="27270" y="82635"/>
                    </a:lnTo>
                    <a:cubicBezTo>
                      <a:pt x="25121" y="82635"/>
                      <a:pt x="23799" y="83627"/>
                      <a:pt x="23799" y="86106"/>
                    </a:cubicBezTo>
                    <a:lnTo>
                      <a:pt x="23799" y="134861"/>
                    </a:lnTo>
                    <a:lnTo>
                      <a:pt x="165" y="134861"/>
                    </a:lnTo>
                    <a:lnTo>
                      <a:pt x="165" y="81644"/>
                    </a:lnTo>
                    <a:cubicBezTo>
                      <a:pt x="165" y="66439"/>
                      <a:pt x="6611" y="60324"/>
                      <a:pt x="21320" y="60324"/>
                    </a:cubicBezTo>
                    <a:lnTo>
                      <a:pt x="73876" y="60324"/>
                    </a:lnTo>
                    <a:cubicBezTo>
                      <a:pt x="87263" y="60324"/>
                      <a:pt x="92717" y="51068"/>
                      <a:pt x="92717" y="41648"/>
                    </a:cubicBezTo>
                    <a:cubicBezTo>
                      <a:pt x="92717" y="32228"/>
                      <a:pt x="86932" y="23964"/>
                      <a:pt x="73876" y="23964"/>
                    </a:cubicBezTo>
                    <a:lnTo>
                      <a:pt x="0" y="23964"/>
                    </a:lnTo>
                    <a:lnTo>
                      <a:pt x="0" y="496"/>
                    </a:lnTo>
                    <a:lnTo>
                      <a:pt x="73049" y="49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E90774E-79EC-D42C-0C0E-94D8E459CA87}"/>
                  </a:ext>
                </a:extLst>
              </p:cNvPr>
              <p:cNvSpPr/>
              <p:nvPr/>
            </p:nvSpPr>
            <p:spPr>
              <a:xfrm>
                <a:off x="9276011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59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59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3A10E0D8-664A-86AD-AB30-79721DB442EB}"/>
                  </a:ext>
                </a:extLst>
              </p:cNvPr>
              <p:cNvSpPr/>
              <p:nvPr/>
            </p:nvSpPr>
            <p:spPr>
              <a:xfrm>
                <a:off x="9394841" y="5929495"/>
                <a:ext cx="127423" cy="107756"/>
              </a:xfrm>
              <a:custGeom>
                <a:avLst/>
                <a:gdLst>
                  <a:gd name="connsiteX0" fmla="*/ 22146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1 w 127423"/>
                  <a:gd name="connsiteY3" fmla="*/ 84618 h 107756"/>
                  <a:gd name="connsiteX4" fmla="*/ 104616 w 127423"/>
                  <a:gd name="connsiteY4" fmla="*/ 0 h 107756"/>
                  <a:gd name="connsiteX5" fmla="*/ 127423 w 127423"/>
                  <a:gd name="connsiteY5" fmla="*/ 0 h 107756"/>
                  <a:gd name="connsiteX6" fmla="*/ 86767 w 127423"/>
                  <a:gd name="connsiteY6" fmla="*/ 94039 h 107756"/>
                  <a:gd name="connsiteX7" fmla="*/ 62637 w 127423"/>
                  <a:gd name="connsiteY7" fmla="*/ 107756 h 107756"/>
                  <a:gd name="connsiteX8" fmla="*/ 38673 w 127423"/>
                  <a:gd name="connsiteY8" fmla="*/ 94039 h 107756"/>
                  <a:gd name="connsiteX9" fmla="*/ 0 w 127423"/>
                  <a:gd name="connsiteY9" fmla="*/ 0 h 107756"/>
                  <a:gd name="connsiteX10" fmla="*/ 22311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6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1" y="84618"/>
                    </a:cubicBezTo>
                    <a:lnTo>
                      <a:pt x="104616" y="0"/>
                    </a:lnTo>
                    <a:lnTo>
                      <a:pt x="127423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7" y="107756"/>
                    </a:cubicBezTo>
                    <a:cubicBezTo>
                      <a:pt x="50738" y="107756"/>
                      <a:pt x="42640" y="103790"/>
                      <a:pt x="38673" y="94039"/>
                    </a:cubicBezTo>
                    <a:lnTo>
                      <a:pt x="0" y="0"/>
                    </a:lnTo>
                    <a:lnTo>
                      <a:pt x="2231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43C0A780-5E63-6260-2AB4-33CECF9B7C73}"/>
                  </a:ext>
                </a:extLst>
              </p:cNvPr>
              <p:cNvSpPr/>
              <p:nvPr/>
            </p:nvSpPr>
            <p:spPr>
              <a:xfrm>
                <a:off x="9531849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D7F6AD46-79D6-DF80-6217-0F24A245123C}"/>
                  </a:ext>
                </a:extLst>
              </p:cNvPr>
              <p:cNvSpPr/>
              <p:nvPr/>
            </p:nvSpPr>
            <p:spPr>
              <a:xfrm>
                <a:off x="9672329" y="5883880"/>
                <a:ext cx="21154" cy="151057"/>
              </a:xfrm>
              <a:custGeom>
                <a:avLst/>
                <a:gdLst>
                  <a:gd name="connsiteX0" fmla="*/ 21155 w 21154"/>
                  <a:gd name="connsiteY0" fmla="*/ 0 h 151057"/>
                  <a:gd name="connsiteX1" fmla="*/ 21155 w 21154"/>
                  <a:gd name="connsiteY1" fmla="*/ 151057 h 151057"/>
                  <a:gd name="connsiteX2" fmla="*/ 0 w 21154"/>
                  <a:gd name="connsiteY2" fmla="*/ 151057 h 151057"/>
                  <a:gd name="connsiteX3" fmla="*/ 0 w 21154"/>
                  <a:gd name="connsiteY3" fmla="*/ 0 h 151057"/>
                  <a:gd name="connsiteX4" fmla="*/ 21155 w 21154"/>
                  <a:gd name="connsiteY4" fmla="*/ 0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54" h="151057">
                    <a:moveTo>
                      <a:pt x="21155" y="0"/>
                    </a:moveTo>
                    <a:lnTo>
                      <a:pt x="21155" y="151057"/>
                    </a:lnTo>
                    <a:lnTo>
                      <a:pt x="0" y="151057"/>
                    </a:lnTo>
                    <a:lnTo>
                      <a:pt x="0" y="0"/>
                    </a:lnTo>
                    <a:lnTo>
                      <a:pt x="2115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981832C8-CBB7-0C63-9D54-2865F12BECF7}"/>
                  </a:ext>
                </a:extLst>
              </p:cNvPr>
              <p:cNvSpPr/>
              <p:nvPr/>
            </p:nvSpPr>
            <p:spPr>
              <a:xfrm>
                <a:off x="9724720" y="5929495"/>
                <a:ext cx="111061" cy="105277"/>
              </a:xfrm>
              <a:custGeom>
                <a:avLst/>
                <a:gdLst>
                  <a:gd name="connsiteX0" fmla="*/ 21320 w 111061"/>
                  <a:gd name="connsiteY0" fmla="*/ 0 h 105277"/>
                  <a:gd name="connsiteX1" fmla="*/ 21320 w 111061"/>
                  <a:gd name="connsiteY1" fmla="*/ 62968 h 105277"/>
                  <a:gd name="connsiteX2" fmla="*/ 47267 w 111061"/>
                  <a:gd name="connsiteY2" fmla="*/ 84784 h 105277"/>
                  <a:gd name="connsiteX3" fmla="*/ 64456 w 111061"/>
                  <a:gd name="connsiteY3" fmla="*/ 84784 h 105277"/>
                  <a:gd name="connsiteX4" fmla="*/ 90238 w 111061"/>
                  <a:gd name="connsiteY4" fmla="*/ 62968 h 105277"/>
                  <a:gd name="connsiteX5" fmla="*/ 90238 w 111061"/>
                  <a:gd name="connsiteY5" fmla="*/ 0 h 105277"/>
                  <a:gd name="connsiteX6" fmla="*/ 111062 w 111061"/>
                  <a:gd name="connsiteY6" fmla="*/ 0 h 105277"/>
                  <a:gd name="connsiteX7" fmla="*/ 111062 w 111061"/>
                  <a:gd name="connsiteY7" fmla="*/ 63794 h 105277"/>
                  <a:gd name="connsiteX8" fmla="*/ 65282 w 111061"/>
                  <a:gd name="connsiteY8" fmla="*/ 105277 h 105277"/>
                  <a:gd name="connsiteX9" fmla="*/ 45780 w 111061"/>
                  <a:gd name="connsiteY9" fmla="*/ 105277 h 105277"/>
                  <a:gd name="connsiteX10" fmla="*/ 0 w 111061"/>
                  <a:gd name="connsiteY10" fmla="*/ 63794 h 105277"/>
                  <a:gd name="connsiteX11" fmla="*/ 0 w 111061"/>
                  <a:gd name="connsiteY11" fmla="*/ 0 h 105277"/>
                  <a:gd name="connsiteX12" fmla="*/ 21320 w 111061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61" h="105277">
                    <a:moveTo>
                      <a:pt x="21320" y="0"/>
                    </a:moveTo>
                    <a:lnTo>
                      <a:pt x="21320" y="62968"/>
                    </a:lnTo>
                    <a:cubicBezTo>
                      <a:pt x="21320" y="75363"/>
                      <a:pt x="30575" y="84784"/>
                      <a:pt x="47267" y="84784"/>
                    </a:cubicBezTo>
                    <a:lnTo>
                      <a:pt x="64456" y="84784"/>
                    </a:lnTo>
                    <a:cubicBezTo>
                      <a:pt x="81148" y="84784"/>
                      <a:pt x="90238" y="75363"/>
                      <a:pt x="90238" y="62968"/>
                    </a:cubicBezTo>
                    <a:lnTo>
                      <a:pt x="90238" y="0"/>
                    </a:lnTo>
                    <a:lnTo>
                      <a:pt x="111062" y="0"/>
                    </a:lnTo>
                    <a:lnTo>
                      <a:pt x="111062" y="63794"/>
                    </a:lnTo>
                    <a:cubicBezTo>
                      <a:pt x="111062" y="88089"/>
                      <a:pt x="95526" y="105277"/>
                      <a:pt x="65282" y="105277"/>
                    </a:cubicBezTo>
                    <a:lnTo>
                      <a:pt x="45780" y="105277"/>
                    </a:lnTo>
                    <a:cubicBezTo>
                      <a:pt x="15535" y="105277"/>
                      <a:pt x="0" y="88089"/>
                      <a:pt x="0" y="63794"/>
                    </a:cubicBezTo>
                    <a:lnTo>
                      <a:pt x="0" y="0"/>
                    </a:lnTo>
                    <a:lnTo>
                      <a:pt x="2132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034177B0-76E6-9F38-E777-E819BBA91707}"/>
                  </a:ext>
                </a:extLst>
              </p:cNvPr>
              <p:cNvSpPr/>
              <p:nvPr/>
            </p:nvSpPr>
            <p:spPr>
              <a:xfrm>
                <a:off x="9856110" y="5904539"/>
                <a:ext cx="64951" cy="130233"/>
              </a:xfrm>
              <a:custGeom>
                <a:avLst/>
                <a:gdLst>
                  <a:gd name="connsiteX0" fmla="*/ 14544 w 64951"/>
                  <a:gd name="connsiteY0" fmla="*/ 24956 h 130233"/>
                  <a:gd name="connsiteX1" fmla="*/ 14544 w 64951"/>
                  <a:gd name="connsiteY1" fmla="*/ 0 h 130233"/>
                  <a:gd name="connsiteX2" fmla="*/ 35864 w 64951"/>
                  <a:gd name="connsiteY2" fmla="*/ 0 h 130233"/>
                  <a:gd name="connsiteX3" fmla="*/ 35864 w 64951"/>
                  <a:gd name="connsiteY3" fmla="*/ 24956 h 130233"/>
                  <a:gd name="connsiteX4" fmla="*/ 64951 w 64951"/>
                  <a:gd name="connsiteY4" fmla="*/ 24956 h 130233"/>
                  <a:gd name="connsiteX5" fmla="*/ 64951 w 64951"/>
                  <a:gd name="connsiteY5" fmla="*/ 45284 h 130233"/>
                  <a:gd name="connsiteX6" fmla="*/ 35864 w 64951"/>
                  <a:gd name="connsiteY6" fmla="*/ 45284 h 130233"/>
                  <a:gd name="connsiteX7" fmla="*/ 35864 w 64951"/>
                  <a:gd name="connsiteY7" fmla="*/ 95196 h 130233"/>
                  <a:gd name="connsiteX8" fmla="*/ 50077 w 64951"/>
                  <a:gd name="connsiteY8" fmla="*/ 110896 h 130233"/>
                  <a:gd name="connsiteX9" fmla="*/ 64620 w 64951"/>
                  <a:gd name="connsiteY9" fmla="*/ 110896 h 130233"/>
                  <a:gd name="connsiteX10" fmla="*/ 64620 w 64951"/>
                  <a:gd name="connsiteY10" fmla="*/ 130233 h 130233"/>
                  <a:gd name="connsiteX11" fmla="*/ 45614 w 64951"/>
                  <a:gd name="connsiteY11" fmla="*/ 130233 h 130233"/>
                  <a:gd name="connsiteX12" fmla="*/ 14378 w 64951"/>
                  <a:gd name="connsiteY12" fmla="*/ 93873 h 130233"/>
                  <a:gd name="connsiteX13" fmla="*/ 14378 w 64951"/>
                  <a:gd name="connsiteY13" fmla="*/ 45119 h 130233"/>
                  <a:gd name="connsiteX14" fmla="*/ 0 w 64951"/>
                  <a:gd name="connsiteY14" fmla="*/ 45119 h 130233"/>
                  <a:gd name="connsiteX15" fmla="*/ 0 w 64951"/>
                  <a:gd name="connsiteY15" fmla="*/ 24791 h 130233"/>
                  <a:gd name="connsiteX16" fmla="*/ 14378 w 64951"/>
                  <a:gd name="connsiteY16" fmla="*/ 24791 h 13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951" h="130233">
                    <a:moveTo>
                      <a:pt x="14544" y="24956"/>
                    </a:moveTo>
                    <a:lnTo>
                      <a:pt x="14544" y="0"/>
                    </a:lnTo>
                    <a:lnTo>
                      <a:pt x="35864" y="0"/>
                    </a:lnTo>
                    <a:lnTo>
                      <a:pt x="35864" y="24956"/>
                    </a:lnTo>
                    <a:lnTo>
                      <a:pt x="64951" y="24956"/>
                    </a:lnTo>
                    <a:lnTo>
                      <a:pt x="64951" y="45284"/>
                    </a:lnTo>
                    <a:lnTo>
                      <a:pt x="35864" y="45284"/>
                    </a:lnTo>
                    <a:lnTo>
                      <a:pt x="35864" y="95196"/>
                    </a:lnTo>
                    <a:cubicBezTo>
                      <a:pt x="35864" y="106930"/>
                      <a:pt x="39995" y="110896"/>
                      <a:pt x="50077" y="110896"/>
                    </a:cubicBezTo>
                    <a:lnTo>
                      <a:pt x="64620" y="110896"/>
                    </a:lnTo>
                    <a:lnTo>
                      <a:pt x="64620" y="130233"/>
                    </a:lnTo>
                    <a:lnTo>
                      <a:pt x="45614" y="130233"/>
                    </a:lnTo>
                    <a:cubicBezTo>
                      <a:pt x="23799" y="130233"/>
                      <a:pt x="14378" y="121474"/>
                      <a:pt x="14378" y="93873"/>
                    </a:cubicBezTo>
                    <a:lnTo>
                      <a:pt x="14378" y="45119"/>
                    </a:lnTo>
                    <a:lnTo>
                      <a:pt x="0" y="45119"/>
                    </a:lnTo>
                    <a:lnTo>
                      <a:pt x="0" y="24791"/>
                    </a:lnTo>
                    <a:lnTo>
                      <a:pt x="14378" y="2479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AC48394C-F05A-1032-AFE3-078E21D8F8FC}"/>
                  </a:ext>
                </a:extLst>
              </p:cNvPr>
              <p:cNvSpPr/>
              <p:nvPr/>
            </p:nvSpPr>
            <p:spPr>
              <a:xfrm>
                <a:off x="9943207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FD122D90-2D77-E7FB-83DD-6B4A393724C0}"/>
                  </a:ext>
                </a:extLst>
              </p:cNvPr>
              <p:cNvSpPr/>
              <p:nvPr/>
            </p:nvSpPr>
            <p:spPr>
              <a:xfrm>
                <a:off x="9991136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944A1771-1CA7-6F95-B491-C5E135FD28CF}"/>
                  </a:ext>
                </a:extLst>
              </p:cNvPr>
              <p:cNvSpPr/>
              <p:nvPr/>
            </p:nvSpPr>
            <p:spPr>
              <a:xfrm>
                <a:off x="1013145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757B4B9-3A9E-EDD8-856C-22A2FA8CE14F}"/>
                  </a:ext>
                </a:extLst>
              </p:cNvPr>
              <p:cNvSpPr/>
              <p:nvPr/>
            </p:nvSpPr>
            <p:spPr>
              <a:xfrm>
                <a:off x="10274243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F40D7A7B-F22E-F010-2CC5-EE776ABC32DE}"/>
                  </a:ext>
                </a:extLst>
              </p:cNvPr>
              <p:cNvSpPr/>
              <p:nvPr/>
            </p:nvSpPr>
            <p:spPr>
              <a:xfrm>
                <a:off x="10322006" y="5929495"/>
                <a:ext cx="104450" cy="105277"/>
              </a:xfrm>
              <a:custGeom>
                <a:avLst/>
                <a:gdLst>
                  <a:gd name="connsiteX0" fmla="*/ 77347 w 104450"/>
                  <a:gd name="connsiteY0" fmla="*/ 0 h 105277"/>
                  <a:gd name="connsiteX1" fmla="*/ 104451 w 104450"/>
                  <a:gd name="connsiteY1" fmla="*/ 24129 h 105277"/>
                  <a:gd name="connsiteX2" fmla="*/ 86437 w 104450"/>
                  <a:gd name="connsiteY2" fmla="*/ 49416 h 105277"/>
                  <a:gd name="connsiteX3" fmla="*/ 25948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5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7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7" y="0"/>
                    </a:moveTo>
                    <a:cubicBezTo>
                      <a:pt x="95692" y="0"/>
                      <a:pt x="104451" y="9585"/>
                      <a:pt x="104451" y="24129"/>
                    </a:cubicBezTo>
                    <a:cubicBezTo>
                      <a:pt x="104451" y="37020"/>
                      <a:pt x="97510" y="45449"/>
                      <a:pt x="86437" y="49416"/>
                    </a:cubicBezTo>
                    <a:lnTo>
                      <a:pt x="25948" y="71396"/>
                    </a:lnTo>
                    <a:cubicBezTo>
                      <a:pt x="22312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5" y="59993"/>
                      <a:pt x="18015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4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6B69206C-7C3D-9762-568A-6700DCD0BF45}"/>
                  </a:ext>
                </a:extLst>
              </p:cNvPr>
              <p:cNvSpPr/>
              <p:nvPr/>
            </p:nvSpPr>
            <p:spPr>
              <a:xfrm>
                <a:off x="10453231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BE1F148A-8D38-2237-867F-351E42AED3C2}"/>
                  </a:ext>
                </a:extLst>
              </p:cNvPr>
              <p:cNvSpPr/>
              <p:nvPr/>
            </p:nvSpPr>
            <p:spPr>
              <a:xfrm>
                <a:off x="1050611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30C9BF7B-CD79-08A3-727E-D6A8211C2834}"/>
                  </a:ext>
                </a:extLst>
              </p:cNvPr>
              <p:cNvSpPr/>
              <p:nvPr/>
            </p:nvSpPr>
            <p:spPr>
              <a:xfrm>
                <a:off x="10643788" y="5929495"/>
                <a:ext cx="113540" cy="147420"/>
              </a:xfrm>
              <a:custGeom>
                <a:avLst/>
                <a:gdLst>
                  <a:gd name="connsiteX0" fmla="*/ 74867 w 113540"/>
                  <a:gd name="connsiteY0" fmla="*/ 0 h 147420"/>
                  <a:gd name="connsiteX1" fmla="*/ 113541 w 113540"/>
                  <a:gd name="connsiteY1" fmla="*/ 45118 h 147420"/>
                  <a:gd name="connsiteX2" fmla="*/ 113541 w 113540"/>
                  <a:gd name="connsiteY2" fmla="*/ 105773 h 147420"/>
                  <a:gd name="connsiteX3" fmla="*/ 73545 w 113540"/>
                  <a:gd name="connsiteY3" fmla="*/ 147421 h 147420"/>
                  <a:gd name="connsiteX4" fmla="*/ 10908 w 113540"/>
                  <a:gd name="connsiteY4" fmla="*/ 147421 h 147420"/>
                  <a:gd name="connsiteX5" fmla="*/ 10908 w 113540"/>
                  <a:gd name="connsiteY5" fmla="*/ 127093 h 147420"/>
                  <a:gd name="connsiteX6" fmla="*/ 71231 w 113540"/>
                  <a:gd name="connsiteY6" fmla="*/ 127093 h 147420"/>
                  <a:gd name="connsiteX7" fmla="*/ 92221 w 113540"/>
                  <a:gd name="connsiteY7" fmla="*/ 105773 h 147420"/>
                  <a:gd name="connsiteX8" fmla="*/ 92221 w 113540"/>
                  <a:gd name="connsiteY8" fmla="*/ 100980 h 147420"/>
                  <a:gd name="connsiteX9" fmla="*/ 45780 w 113540"/>
                  <a:gd name="connsiteY9" fmla="*/ 100980 h 147420"/>
                  <a:gd name="connsiteX10" fmla="*/ 0 w 113540"/>
                  <a:gd name="connsiteY10" fmla="*/ 50242 h 147420"/>
                  <a:gd name="connsiteX11" fmla="*/ 45780 w 113540"/>
                  <a:gd name="connsiteY11" fmla="*/ 0 h 147420"/>
                  <a:gd name="connsiteX12" fmla="*/ 74867 w 113540"/>
                  <a:gd name="connsiteY12" fmla="*/ 0 h 147420"/>
                  <a:gd name="connsiteX13" fmla="*/ 47598 w 113540"/>
                  <a:gd name="connsiteY13" fmla="*/ 81808 h 147420"/>
                  <a:gd name="connsiteX14" fmla="*/ 92056 w 113540"/>
                  <a:gd name="connsiteY14" fmla="*/ 81808 h 147420"/>
                  <a:gd name="connsiteX15" fmla="*/ 92056 w 113540"/>
                  <a:gd name="connsiteY15" fmla="*/ 44954 h 147420"/>
                  <a:gd name="connsiteX16" fmla="*/ 68422 w 113540"/>
                  <a:gd name="connsiteY16" fmla="*/ 20493 h 147420"/>
                  <a:gd name="connsiteX17" fmla="*/ 47433 w 113540"/>
                  <a:gd name="connsiteY17" fmla="*/ 20493 h 147420"/>
                  <a:gd name="connsiteX18" fmla="*/ 21155 w 113540"/>
                  <a:gd name="connsiteY18" fmla="*/ 51233 h 147420"/>
                  <a:gd name="connsiteX19" fmla="*/ 47433 w 113540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540" h="147420">
                    <a:moveTo>
                      <a:pt x="74867" y="0"/>
                    </a:moveTo>
                    <a:cubicBezTo>
                      <a:pt x="99989" y="0"/>
                      <a:pt x="113541" y="14709"/>
                      <a:pt x="113541" y="45118"/>
                    </a:cubicBezTo>
                    <a:lnTo>
                      <a:pt x="113541" y="105773"/>
                    </a:lnTo>
                    <a:cubicBezTo>
                      <a:pt x="113541" y="135687"/>
                      <a:pt x="103129" y="147421"/>
                      <a:pt x="73545" y="147421"/>
                    </a:cubicBezTo>
                    <a:lnTo>
                      <a:pt x="10908" y="147421"/>
                    </a:lnTo>
                    <a:lnTo>
                      <a:pt x="10908" y="127093"/>
                    </a:lnTo>
                    <a:lnTo>
                      <a:pt x="71231" y="127093"/>
                    </a:lnTo>
                    <a:cubicBezTo>
                      <a:pt x="86932" y="127093"/>
                      <a:pt x="92221" y="120977"/>
                      <a:pt x="92221" y="105773"/>
                    </a:cubicBezTo>
                    <a:lnTo>
                      <a:pt x="92221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598" y="81808"/>
                    </a:moveTo>
                    <a:lnTo>
                      <a:pt x="92056" y="81808"/>
                    </a:lnTo>
                    <a:lnTo>
                      <a:pt x="92056" y="44954"/>
                    </a:lnTo>
                    <a:cubicBezTo>
                      <a:pt x="92056" y="27765"/>
                      <a:pt x="85445" y="20493"/>
                      <a:pt x="68422" y="20493"/>
                    </a:cubicBezTo>
                    <a:lnTo>
                      <a:pt x="47433" y="20493"/>
                    </a:lnTo>
                    <a:cubicBezTo>
                      <a:pt x="29253" y="20493"/>
                      <a:pt x="21155" y="29583"/>
                      <a:pt x="21155" y="51233"/>
                    </a:cubicBezTo>
                    <a:cubicBezTo>
                      <a:pt x="21155" y="72884"/>
                      <a:pt x="29418" y="81974"/>
                      <a:pt x="4743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585472E4-F58A-5431-917B-C23F3F6A8720}"/>
                  </a:ext>
                </a:extLst>
              </p:cNvPr>
              <p:cNvSpPr/>
              <p:nvPr/>
            </p:nvSpPr>
            <p:spPr>
              <a:xfrm>
                <a:off x="10838145" y="5900242"/>
                <a:ext cx="120481" cy="134530"/>
              </a:xfrm>
              <a:custGeom>
                <a:avLst/>
                <a:gdLst>
                  <a:gd name="connsiteX0" fmla="*/ 110235 w 120481"/>
                  <a:gd name="connsiteY0" fmla="*/ 0 h 134530"/>
                  <a:gd name="connsiteX1" fmla="*/ 110235 w 120481"/>
                  <a:gd name="connsiteY1" fmla="*/ 23469 h 134530"/>
                  <a:gd name="connsiteX2" fmla="*/ 41152 w 120481"/>
                  <a:gd name="connsiteY2" fmla="*/ 23469 h 134530"/>
                  <a:gd name="connsiteX3" fmla="*/ 23634 w 120481"/>
                  <a:gd name="connsiteY3" fmla="*/ 39500 h 134530"/>
                  <a:gd name="connsiteX4" fmla="*/ 43631 w 120481"/>
                  <a:gd name="connsiteY4" fmla="*/ 55366 h 134530"/>
                  <a:gd name="connsiteX5" fmla="*/ 75198 w 120481"/>
                  <a:gd name="connsiteY5" fmla="*/ 55366 h 134530"/>
                  <a:gd name="connsiteX6" fmla="*/ 120482 w 120481"/>
                  <a:gd name="connsiteY6" fmla="*/ 95030 h 134530"/>
                  <a:gd name="connsiteX7" fmla="*/ 77512 w 120481"/>
                  <a:gd name="connsiteY7" fmla="*/ 134530 h 134530"/>
                  <a:gd name="connsiteX8" fmla="*/ 2479 w 120481"/>
                  <a:gd name="connsiteY8" fmla="*/ 134530 h 134530"/>
                  <a:gd name="connsiteX9" fmla="*/ 2479 w 120481"/>
                  <a:gd name="connsiteY9" fmla="*/ 111062 h 134530"/>
                  <a:gd name="connsiteX10" fmla="*/ 78338 w 120481"/>
                  <a:gd name="connsiteY10" fmla="*/ 111062 h 134530"/>
                  <a:gd name="connsiteX11" fmla="*/ 96848 w 120481"/>
                  <a:gd name="connsiteY11" fmla="*/ 94370 h 134530"/>
                  <a:gd name="connsiteX12" fmla="*/ 75694 w 120481"/>
                  <a:gd name="connsiteY12" fmla="*/ 77677 h 134530"/>
                  <a:gd name="connsiteX13" fmla="*/ 44293 w 120481"/>
                  <a:gd name="connsiteY13" fmla="*/ 77677 h 134530"/>
                  <a:gd name="connsiteX14" fmla="*/ 0 w 120481"/>
                  <a:gd name="connsiteY14" fmla="*/ 38839 h 134530"/>
                  <a:gd name="connsiteX15" fmla="*/ 41979 w 120481"/>
                  <a:gd name="connsiteY15" fmla="*/ 165 h 134530"/>
                  <a:gd name="connsiteX16" fmla="*/ 110235 w 120481"/>
                  <a:gd name="connsiteY16" fmla="*/ 165 h 13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481" h="134530">
                    <a:moveTo>
                      <a:pt x="110235" y="0"/>
                    </a:moveTo>
                    <a:lnTo>
                      <a:pt x="110235" y="23469"/>
                    </a:lnTo>
                    <a:lnTo>
                      <a:pt x="41152" y="23469"/>
                    </a:lnTo>
                    <a:cubicBezTo>
                      <a:pt x="28922" y="23469"/>
                      <a:pt x="23634" y="30079"/>
                      <a:pt x="23634" y="39500"/>
                    </a:cubicBezTo>
                    <a:cubicBezTo>
                      <a:pt x="23634" y="47598"/>
                      <a:pt x="27766" y="55366"/>
                      <a:pt x="43631" y="55366"/>
                    </a:cubicBezTo>
                    <a:lnTo>
                      <a:pt x="75198" y="55366"/>
                    </a:lnTo>
                    <a:cubicBezTo>
                      <a:pt x="111888" y="55366"/>
                      <a:pt x="120482" y="75694"/>
                      <a:pt x="120482" y="95030"/>
                    </a:cubicBezTo>
                    <a:cubicBezTo>
                      <a:pt x="120482" y="117838"/>
                      <a:pt x="108252" y="134530"/>
                      <a:pt x="77512" y="134530"/>
                    </a:cubicBezTo>
                    <a:lnTo>
                      <a:pt x="2479" y="134530"/>
                    </a:lnTo>
                    <a:lnTo>
                      <a:pt x="2479" y="111062"/>
                    </a:lnTo>
                    <a:lnTo>
                      <a:pt x="78338" y="111062"/>
                    </a:lnTo>
                    <a:cubicBezTo>
                      <a:pt x="91064" y="111062"/>
                      <a:pt x="96848" y="104121"/>
                      <a:pt x="96848" y="94370"/>
                    </a:cubicBezTo>
                    <a:cubicBezTo>
                      <a:pt x="96848" y="85610"/>
                      <a:pt x="92221" y="77677"/>
                      <a:pt x="75694" y="77677"/>
                    </a:cubicBezTo>
                    <a:lnTo>
                      <a:pt x="44293" y="77677"/>
                    </a:lnTo>
                    <a:cubicBezTo>
                      <a:pt x="8263" y="77677"/>
                      <a:pt x="0" y="57514"/>
                      <a:pt x="0" y="38839"/>
                    </a:cubicBezTo>
                    <a:cubicBezTo>
                      <a:pt x="0" y="16527"/>
                      <a:pt x="12065" y="165"/>
                      <a:pt x="41979" y="165"/>
                    </a:cubicBezTo>
                    <a:lnTo>
                      <a:pt x="110235" y="1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84D2DE98-92BF-161D-5354-D4558ED7A90A}"/>
                  </a:ext>
                </a:extLst>
              </p:cNvPr>
              <p:cNvSpPr/>
              <p:nvPr/>
            </p:nvSpPr>
            <p:spPr>
              <a:xfrm>
                <a:off x="10982922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60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60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A9947C0F-8877-161D-99D9-C377B82DB472}"/>
                  </a:ext>
                </a:extLst>
              </p:cNvPr>
              <p:cNvSpPr/>
              <p:nvPr/>
            </p:nvSpPr>
            <p:spPr>
              <a:xfrm>
                <a:off x="11116295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1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1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B81F755-179A-27F0-7DB6-F08C2145A7AA}"/>
                  </a:ext>
                </a:extLst>
              </p:cNvPr>
              <p:cNvSpPr/>
              <p:nvPr/>
            </p:nvSpPr>
            <p:spPr>
              <a:xfrm>
                <a:off x="11203227" y="5929495"/>
                <a:ext cx="127423" cy="107756"/>
              </a:xfrm>
              <a:custGeom>
                <a:avLst/>
                <a:gdLst>
                  <a:gd name="connsiteX0" fmla="*/ 22147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2 w 127423"/>
                  <a:gd name="connsiteY3" fmla="*/ 84618 h 107756"/>
                  <a:gd name="connsiteX4" fmla="*/ 104616 w 127423"/>
                  <a:gd name="connsiteY4" fmla="*/ 0 h 107756"/>
                  <a:gd name="connsiteX5" fmla="*/ 127424 w 127423"/>
                  <a:gd name="connsiteY5" fmla="*/ 0 h 107756"/>
                  <a:gd name="connsiteX6" fmla="*/ 86767 w 127423"/>
                  <a:gd name="connsiteY6" fmla="*/ 94039 h 107756"/>
                  <a:gd name="connsiteX7" fmla="*/ 62638 w 127423"/>
                  <a:gd name="connsiteY7" fmla="*/ 107756 h 107756"/>
                  <a:gd name="connsiteX8" fmla="*/ 38674 w 127423"/>
                  <a:gd name="connsiteY8" fmla="*/ 94039 h 107756"/>
                  <a:gd name="connsiteX9" fmla="*/ 0 w 127423"/>
                  <a:gd name="connsiteY9" fmla="*/ 0 h 107756"/>
                  <a:gd name="connsiteX10" fmla="*/ 22312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7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2" y="84618"/>
                    </a:cubicBezTo>
                    <a:lnTo>
                      <a:pt x="104616" y="0"/>
                    </a:lnTo>
                    <a:lnTo>
                      <a:pt x="127424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8" y="107756"/>
                    </a:cubicBezTo>
                    <a:cubicBezTo>
                      <a:pt x="50738" y="107756"/>
                      <a:pt x="42640" y="103790"/>
                      <a:pt x="38674" y="94039"/>
                    </a:cubicBezTo>
                    <a:lnTo>
                      <a:pt x="0" y="0"/>
                    </a:lnTo>
                    <a:lnTo>
                      <a:pt x="223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F789444-88E9-395E-64EB-97B1B9370ACC}"/>
                  </a:ext>
                </a:extLst>
              </p:cNvPr>
              <p:cNvSpPr/>
              <p:nvPr/>
            </p:nvSpPr>
            <p:spPr>
              <a:xfrm>
                <a:off x="11351144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4FA5C508-0125-7871-A0CE-715D8AD1F320}"/>
                  </a:ext>
                </a:extLst>
              </p:cNvPr>
              <p:cNvSpPr/>
              <p:nvPr/>
            </p:nvSpPr>
            <p:spPr>
              <a:xfrm>
                <a:off x="11398907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E5D6EA54-09FA-2053-AAA8-BE75A79AB176}"/>
                  </a:ext>
                </a:extLst>
              </p:cNvPr>
              <p:cNvSpPr/>
              <p:nvPr/>
            </p:nvSpPr>
            <p:spPr>
              <a:xfrm>
                <a:off x="11523521" y="5929495"/>
                <a:ext cx="106269" cy="105277"/>
              </a:xfrm>
              <a:custGeom>
                <a:avLst/>
                <a:gdLst>
                  <a:gd name="connsiteX0" fmla="*/ 70736 w 106269"/>
                  <a:gd name="connsiteY0" fmla="*/ 0 h 105277"/>
                  <a:gd name="connsiteX1" fmla="*/ 106269 w 106269"/>
                  <a:gd name="connsiteY1" fmla="*/ 32393 h 105277"/>
                  <a:gd name="connsiteX2" fmla="*/ 70571 w 106269"/>
                  <a:gd name="connsiteY2" fmla="*/ 62637 h 105277"/>
                  <a:gd name="connsiteX3" fmla="*/ 20494 w 106269"/>
                  <a:gd name="connsiteY3" fmla="*/ 62637 h 105277"/>
                  <a:gd name="connsiteX4" fmla="*/ 20494 w 106269"/>
                  <a:gd name="connsiteY4" fmla="*/ 70240 h 105277"/>
                  <a:gd name="connsiteX5" fmla="*/ 36690 w 106269"/>
                  <a:gd name="connsiteY5" fmla="*/ 84784 h 105277"/>
                  <a:gd name="connsiteX6" fmla="*/ 101145 w 106269"/>
                  <a:gd name="connsiteY6" fmla="*/ 84784 h 105277"/>
                  <a:gd name="connsiteX7" fmla="*/ 101145 w 106269"/>
                  <a:gd name="connsiteY7" fmla="*/ 105277 h 105277"/>
                  <a:gd name="connsiteX8" fmla="*/ 36690 w 106269"/>
                  <a:gd name="connsiteY8" fmla="*/ 105277 h 105277"/>
                  <a:gd name="connsiteX9" fmla="*/ 0 w 106269"/>
                  <a:gd name="connsiteY9" fmla="*/ 70570 h 105277"/>
                  <a:gd name="connsiteX10" fmla="*/ 0 w 106269"/>
                  <a:gd name="connsiteY10" fmla="*/ 34706 h 105277"/>
                  <a:gd name="connsiteX11" fmla="*/ 36690 w 106269"/>
                  <a:gd name="connsiteY11" fmla="*/ 0 h 105277"/>
                  <a:gd name="connsiteX12" fmla="*/ 70901 w 106269"/>
                  <a:gd name="connsiteY12" fmla="*/ 0 h 105277"/>
                  <a:gd name="connsiteX13" fmla="*/ 20494 w 106269"/>
                  <a:gd name="connsiteY13" fmla="*/ 46110 h 105277"/>
                  <a:gd name="connsiteX14" fmla="*/ 70075 w 106269"/>
                  <a:gd name="connsiteY14" fmla="*/ 46110 h 105277"/>
                  <a:gd name="connsiteX15" fmla="*/ 85610 w 106269"/>
                  <a:gd name="connsiteY15" fmla="*/ 33550 h 105277"/>
                  <a:gd name="connsiteX16" fmla="*/ 70571 w 106269"/>
                  <a:gd name="connsiteY16" fmla="*/ 20328 h 105277"/>
                  <a:gd name="connsiteX17" fmla="*/ 36525 w 106269"/>
                  <a:gd name="connsiteY17" fmla="*/ 20328 h 105277"/>
                  <a:gd name="connsiteX18" fmla="*/ 20328 w 106269"/>
                  <a:gd name="connsiteY18" fmla="*/ 34872 h 105277"/>
                  <a:gd name="connsiteX19" fmla="*/ 20328 w 106269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9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1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4" y="46110"/>
                    </a:moveTo>
                    <a:lnTo>
                      <a:pt x="70075" y="46110"/>
                    </a:lnTo>
                    <a:cubicBezTo>
                      <a:pt x="81479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1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6" name="Graphic 8">
              <a:extLst>
                <a:ext uri="{FF2B5EF4-FFF2-40B4-BE49-F238E27FC236}">
                  <a16:creationId xmlns:a16="http://schemas.microsoft.com/office/drawing/2014/main" id="{DCC0CAC3-C90B-B296-30C1-9A23B1B23A6F}"/>
                </a:ext>
              </a:extLst>
            </p:cNvPr>
            <p:cNvGrpSpPr/>
            <p:nvPr/>
          </p:nvGrpSpPr>
          <p:grpSpPr>
            <a:xfrm>
              <a:off x="7596585" y="467263"/>
              <a:ext cx="3048167" cy="4652212"/>
              <a:chOff x="7596585" y="467263"/>
              <a:chExt cx="3048167" cy="4652212"/>
            </a:xfrm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28543044-89FC-EF9C-3CBF-5F5F520036F6}"/>
                  </a:ext>
                </a:extLst>
              </p:cNvPr>
              <p:cNvSpPr/>
              <p:nvPr/>
            </p:nvSpPr>
            <p:spPr>
              <a:xfrm>
                <a:off x="9438356" y="3891725"/>
                <a:ext cx="1206396" cy="930285"/>
              </a:xfrm>
              <a:custGeom>
                <a:avLst/>
                <a:gdLst>
                  <a:gd name="connsiteX0" fmla="*/ 1191549 w 1206396"/>
                  <a:gd name="connsiteY0" fmla="*/ 925501 h 930285"/>
                  <a:gd name="connsiteX1" fmla="*/ 1154363 w 1206396"/>
                  <a:gd name="connsiteY1" fmla="*/ 916742 h 930285"/>
                  <a:gd name="connsiteX2" fmla="*/ 1151553 w 1206396"/>
                  <a:gd name="connsiteY2" fmla="*/ 894100 h 930285"/>
                  <a:gd name="connsiteX3" fmla="*/ 990415 w 1206396"/>
                  <a:gd name="connsiteY3" fmla="*/ 608183 h 930285"/>
                  <a:gd name="connsiteX4" fmla="*/ 706811 w 1206396"/>
                  <a:gd name="connsiteY4" fmla="*/ 614132 h 930285"/>
                  <a:gd name="connsiteX5" fmla="*/ 666981 w 1206396"/>
                  <a:gd name="connsiteY5" fmla="*/ 647186 h 930285"/>
                  <a:gd name="connsiteX6" fmla="*/ 630621 w 1206396"/>
                  <a:gd name="connsiteY6" fmla="*/ 686356 h 930285"/>
                  <a:gd name="connsiteX7" fmla="*/ 616573 w 1206396"/>
                  <a:gd name="connsiteY7" fmla="*/ 703048 h 930285"/>
                  <a:gd name="connsiteX8" fmla="*/ 582032 w 1206396"/>
                  <a:gd name="connsiteY8" fmla="*/ 698916 h 930285"/>
                  <a:gd name="connsiteX9" fmla="*/ 572777 w 1206396"/>
                  <a:gd name="connsiteY9" fmla="*/ 671647 h 930285"/>
                  <a:gd name="connsiteX10" fmla="*/ 558894 w 1206396"/>
                  <a:gd name="connsiteY10" fmla="*/ 640245 h 930285"/>
                  <a:gd name="connsiteX11" fmla="*/ 492621 w 1206396"/>
                  <a:gd name="connsiteY11" fmla="*/ 649500 h 930285"/>
                  <a:gd name="connsiteX12" fmla="*/ 446014 w 1206396"/>
                  <a:gd name="connsiteY12" fmla="*/ 656441 h 930285"/>
                  <a:gd name="connsiteX13" fmla="*/ 438577 w 1206396"/>
                  <a:gd name="connsiteY13" fmla="*/ 636279 h 930285"/>
                  <a:gd name="connsiteX14" fmla="*/ 442709 w 1206396"/>
                  <a:gd name="connsiteY14" fmla="*/ 620082 h 930285"/>
                  <a:gd name="connsiteX15" fmla="*/ 446841 w 1206396"/>
                  <a:gd name="connsiteY15" fmla="*/ 588185 h 930285"/>
                  <a:gd name="connsiteX16" fmla="*/ 442544 w 1206396"/>
                  <a:gd name="connsiteY16" fmla="*/ 553644 h 930285"/>
                  <a:gd name="connsiteX17" fmla="*/ 413787 w 1206396"/>
                  <a:gd name="connsiteY17" fmla="*/ 507368 h 930285"/>
                  <a:gd name="connsiteX18" fmla="*/ 264878 w 1206396"/>
                  <a:gd name="connsiteY18" fmla="*/ 493981 h 930285"/>
                  <a:gd name="connsiteX19" fmla="*/ 231659 w 1206396"/>
                  <a:gd name="connsiteY19" fmla="*/ 501088 h 930285"/>
                  <a:gd name="connsiteX20" fmla="*/ 207695 w 1206396"/>
                  <a:gd name="connsiteY20" fmla="*/ 486709 h 930285"/>
                  <a:gd name="connsiteX21" fmla="*/ 150677 w 1206396"/>
                  <a:gd name="connsiteY21" fmla="*/ 406884 h 930285"/>
                  <a:gd name="connsiteX22" fmla="*/ 45234 w 1206396"/>
                  <a:gd name="connsiteY22" fmla="*/ 186909 h 930285"/>
                  <a:gd name="connsiteX23" fmla="*/ 115 w 1206396"/>
                  <a:gd name="connsiteY23" fmla="*/ 30398 h 930285"/>
                  <a:gd name="connsiteX24" fmla="*/ 47383 w 1206396"/>
                  <a:gd name="connsiteY24" fmla="*/ 10235 h 930285"/>
                  <a:gd name="connsiteX25" fmla="*/ 59117 w 1206396"/>
                  <a:gd name="connsiteY25" fmla="*/ 45272 h 930285"/>
                  <a:gd name="connsiteX26" fmla="*/ 134150 w 1206396"/>
                  <a:gd name="connsiteY26" fmla="*/ 257645 h 930285"/>
                  <a:gd name="connsiteX27" fmla="*/ 229510 w 1206396"/>
                  <a:gd name="connsiteY27" fmla="*/ 417791 h 930285"/>
                  <a:gd name="connsiteX28" fmla="*/ 246203 w 1206396"/>
                  <a:gd name="connsiteY28" fmla="*/ 441260 h 930285"/>
                  <a:gd name="connsiteX29" fmla="*/ 251657 w 1206396"/>
                  <a:gd name="connsiteY29" fmla="*/ 439111 h 930285"/>
                  <a:gd name="connsiteX30" fmla="*/ 363545 w 1206396"/>
                  <a:gd name="connsiteY30" fmla="*/ 424402 h 930285"/>
                  <a:gd name="connsiteX31" fmla="*/ 457583 w 1206396"/>
                  <a:gd name="connsiteY31" fmla="*/ 473983 h 930285"/>
                  <a:gd name="connsiteX32" fmla="*/ 500884 w 1206396"/>
                  <a:gd name="connsiteY32" fmla="*/ 564386 h 930285"/>
                  <a:gd name="connsiteX33" fmla="*/ 503033 w 1206396"/>
                  <a:gd name="connsiteY33" fmla="*/ 578104 h 930285"/>
                  <a:gd name="connsiteX34" fmla="*/ 514601 w 1206396"/>
                  <a:gd name="connsiteY34" fmla="*/ 576120 h 930285"/>
                  <a:gd name="connsiteX35" fmla="*/ 563687 w 1206396"/>
                  <a:gd name="connsiteY35" fmla="*/ 580913 h 930285"/>
                  <a:gd name="connsiteX36" fmla="*/ 603352 w 1206396"/>
                  <a:gd name="connsiteY36" fmla="*/ 607852 h 930285"/>
                  <a:gd name="connsiteX37" fmla="*/ 613764 w 1206396"/>
                  <a:gd name="connsiteY37" fmla="*/ 619586 h 930285"/>
                  <a:gd name="connsiteX38" fmla="*/ 626655 w 1206396"/>
                  <a:gd name="connsiteY38" fmla="*/ 607356 h 930285"/>
                  <a:gd name="connsiteX39" fmla="*/ 931083 w 1206396"/>
                  <a:gd name="connsiteY39" fmla="*/ 527200 h 930285"/>
                  <a:gd name="connsiteX40" fmla="*/ 1206092 w 1206396"/>
                  <a:gd name="connsiteY40" fmla="*/ 887655 h 930285"/>
                  <a:gd name="connsiteX41" fmla="*/ 1197663 w 1206396"/>
                  <a:gd name="connsiteY41" fmla="*/ 919882 h 930285"/>
                  <a:gd name="connsiteX42" fmla="*/ 1191383 w 1206396"/>
                  <a:gd name="connsiteY42" fmla="*/ 925336 h 930285"/>
                  <a:gd name="connsiteX43" fmla="*/ 1191383 w 1206396"/>
                  <a:gd name="connsiteY43" fmla="*/ 925336 h 93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06396" h="930285">
                    <a:moveTo>
                      <a:pt x="1191549" y="925501"/>
                    </a:moveTo>
                    <a:cubicBezTo>
                      <a:pt x="1176509" y="934261"/>
                      <a:pt x="1161635" y="930790"/>
                      <a:pt x="1154363" y="916742"/>
                    </a:cubicBezTo>
                    <a:cubicBezTo>
                      <a:pt x="1151388" y="910958"/>
                      <a:pt x="1150892" y="906826"/>
                      <a:pt x="1151553" y="894100"/>
                    </a:cubicBezTo>
                    <a:cubicBezTo>
                      <a:pt x="1157668" y="776262"/>
                      <a:pt x="1094535" y="664375"/>
                      <a:pt x="990415" y="608183"/>
                    </a:cubicBezTo>
                    <a:cubicBezTo>
                      <a:pt x="899681" y="559263"/>
                      <a:pt x="793908" y="561411"/>
                      <a:pt x="706811" y="614132"/>
                    </a:cubicBezTo>
                    <a:cubicBezTo>
                      <a:pt x="694911" y="621239"/>
                      <a:pt x="690119" y="625371"/>
                      <a:pt x="666981" y="647186"/>
                    </a:cubicBezTo>
                    <a:cubicBezTo>
                      <a:pt x="643843" y="669167"/>
                      <a:pt x="639546" y="673795"/>
                      <a:pt x="630621" y="686356"/>
                    </a:cubicBezTo>
                    <a:cubicBezTo>
                      <a:pt x="624672" y="694784"/>
                      <a:pt x="619052" y="701726"/>
                      <a:pt x="616573" y="703048"/>
                    </a:cubicBezTo>
                    <a:cubicBezTo>
                      <a:pt x="605335" y="709824"/>
                      <a:pt x="590626" y="708006"/>
                      <a:pt x="582032" y="698916"/>
                    </a:cubicBezTo>
                    <a:cubicBezTo>
                      <a:pt x="575421" y="691975"/>
                      <a:pt x="573107" y="685033"/>
                      <a:pt x="572777" y="671647"/>
                    </a:cubicBezTo>
                    <a:cubicBezTo>
                      <a:pt x="572446" y="658425"/>
                      <a:pt x="567819" y="647517"/>
                      <a:pt x="558894" y="640245"/>
                    </a:cubicBezTo>
                    <a:cubicBezTo>
                      <a:pt x="538566" y="623387"/>
                      <a:pt x="510966" y="627189"/>
                      <a:pt x="492621" y="649500"/>
                    </a:cubicBezTo>
                    <a:cubicBezTo>
                      <a:pt x="477912" y="667349"/>
                      <a:pt x="459071" y="670159"/>
                      <a:pt x="446014" y="656441"/>
                    </a:cubicBezTo>
                    <a:cubicBezTo>
                      <a:pt x="441552" y="651649"/>
                      <a:pt x="438082" y="642228"/>
                      <a:pt x="438577" y="636279"/>
                    </a:cubicBezTo>
                    <a:cubicBezTo>
                      <a:pt x="438743" y="634295"/>
                      <a:pt x="440560" y="627023"/>
                      <a:pt x="442709" y="620082"/>
                    </a:cubicBezTo>
                    <a:cubicBezTo>
                      <a:pt x="445188" y="611984"/>
                      <a:pt x="446676" y="600911"/>
                      <a:pt x="446841" y="588185"/>
                    </a:cubicBezTo>
                    <a:cubicBezTo>
                      <a:pt x="447171" y="571823"/>
                      <a:pt x="446510" y="566369"/>
                      <a:pt x="442544" y="553644"/>
                    </a:cubicBezTo>
                    <a:cubicBezTo>
                      <a:pt x="436429" y="534142"/>
                      <a:pt x="427669" y="520094"/>
                      <a:pt x="413787" y="507368"/>
                    </a:cubicBezTo>
                    <a:cubicBezTo>
                      <a:pt x="375775" y="472330"/>
                      <a:pt x="319252" y="467207"/>
                      <a:pt x="264878" y="493981"/>
                    </a:cubicBezTo>
                    <a:cubicBezTo>
                      <a:pt x="247690" y="502410"/>
                      <a:pt x="241906" y="503732"/>
                      <a:pt x="231659" y="501088"/>
                    </a:cubicBezTo>
                    <a:cubicBezTo>
                      <a:pt x="221412" y="498443"/>
                      <a:pt x="215628" y="495138"/>
                      <a:pt x="207695" y="486709"/>
                    </a:cubicBezTo>
                    <a:cubicBezTo>
                      <a:pt x="197613" y="476132"/>
                      <a:pt x="171996" y="440103"/>
                      <a:pt x="150677" y="406884"/>
                    </a:cubicBezTo>
                    <a:cubicBezTo>
                      <a:pt x="116300" y="352840"/>
                      <a:pt x="74818" y="266404"/>
                      <a:pt x="45234" y="186909"/>
                    </a:cubicBezTo>
                    <a:cubicBezTo>
                      <a:pt x="27716" y="139807"/>
                      <a:pt x="1768" y="49569"/>
                      <a:pt x="115" y="30398"/>
                    </a:cubicBezTo>
                    <a:cubicBezTo>
                      <a:pt x="-2198" y="3128"/>
                      <a:pt x="30856" y="-10920"/>
                      <a:pt x="47383" y="10235"/>
                    </a:cubicBezTo>
                    <a:cubicBezTo>
                      <a:pt x="51019" y="14863"/>
                      <a:pt x="53498" y="22134"/>
                      <a:pt x="59117" y="45272"/>
                    </a:cubicBezTo>
                    <a:cubicBezTo>
                      <a:pt x="76966" y="117330"/>
                      <a:pt x="103079" y="191536"/>
                      <a:pt x="134150" y="257645"/>
                    </a:cubicBezTo>
                    <a:cubicBezTo>
                      <a:pt x="159601" y="312018"/>
                      <a:pt x="185549" y="355485"/>
                      <a:pt x="229510" y="417791"/>
                    </a:cubicBezTo>
                    <a:lnTo>
                      <a:pt x="246203" y="441260"/>
                    </a:lnTo>
                    <a:lnTo>
                      <a:pt x="251657" y="439111"/>
                    </a:lnTo>
                    <a:cubicBezTo>
                      <a:pt x="294296" y="422584"/>
                      <a:pt x="327020" y="418287"/>
                      <a:pt x="363545" y="424402"/>
                    </a:cubicBezTo>
                    <a:cubicBezTo>
                      <a:pt x="400565" y="430683"/>
                      <a:pt x="432297" y="447375"/>
                      <a:pt x="457583" y="473983"/>
                    </a:cubicBezTo>
                    <a:cubicBezTo>
                      <a:pt x="482374" y="500096"/>
                      <a:pt x="496918" y="530506"/>
                      <a:pt x="500884" y="564386"/>
                    </a:cubicBezTo>
                    <a:cubicBezTo>
                      <a:pt x="501710" y="571989"/>
                      <a:pt x="502702" y="578104"/>
                      <a:pt x="503033" y="578104"/>
                    </a:cubicBezTo>
                    <a:cubicBezTo>
                      <a:pt x="503528" y="577938"/>
                      <a:pt x="508487" y="577277"/>
                      <a:pt x="514601" y="576120"/>
                    </a:cubicBezTo>
                    <a:cubicBezTo>
                      <a:pt x="529972" y="573476"/>
                      <a:pt x="548813" y="575294"/>
                      <a:pt x="563687" y="580913"/>
                    </a:cubicBezTo>
                    <a:cubicBezTo>
                      <a:pt x="581701" y="587524"/>
                      <a:pt x="590957" y="593804"/>
                      <a:pt x="603352" y="607852"/>
                    </a:cubicBezTo>
                    <a:lnTo>
                      <a:pt x="613764" y="619586"/>
                    </a:lnTo>
                    <a:lnTo>
                      <a:pt x="626655" y="607356"/>
                    </a:lnTo>
                    <a:cubicBezTo>
                      <a:pt x="706646" y="531332"/>
                      <a:pt x="821178" y="501253"/>
                      <a:pt x="931083" y="527200"/>
                    </a:cubicBezTo>
                    <a:cubicBezTo>
                      <a:pt x="1095196" y="566039"/>
                      <a:pt x="1213199" y="720732"/>
                      <a:pt x="1206092" y="887655"/>
                    </a:cubicBezTo>
                    <a:cubicBezTo>
                      <a:pt x="1205266" y="906330"/>
                      <a:pt x="1204109" y="911123"/>
                      <a:pt x="1197663" y="919882"/>
                    </a:cubicBezTo>
                    <a:cubicBezTo>
                      <a:pt x="1196341" y="921535"/>
                      <a:pt x="1193532" y="924014"/>
                      <a:pt x="1191383" y="925336"/>
                    </a:cubicBezTo>
                    <a:lnTo>
                      <a:pt x="1191383" y="92533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04A8C5B0-B429-91A9-6D1C-422E6A1888B5}"/>
                  </a:ext>
                </a:extLst>
              </p:cNvPr>
              <p:cNvSpPr/>
              <p:nvPr/>
            </p:nvSpPr>
            <p:spPr>
              <a:xfrm>
                <a:off x="9263243" y="4301106"/>
                <a:ext cx="876635" cy="818369"/>
              </a:xfrm>
              <a:custGeom>
                <a:avLst/>
                <a:gdLst>
                  <a:gd name="connsiteX0" fmla="*/ 860109 w 876635"/>
                  <a:gd name="connsiteY0" fmla="*/ 816416 h 818369"/>
                  <a:gd name="connsiteX1" fmla="*/ 836971 w 876635"/>
                  <a:gd name="connsiteY1" fmla="*/ 815425 h 818369"/>
                  <a:gd name="connsiteX2" fmla="*/ 820444 w 876635"/>
                  <a:gd name="connsiteY2" fmla="*/ 779231 h 818369"/>
                  <a:gd name="connsiteX3" fmla="*/ 793505 w 876635"/>
                  <a:gd name="connsiteY3" fmla="*/ 705024 h 818369"/>
                  <a:gd name="connsiteX4" fmla="*/ 747890 w 876635"/>
                  <a:gd name="connsiteY4" fmla="*/ 655774 h 818369"/>
                  <a:gd name="connsiteX5" fmla="*/ 546591 w 876635"/>
                  <a:gd name="connsiteY5" fmla="*/ 654451 h 818369"/>
                  <a:gd name="connsiteX6" fmla="*/ 510397 w 876635"/>
                  <a:gd name="connsiteY6" fmla="*/ 684035 h 818369"/>
                  <a:gd name="connsiteX7" fmla="*/ 478169 w 876635"/>
                  <a:gd name="connsiteY7" fmla="*/ 719568 h 818369"/>
                  <a:gd name="connsiteX8" fmla="*/ 461146 w 876635"/>
                  <a:gd name="connsiteY8" fmla="*/ 737086 h 818369"/>
                  <a:gd name="connsiteX9" fmla="*/ 434868 w 876635"/>
                  <a:gd name="connsiteY9" fmla="*/ 735764 h 818369"/>
                  <a:gd name="connsiteX10" fmla="*/ 421647 w 876635"/>
                  <a:gd name="connsiteY10" fmla="*/ 712296 h 818369"/>
                  <a:gd name="connsiteX11" fmla="*/ 411070 w 876635"/>
                  <a:gd name="connsiteY11" fmla="*/ 692133 h 818369"/>
                  <a:gd name="connsiteX12" fmla="*/ 377354 w 876635"/>
                  <a:gd name="connsiteY12" fmla="*/ 683209 h 818369"/>
                  <a:gd name="connsiteX13" fmla="*/ 340003 w 876635"/>
                  <a:gd name="connsiteY13" fmla="*/ 664533 h 818369"/>
                  <a:gd name="connsiteX14" fmla="*/ 342152 w 876635"/>
                  <a:gd name="connsiteY14" fmla="*/ 641395 h 818369"/>
                  <a:gd name="connsiteX15" fmla="*/ 348101 w 876635"/>
                  <a:gd name="connsiteY15" fmla="*/ 627347 h 818369"/>
                  <a:gd name="connsiteX16" fmla="*/ 278357 w 876635"/>
                  <a:gd name="connsiteY16" fmla="*/ 523557 h 818369"/>
                  <a:gd name="connsiteX17" fmla="*/ 218199 w 876635"/>
                  <a:gd name="connsiteY17" fmla="*/ 543720 h 818369"/>
                  <a:gd name="connsiteX18" fmla="*/ 202829 w 876635"/>
                  <a:gd name="connsiteY18" fmla="*/ 552976 h 818369"/>
                  <a:gd name="connsiteX19" fmla="*/ 165147 w 876635"/>
                  <a:gd name="connsiteY19" fmla="*/ 541406 h 818369"/>
                  <a:gd name="connsiteX20" fmla="*/ 129118 w 876635"/>
                  <a:gd name="connsiteY20" fmla="*/ 471828 h 818369"/>
                  <a:gd name="connsiteX21" fmla="*/ 3183 w 876635"/>
                  <a:gd name="connsiteY21" fmla="*/ 65098 h 818369"/>
                  <a:gd name="connsiteX22" fmla="*/ 3513 w 876635"/>
                  <a:gd name="connsiteY22" fmla="*/ 12707 h 818369"/>
                  <a:gd name="connsiteX23" fmla="*/ 43343 w 876635"/>
                  <a:gd name="connsiteY23" fmla="*/ 6923 h 818369"/>
                  <a:gd name="connsiteX24" fmla="*/ 55408 w 876635"/>
                  <a:gd name="connsiteY24" fmla="*/ 42456 h 818369"/>
                  <a:gd name="connsiteX25" fmla="*/ 158041 w 876635"/>
                  <a:gd name="connsiteY25" fmla="*/ 402249 h 818369"/>
                  <a:gd name="connsiteX26" fmla="*/ 197540 w 876635"/>
                  <a:gd name="connsiteY26" fmla="*/ 488355 h 818369"/>
                  <a:gd name="connsiteX27" fmla="*/ 208448 w 876635"/>
                  <a:gd name="connsiteY27" fmla="*/ 484223 h 818369"/>
                  <a:gd name="connsiteX28" fmla="*/ 342152 w 876635"/>
                  <a:gd name="connsiteY28" fmla="*/ 487363 h 818369"/>
                  <a:gd name="connsiteX29" fmla="*/ 401484 w 876635"/>
                  <a:gd name="connsiteY29" fmla="*/ 562892 h 818369"/>
                  <a:gd name="connsiteX30" fmla="*/ 406938 w 876635"/>
                  <a:gd name="connsiteY30" fmla="*/ 615117 h 818369"/>
                  <a:gd name="connsiteX31" fmla="*/ 405450 w 876635"/>
                  <a:gd name="connsiteY31" fmla="*/ 627182 h 818369"/>
                  <a:gd name="connsiteX32" fmla="*/ 417515 w 876635"/>
                  <a:gd name="connsiteY32" fmla="*/ 631644 h 818369"/>
                  <a:gd name="connsiteX33" fmla="*/ 452057 w 876635"/>
                  <a:gd name="connsiteY33" fmla="*/ 653295 h 818369"/>
                  <a:gd name="connsiteX34" fmla="*/ 456684 w 876635"/>
                  <a:gd name="connsiteY34" fmla="*/ 658253 h 818369"/>
                  <a:gd name="connsiteX35" fmla="*/ 466931 w 876635"/>
                  <a:gd name="connsiteY35" fmla="*/ 647841 h 818369"/>
                  <a:gd name="connsiteX36" fmla="*/ 544773 w 876635"/>
                  <a:gd name="connsiteY36" fmla="*/ 593467 h 818369"/>
                  <a:gd name="connsiteX37" fmla="*/ 777969 w 876635"/>
                  <a:gd name="connsiteY37" fmla="*/ 609829 h 818369"/>
                  <a:gd name="connsiteX38" fmla="*/ 839119 w 876635"/>
                  <a:gd name="connsiteY38" fmla="*/ 674284 h 818369"/>
                  <a:gd name="connsiteX39" fmla="*/ 876636 w 876635"/>
                  <a:gd name="connsiteY39" fmla="*/ 788155 h 818369"/>
                  <a:gd name="connsiteX40" fmla="*/ 859943 w 876635"/>
                  <a:gd name="connsiteY40" fmla="*/ 816747 h 818369"/>
                  <a:gd name="connsiteX41" fmla="*/ 859943 w 876635"/>
                  <a:gd name="connsiteY41" fmla="*/ 816747 h 8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876635" h="818369">
                    <a:moveTo>
                      <a:pt x="860109" y="816416"/>
                    </a:moveTo>
                    <a:cubicBezTo>
                      <a:pt x="854324" y="819391"/>
                      <a:pt x="842755" y="818895"/>
                      <a:pt x="836971" y="815425"/>
                    </a:cubicBezTo>
                    <a:cubicBezTo>
                      <a:pt x="828212" y="810136"/>
                      <a:pt x="824080" y="801046"/>
                      <a:pt x="820444" y="779231"/>
                    </a:cubicBezTo>
                    <a:cubicBezTo>
                      <a:pt x="815816" y="750969"/>
                      <a:pt x="807057" y="726840"/>
                      <a:pt x="793505" y="705024"/>
                    </a:cubicBezTo>
                    <a:cubicBezTo>
                      <a:pt x="785076" y="691472"/>
                      <a:pt x="759459" y="663707"/>
                      <a:pt x="747890" y="655774"/>
                    </a:cubicBezTo>
                    <a:cubicBezTo>
                      <a:pt x="687567" y="614622"/>
                      <a:pt x="613856" y="614126"/>
                      <a:pt x="546591" y="654451"/>
                    </a:cubicBezTo>
                    <a:cubicBezTo>
                      <a:pt x="534526" y="661723"/>
                      <a:pt x="529899" y="665525"/>
                      <a:pt x="510397" y="684035"/>
                    </a:cubicBezTo>
                    <a:cubicBezTo>
                      <a:pt x="491226" y="702215"/>
                      <a:pt x="486598" y="707338"/>
                      <a:pt x="478169" y="719568"/>
                    </a:cubicBezTo>
                    <a:cubicBezTo>
                      <a:pt x="468749" y="733120"/>
                      <a:pt x="467922" y="733947"/>
                      <a:pt x="461146" y="737086"/>
                    </a:cubicBezTo>
                    <a:cubicBezTo>
                      <a:pt x="452718" y="741053"/>
                      <a:pt x="442636" y="740557"/>
                      <a:pt x="434868" y="735764"/>
                    </a:cubicBezTo>
                    <a:cubicBezTo>
                      <a:pt x="427597" y="731302"/>
                      <a:pt x="424787" y="726344"/>
                      <a:pt x="421647" y="712296"/>
                    </a:cubicBezTo>
                    <a:cubicBezTo>
                      <a:pt x="419168" y="701058"/>
                      <a:pt x="418507" y="699901"/>
                      <a:pt x="411070" y="692133"/>
                    </a:cubicBezTo>
                    <a:cubicBezTo>
                      <a:pt x="400823" y="681225"/>
                      <a:pt x="393881" y="679573"/>
                      <a:pt x="377354" y="683209"/>
                    </a:cubicBezTo>
                    <a:cubicBezTo>
                      <a:pt x="358183" y="687505"/>
                      <a:pt x="344796" y="680895"/>
                      <a:pt x="340003" y="664533"/>
                    </a:cubicBezTo>
                    <a:cubicBezTo>
                      <a:pt x="338020" y="657922"/>
                      <a:pt x="339342" y="644040"/>
                      <a:pt x="342152" y="641395"/>
                    </a:cubicBezTo>
                    <a:cubicBezTo>
                      <a:pt x="342813" y="640734"/>
                      <a:pt x="345622" y="634454"/>
                      <a:pt x="348101" y="627347"/>
                    </a:cubicBezTo>
                    <a:cubicBezTo>
                      <a:pt x="365620" y="578592"/>
                      <a:pt x="330748" y="526532"/>
                      <a:pt x="278357" y="523557"/>
                    </a:cubicBezTo>
                    <a:cubicBezTo>
                      <a:pt x="255715" y="522235"/>
                      <a:pt x="237370" y="528350"/>
                      <a:pt x="218199" y="543720"/>
                    </a:cubicBezTo>
                    <a:cubicBezTo>
                      <a:pt x="212745" y="548018"/>
                      <a:pt x="206300" y="551984"/>
                      <a:pt x="202829" y="552976"/>
                    </a:cubicBezTo>
                    <a:cubicBezTo>
                      <a:pt x="190930" y="556446"/>
                      <a:pt x="174898" y="551653"/>
                      <a:pt x="165147" y="541406"/>
                    </a:cubicBezTo>
                    <a:cubicBezTo>
                      <a:pt x="159693" y="535787"/>
                      <a:pt x="149447" y="515624"/>
                      <a:pt x="129118" y="471828"/>
                    </a:cubicBezTo>
                    <a:cubicBezTo>
                      <a:pt x="67803" y="339281"/>
                      <a:pt x="20371" y="185910"/>
                      <a:pt x="3183" y="65098"/>
                    </a:cubicBezTo>
                    <a:cubicBezTo>
                      <a:pt x="-1114" y="34357"/>
                      <a:pt x="-1114" y="20475"/>
                      <a:pt x="3513" y="12707"/>
                    </a:cubicBezTo>
                    <a:cubicBezTo>
                      <a:pt x="12272" y="-1506"/>
                      <a:pt x="30948" y="-4316"/>
                      <a:pt x="43343" y="6923"/>
                    </a:cubicBezTo>
                    <a:cubicBezTo>
                      <a:pt x="50946" y="13699"/>
                      <a:pt x="52598" y="18822"/>
                      <a:pt x="55408" y="42456"/>
                    </a:cubicBezTo>
                    <a:cubicBezTo>
                      <a:pt x="67638" y="143766"/>
                      <a:pt x="105320" y="275817"/>
                      <a:pt x="158041" y="402249"/>
                    </a:cubicBezTo>
                    <a:cubicBezTo>
                      <a:pt x="167792" y="425387"/>
                      <a:pt x="195722" y="486372"/>
                      <a:pt x="197540" y="488355"/>
                    </a:cubicBezTo>
                    <a:cubicBezTo>
                      <a:pt x="198201" y="489016"/>
                      <a:pt x="202994" y="487198"/>
                      <a:pt x="208448" y="484223"/>
                    </a:cubicBezTo>
                    <a:cubicBezTo>
                      <a:pt x="247783" y="462407"/>
                      <a:pt x="302487" y="463730"/>
                      <a:pt x="342152" y="487363"/>
                    </a:cubicBezTo>
                    <a:cubicBezTo>
                      <a:pt x="371735" y="505212"/>
                      <a:pt x="391402" y="530003"/>
                      <a:pt x="401484" y="562892"/>
                    </a:cubicBezTo>
                    <a:cubicBezTo>
                      <a:pt x="407268" y="581732"/>
                      <a:pt x="409086" y="598590"/>
                      <a:pt x="406938" y="615117"/>
                    </a:cubicBezTo>
                    <a:lnTo>
                      <a:pt x="405450" y="627182"/>
                    </a:lnTo>
                    <a:lnTo>
                      <a:pt x="417515" y="631644"/>
                    </a:lnTo>
                    <a:cubicBezTo>
                      <a:pt x="430241" y="636272"/>
                      <a:pt x="444124" y="645031"/>
                      <a:pt x="452057" y="653295"/>
                    </a:cubicBezTo>
                    <a:lnTo>
                      <a:pt x="456684" y="658253"/>
                    </a:lnTo>
                    <a:lnTo>
                      <a:pt x="466931" y="647841"/>
                    </a:lnTo>
                    <a:cubicBezTo>
                      <a:pt x="486433" y="628008"/>
                      <a:pt x="517338" y="606358"/>
                      <a:pt x="544773" y="593467"/>
                    </a:cubicBezTo>
                    <a:cubicBezTo>
                      <a:pt x="622946" y="556942"/>
                      <a:pt x="708721" y="562892"/>
                      <a:pt x="777969" y="609829"/>
                    </a:cubicBezTo>
                    <a:cubicBezTo>
                      <a:pt x="793505" y="620241"/>
                      <a:pt x="829369" y="658087"/>
                      <a:pt x="839119" y="674284"/>
                    </a:cubicBezTo>
                    <a:cubicBezTo>
                      <a:pt x="859778" y="708164"/>
                      <a:pt x="876305" y="758572"/>
                      <a:pt x="876636" y="788155"/>
                    </a:cubicBezTo>
                    <a:cubicBezTo>
                      <a:pt x="876636" y="800715"/>
                      <a:pt x="870521" y="811293"/>
                      <a:pt x="859943" y="816747"/>
                    </a:cubicBezTo>
                    <a:lnTo>
                      <a:pt x="859943" y="816747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507250-47C1-45BC-117A-50B120BCE697}"/>
                  </a:ext>
                </a:extLst>
              </p:cNvPr>
              <p:cNvSpPr/>
              <p:nvPr/>
            </p:nvSpPr>
            <p:spPr>
              <a:xfrm>
                <a:off x="8094383" y="4297816"/>
                <a:ext cx="893895" cy="798957"/>
              </a:xfrm>
              <a:custGeom>
                <a:avLst/>
                <a:gdLst>
                  <a:gd name="connsiteX0" fmla="*/ 708790 w 893895"/>
                  <a:gd name="connsiteY0" fmla="*/ 544201 h 798957"/>
                  <a:gd name="connsiteX1" fmla="*/ 678050 w 893895"/>
                  <a:gd name="connsiteY1" fmla="*/ 548003 h 798957"/>
                  <a:gd name="connsiteX2" fmla="*/ 661853 w 893895"/>
                  <a:gd name="connsiteY2" fmla="*/ 537260 h 798957"/>
                  <a:gd name="connsiteX3" fmla="*/ 607480 w 893895"/>
                  <a:gd name="connsiteY3" fmla="*/ 517097 h 798957"/>
                  <a:gd name="connsiteX4" fmla="*/ 549139 w 893895"/>
                  <a:gd name="connsiteY4" fmla="*/ 542383 h 798957"/>
                  <a:gd name="connsiteX5" fmla="*/ 534595 w 893895"/>
                  <a:gd name="connsiteY5" fmla="*/ 626671 h 798957"/>
                  <a:gd name="connsiteX6" fmla="*/ 529802 w 893895"/>
                  <a:gd name="connsiteY6" fmla="*/ 669972 h 798957"/>
                  <a:gd name="connsiteX7" fmla="*/ 499558 w 893895"/>
                  <a:gd name="connsiteY7" fmla="*/ 674104 h 798957"/>
                  <a:gd name="connsiteX8" fmla="*/ 467826 w 893895"/>
                  <a:gd name="connsiteY8" fmla="*/ 681376 h 798957"/>
                  <a:gd name="connsiteX9" fmla="*/ 458406 w 893895"/>
                  <a:gd name="connsiteY9" fmla="*/ 696415 h 798957"/>
                  <a:gd name="connsiteX10" fmla="*/ 445184 w 893895"/>
                  <a:gd name="connsiteY10" fmla="*/ 723189 h 798957"/>
                  <a:gd name="connsiteX11" fmla="*/ 416758 w 893895"/>
                  <a:gd name="connsiteY11" fmla="*/ 726494 h 798957"/>
                  <a:gd name="connsiteX12" fmla="*/ 400231 w 893895"/>
                  <a:gd name="connsiteY12" fmla="*/ 709141 h 798957"/>
                  <a:gd name="connsiteX13" fmla="*/ 339246 w 893895"/>
                  <a:gd name="connsiteY13" fmla="*/ 646008 h 798957"/>
                  <a:gd name="connsiteX14" fmla="*/ 231986 w 893895"/>
                  <a:gd name="connsiteY14" fmla="*/ 609814 h 798957"/>
                  <a:gd name="connsiteX15" fmla="*/ 74979 w 893895"/>
                  <a:gd name="connsiteY15" fmla="*/ 703357 h 798957"/>
                  <a:gd name="connsiteX16" fmla="*/ 56138 w 893895"/>
                  <a:gd name="connsiteY16" fmla="*/ 759879 h 798957"/>
                  <a:gd name="connsiteX17" fmla="*/ 43247 w 893895"/>
                  <a:gd name="connsiteY17" fmla="*/ 792272 h 798957"/>
                  <a:gd name="connsiteX18" fmla="*/ 1103 w 893895"/>
                  <a:gd name="connsiteY18" fmla="*/ 778224 h 798957"/>
                  <a:gd name="connsiteX19" fmla="*/ 27546 w 893895"/>
                  <a:gd name="connsiteY19" fmla="*/ 675757 h 798957"/>
                  <a:gd name="connsiteX20" fmla="*/ 73161 w 893895"/>
                  <a:gd name="connsiteY20" fmla="*/ 617085 h 798957"/>
                  <a:gd name="connsiteX21" fmla="*/ 108363 w 893895"/>
                  <a:gd name="connsiteY21" fmla="*/ 588163 h 798957"/>
                  <a:gd name="connsiteX22" fmla="*/ 248182 w 893895"/>
                  <a:gd name="connsiteY22" fmla="*/ 555605 h 798957"/>
                  <a:gd name="connsiteX23" fmla="*/ 371308 w 893895"/>
                  <a:gd name="connsiteY23" fmla="*/ 601881 h 798957"/>
                  <a:gd name="connsiteX24" fmla="*/ 418080 w 893895"/>
                  <a:gd name="connsiteY24" fmla="*/ 642537 h 798957"/>
                  <a:gd name="connsiteX25" fmla="*/ 422377 w 893895"/>
                  <a:gd name="connsiteY25" fmla="*/ 647826 h 798957"/>
                  <a:gd name="connsiteX26" fmla="*/ 428492 w 893895"/>
                  <a:gd name="connsiteY26" fmla="*/ 642041 h 798957"/>
                  <a:gd name="connsiteX27" fmla="*/ 462207 w 893895"/>
                  <a:gd name="connsiteY27" fmla="*/ 622044 h 798957"/>
                  <a:gd name="connsiteX28" fmla="*/ 474602 w 893895"/>
                  <a:gd name="connsiteY28" fmla="*/ 617912 h 798957"/>
                  <a:gd name="connsiteX29" fmla="*/ 473776 w 893895"/>
                  <a:gd name="connsiteY29" fmla="*/ 612623 h 798957"/>
                  <a:gd name="connsiteX30" fmla="*/ 477908 w 893895"/>
                  <a:gd name="connsiteY30" fmla="*/ 559406 h 798957"/>
                  <a:gd name="connsiteX31" fmla="*/ 525010 w 893895"/>
                  <a:gd name="connsiteY31" fmla="*/ 489993 h 798957"/>
                  <a:gd name="connsiteX32" fmla="*/ 655573 w 893895"/>
                  <a:gd name="connsiteY32" fmla="*/ 470987 h 798957"/>
                  <a:gd name="connsiteX33" fmla="*/ 677389 w 893895"/>
                  <a:gd name="connsiteY33" fmla="*/ 480737 h 798957"/>
                  <a:gd name="connsiteX34" fmla="*/ 684991 w 893895"/>
                  <a:gd name="connsiteY34" fmla="*/ 485200 h 798957"/>
                  <a:gd name="connsiteX35" fmla="*/ 693751 w 893895"/>
                  <a:gd name="connsiteY35" fmla="*/ 467846 h 798957"/>
                  <a:gd name="connsiteX36" fmla="*/ 772584 w 893895"/>
                  <a:gd name="connsiteY36" fmla="*/ 284397 h 798957"/>
                  <a:gd name="connsiteX37" fmla="*/ 837536 w 893895"/>
                  <a:gd name="connsiteY37" fmla="*/ 41615 h 798957"/>
                  <a:gd name="connsiteX38" fmla="*/ 842824 w 893895"/>
                  <a:gd name="connsiteY38" fmla="*/ 16163 h 798957"/>
                  <a:gd name="connsiteX39" fmla="*/ 892571 w 893895"/>
                  <a:gd name="connsiteY39" fmla="*/ 19138 h 798957"/>
                  <a:gd name="connsiteX40" fmla="*/ 888604 w 893895"/>
                  <a:gd name="connsiteY40" fmla="*/ 70537 h 798957"/>
                  <a:gd name="connsiteX41" fmla="*/ 735234 w 893895"/>
                  <a:gd name="connsiteY41" fmla="*/ 507181 h 798957"/>
                  <a:gd name="connsiteX42" fmla="*/ 708790 w 893895"/>
                  <a:gd name="connsiteY42" fmla="*/ 544201 h 798957"/>
                  <a:gd name="connsiteX43" fmla="*/ 708790 w 893895"/>
                  <a:gd name="connsiteY43" fmla="*/ 544201 h 79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893895" h="798957">
                    <a:moveTo>
                      <a:pt x="708790" y="544201"/>
                    </a:moveTo>
                    <a:cubicBezTo>
                      <a:pt x="697552" y="550316"/>
                      <a:pt x="687636" y="551473"/>
                      <a:pt x="678050" y="548003"/>
                    </a:cubicBezTo>
                    <a:cubicBezTo>
                      <a:pt x="674414" y="546680"/>
                      <a:pt x="667638" y="542218"/>
                      <a:pt x="661853" y="537260"/>
                    </a:cubicBezTo>
                    <a:cubicBezTo>
                      <a:pt x="645161" y="522882"/>
                      <a:pt x="629626" y="517097"/>
                      <a:pt x="607480" y="517097"/>
                    </a:cubicBezTo>
                    <a:cubicBezTo>
                      <a:pt x="584838" y="517097"/>
                      <a:pt x="564840" y="525691"/>
                      <a:pt x="549139" y="542383"/>
                    </a:cubicBezTo>
                    <a:cubicBezTo>
                      <a:pt x="527158" y="565687"/>
                      <a:pt x="522035" y="596096"/>
                      <a:pt x="534595" y="626671"/>
                    </a:cubicBezTo>
                    <a:cubicBezTo>
                      <a:pt x="543685" y="648322"/>
                      <a:pt x="542363" y="659560"/>
                      <a:pt x="529802" y="669972"/>
                    </a:cubicBezTo>
                    <a:cubicBezTo>
                      <a:pt x="521374" y="676913"/>
                      <a:pt x="513771" y="677905"/>
                      <a:pt x="499558" y="674104"/>
                    </a:cubicBezTo>
                    <a:cubicBezTo>
                      <a:pt x="485841" y="670302"/>
                      <a:pt x="477412" y="672286"/>
                      <a:pt x="467826" y="681376"/>
                    </a:cubicBezTo>
                    <a:cubicBezTo>
                      <a:pt x="462042" y="686829"/>
                      <a:pt x="460389" y="689639"/>
                      <a:pt x="458406" y="696415"/>
                    </a:cubicBezTo>
                    <a:cubicBezTo>
                      <a:pt x="452291" y="717239"/>
                      <a:pt x="452291" y="717405"/>
                      <a:pt x="445184" y="723189"/>
                    </a:cubicBezTo>
                    <a:cubicBezTo>
                      <a:pt x="436425" y="730296"/>
                      <a:pt x="427004" y="731453"/>
                      <a:pt x="416758" y="726494"/>
                    </a:cubicBezTo>
                    <a:cubicBezTo>
                      <a:pt x="409816" y="723189"/>
                      <a:pt x="409320" y="722693"/>
                      <a:pt x="400231" y="709141"/>
                    </a:cubicBezTo>
                    <a:cubicBezTo>
                      <a:pt x="386513" y="688648"/>
                      <a:pt x="356930" y="658238"/>
                      <a:pt x="339246" y="646008"/>
                    </a:cubicBezTo>
                    <a:cubicBezTo>
                      <a:pt x="304705" y="622374"/>
                      <a:pt x="270328" y="610805"/>
                      <a:pt x="231986" y="609814"/>
                    </a:cubicBezTo>
                    <a:cubicBezTo>
                      <a:pt x="164555" y="608161"/>
                      <a:pt x="106876" y="642372"/>
                      <a:pt x="74979" y="703357"/>
                    </a:cubicBezTo>
                    <a:cubicBezTo>
                      <a:pt x="67707" y="717239"/>
                      <a:pt x="58617" y="744344"/>
                      <a:pt x="56138" y="759879"/>
                    </a:cubicBezTo>
                    <a:cubicBezTo>
                      <a:pt x="53328" y="777067"/>
                      <a:pt x="49858" y="785826"/>
                      <a:pt x="43247" y="792272"/>
                    </a:cubicBezTo>
                    <a:cubicBezTo>
                      <a:pt x="29695" y="805493"/>
                      <a:pt x="7383" y="798221"/>
                      <a:pt x="1103" y="778224"/>
                    </a:cubicBezTo>
                    <a:cubicBezTo>
                      <a:pt x="-4020" y="762028"/>
                      <a:pt x="9367" y="709967"/>
                      <a:pt x="27546" y="675757"/>
                    </a:cubicBezTo>
                    <a:cubicBezTo>
                      <a:pt x="41264" y="649974"/>
                      <a:pt x="49031" y="639893"/>
                      <a:pt x="73161" y="617085"/>
                    </a:cubicBezTo>
                    <a:cubicBezTo>
                      <a:pt x="91671" y="599401"/>
                      <a:pt x="96960" y="595105"/>
                      <a:pt x="108363" y="588163"/>
                    </a:cubicBezTo>
                    <a:cubicBezTo>
                      <a:pt x="150838" y="562381"/>
                      <a:pt x="200584" y="550812"/>
                      <a:pt x="248182" y="555605"/>
                    </a:cubicBezTo>
                    <a:cubicBezTo>
                      <a:pt x="290822" y="559902"/>
                      <a:pt x="335445" y="576595"/>
                      <a:pt x="371308" y="601881"/>
                    </a:cubicBezTo>
                    <a:cubicBezTo>
                      <a:pt x="385687" y="611962"/>
                      <a:pt x="411634" y="634604"/>
                      <a:pt x="418080" y="642537"/>
                    </a:cubicBezTo>
                    <a:lnTo>
                      <a:pt x="422377" y="647826"/>
                    </a:lnTo>
                    <a:lnTo>
                      <a:pt x="428492" y="642041"/>
                    </a:lnTo>
                    <a:cubicBezTo>
                      <a:pt x="438078" y="632951"/>
                      <a:pt x="448820" y="626671"/>
                      <a:pt x="462207" y="622044"/>
                    </a:cubicBezTo>
                    <a:lnTo>
                      <a:pt x="474602" y="617912"/>
                    </a:lnTo>
                    <a:lnTo>
                      <a:pt x="473776" y="612623"/>
                    </a:lnTo>
                    <a:cubicBezTo>
                      <a:pt x="471958" y="601385"/>
                      <a:pt x="474272" y="572463"/>
                      <a:pt x="477908" y="559406"/>
                    </a:cubicBezTo>
                    <a:cubicBezTo>
                      <a:pt x="485675" y="532137"/>
                      <a:pt x="503194" y="506189"/>
                      <a:pt x="525010" y="489993"/>
                    </a:cubicBezTo>
                    <a:cubicBezTo>
                      <a:pt x="563518" y="461566"/>
                      <a:pt x="611611" y="454460"/>
                      <a:pt x="655573" y="470987"/>
                    </a:cubicBezTo>
                    <a:cubicBezTo>
                      <a:pt x="663341" y="473961"/>
                      <a:pt x="673092" y="478259"/>
                      <a:pt x="677389" y="480737"/>
                    </a:cubicBezTo>
                    <a:lnTo>
                      <a:pt x="684991" y="485200"/>
                    </a:lnTo>
                    <a:lnTo>
                      <a:pt x="693751" y="467846"/>
                    </a:lnTo>
                    <a:cubicBezTo>
                      <a:pt x="722673" y="410663"/>
                      <a:pt x="748455" y="351000"/>
                      <a:pt x="772584" y="284397"/>
                    </a:cubicBezTo>
                    <a:cubicBezTo>
                      <a:pt x="805969" y="192341"/>
                      <a:pt x="826628" y="115160"/>
                      <a:pt x="837536" y="41615"/>
                    </a:cubicBezTo>
                    <a:cubicBezTo>
                      <a:pt x="839188" y="30541"/>
                      <a:pt x="841667" y="18972"/>
                      <a:pt x="842824" y="16163"/>
                    </a:cubicBezTo>
                    <a:cubicBezTo>
                      <a:pt x="852906" y="-6810"/>
                      <a:pt x="884803" y="-4826"/>
                      <a:pt x="892571" y="19138"/>
                    </a:cubicBezTo>
                    <a:cubicBezTo>
                      <a:pt x="895050" y="26740"/>
                      <a:pt x="894223" y="36161"/>
                      <a:pt x="888604" y="70537"/>
                    </a:cubicBezTo>
                    <a:cubicBezTo>
                      <a:pt x="867119" y="198786"/>
                      <a:pt x="807457" y="368684"/>
                      <a:pt x="735234" y="507181"/>
                    </a:cubicBezTo>
                    <a:cubicBezTo>
                      <a:pt x="723003" y="530649"/>
                      <a:pt x="716227" y="540235"/>
                      <a:pt x="708790" y="544201"/>
                    </a:cubicBezTo>
                    <a:lnTo>
                      <a:pt x="708790" y="54420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A63CB8CE-5069-2B48-F56C-2256C4A5C0D1}"/>
                  </a:ext>
                </a:extLst>
              </p:cNvPr>
              <p:cNvSpPr/>
              <p:nvPr/>
            </p:nvSpPr>
            <p:spPr>
              <a:xfrm>
                <a:off x="8262097" y="467263"/>
                <a:ext cx="1759274" cy="3892558"/>
              </a:xfrm>
              <a:custGeom>
                <a:avLst/>
                <a:gdLst>
                  <a:gd name="connsiteX0" fmla="*/ 1757135 w 1759274"/>
                  <a:gd name="connsiteY0" fmla="*/ 2427871 h 3892558"/>
                  <a:gd name="connsiteX1" fmla="*/ 1702430 w 1759274"/>
                  <a:gd name="connsiteY1" fmla="*/ 2290861 h 3892558"/>
                  <a:gd name="connsiteX2" fmla="*/ 1533854 w 1759274"/>
                  <a:gd name="connsiteY2" fmla="*/ 2059648 h 3892558"/>
                  <a:gd name="connsiteX3" fmla="*/ 1429239 w 1759274"/>
                  <a:gd name="connsiteY3" fmla="*/ 1952884 h 3892558"/>
                  <a:gd name="connsiteX4" fmla="*/ 1402795 w 1759274"/>
                  <a:gd name="connsiteY4" fmla="*/ 1921978 h 3892558"/>
                  <a:gd name="connsiteX5" fmla="*/ 1406596 w 1759274"/>
                  <a:gd name="connsiteY5" fmla="*/ 1872397 h 3892558"/>
                  <a:gd name="connsiteX6" fmla="*/ 1437998 w 1759274"/>
                  <a:gd name="connsiteY6" fmla="*/ 1357250 h 3892558"/>
                  <a:gd name="connsiteX7" fmla="*/ 1053083 w 1759274"/>
                  <a:gd name="connsiteY7" fmla="*/ 106485 h 3892558"/>
                  <a:gd name="connsiteX8" fmla="*/ 952599 w 1759274"/>
                  <a:gd name="connsiteY8" fmla="*/ 10793 h 3892558"/>
                  <a:gd name="connsiteX9" fmla="*/ 847653 w 1759274"/>
                  <a:gd name="connsiteY9" fmla="*/ 17073 h 3892558"/>
                  <a:gd name="connsiteX10" fmla="*/ 769976 w 1759274"/>
                  <a:gd name="connsiteY10" fmla="*/ 90619 h 3892558"/>
                  <a:gd name="connsiteX11" fmla="*/ 535127 w 1759274"/>
                  <a:gd name="connsiteY11" fmla="*/ 492225 h 3892558"/>
                  <a:gd name="connsiteX12" fmla="*/ 343248 w 1759274"/>
                  <a:gd name="connsiteY12" fmla="*/ 1422036 h 3892558"/>
                  <a:gd name="connsiteX13" fmla="*/ 343909 w 1759274"/>
                  <a:gd name="connsiteY13" fmla="*/ 1593256 h 3892558"/>
                  <a:gd name="connsiteX14" fmla="*/ 345562 w 1759274"/>
                  <a:gd name="connsiteY14" fmla="*/ 1633416 h 3892558"/>
                  <a:gd name="connsiteX15" fmla="*/ 365394 w 1759274"/>
                  <a:gd name="connsiteY15" fmla="*/ 1859671 h 3892558"/>
                  <a:gd name="connsiteX16" fmla="*/ 367543 w 1759274"/>
                  <a:gd name="connsiteY16" fmla="*/ 1911731 h 3892558"/>
                  <a:gd name="connsiteX17" fmla="*/ 329696 w 1759274"/>
                  <a:gd name="connsiteY17" fmla="*/ 1950074 h 3892558"/>
                  <a:gd name="connsiteX18" fmla="*/ 81294 w 1759274"/>
                  <a:gd name="connsiteY18" fmla="*/ 2238967 h 3892558"/>
                  <a:gd name="connsiteX19" fmla="*/ 6592 w 1759274"/>
                  <a:gd name="connsiteY19" fmla="*/ 2383743 h 3892558"/>
                  <a:gd name="connsiteX20" fmla="*/ 2956 w 1759274"/>
                  <a:gd name="connsiteY20" fmla="*/ 2486376 h 3892558"/>
                  <a:gd name="connsiteX21" fmla="*/ 28904 w 1759274"/>
                  <a:gd name="connsiteY21" fmla="*/ 2615452 h 3892558"/>
                  <a:gd name="connsiteX22" fmla="*/ 189051 w 1759274"/>
                  <a:gd name="connsiteY22" fmla="*/ 3085150 h 3892558"/>
                  <a:gd name="connsiteX23" fmla="*/ 239789 w 1759274"/>
                  <a:gd name="connsiteY23" fmla="*/ 3134401 h 3892558"/>
                  <a:gd name="connsiteX24" fmla="*/ 314821 w 1759274"/>
                  <a:gd name="connsiteY24" fmla="*/ 3117378 h 3892558"/>
                  <a:gd name="connsiteX25" fmla="*/ 335315 w 1759274"/>
                  <a:gd name="connsiteY25" fmla="*/ 3067962 h 3892558"/>
                  <a:gd name="connsiteX26" fmla="*/ 331018 w 1759274"/>
                  <a:gd name="connsiteY26" fmla="*/ 2928639 h 3892558"/>
                  <a:gd name="connsiteX27" fmla="*/ 328043 w 1759274"/>
                  <a:gd name="connsiteY27" fmla="*/ 2853276 h 3892558"/>
                  <a:gd name="connsiteX28" fmla="*/ 324903 w 1759274"/>
                  <a:gd name="connsiteY28" fmla="*/ 2770145 h 3892558"/>
                  <a:gd name="connsiteX29" fmla="*/ 323911 w 1759274"/>
                  <a:gd name="connsiteY29" fmla="*/ 2601735 h 3892558"/>
                  <a:gd name="connsiteX30" fmla="*/ 356635 w 1759274"/>
                  <a:gd name="connsiteY30" fmla="*/ 2508192 h 3892558"/>
                  <a:gd name="connsiteX31" fmla="*/ 414314 w 1759274"/>
                  <a:gd name="connsiteY31" fmla="*/ 2456462 h 3892558"/>
                  <a:gd name="connsiteX32" fmla="*/ 467696 w 1759274"/>
                  <a:gd name="connsiteY32" fmla="*/ 2413988 h 3892558"/>
                  <a:gd name="connsiteX33" fmla="*/ 488520 w 1759274"/>
                  <a:gd name="connsiteY33" fmla="*/ 2398122 h 3892558"/>
                  <a:gd name="connsiteX34" fmla="*/ 493644 w 1759274"/>
                  <a:gd name="connsiteY34" fmla="*/ 2410517 h 3892558"/>
                  <a:gd name="connsiteX35" fmla="*/ 527028 w 1759274"/>
                  <a:gd name="connsiteY35" fmla="*/ 2500094 h 3892558"/>
                  <a:gd name="connsiteX36" fmla="*/ 557438 w 1759274"/>
                  <a:gd name="connsiteY36" fmla="*/ 2550005 h 3892558"/>
                  <a:gd name="connsiteX37" fmla="*/ 567024 w 1759274"/>
                  <a:gd name="connsiteY37" fmla="*/ 2558765 h 3892558"/>
                  <a:gd name="connsiteX38" fmla="*/ 541737 w 1759274"/>
                  <a:gd name="connsiteY38" fmla="*/ 2630161 h 3892558"/>
                  <a:gd name="connsiteX39" fmla="*/ 513311 w 1759274"/>
                  <a:gd name="connsiteY39" fmla="*/ 2736761 h 3892558"/>
                  <a:gd name="connsiteX40" fmla="*/ 553141 w 1759274"/>
                  <a:gd name="connsiteY40" fmla="*/ 2791300 h 3892558"/>
                  <a:gd name="connsiteX41" fmla="*/ 564875 w 1759274"/>
                  <a:gd name="connsiteY41" fmla="*/ 2799729 h 3892558"/>
                  <a:gd name="connsiteX42" fmla="*/ 556612 w 1759274"/>
                  <a:gd name="connsiteY42" fmla="*/ 2815925 h 3892558"/>
                  <a:gd name="connsiteX43" fmla="*/ 512154 w 1759274"/>
                  <a:gd name="connsiteY43" fmla="*/ 2964999 h 3892558"/>
                  <a:gd name="connsiteX44" fmla="*/ 510832 w 1759274"/>
                  <a:gd name="connsiteY44" fmla="*/ 3075895 h 3892558"/>
                  <a:gd name="connsiteX45" fmla="*/ 553967 w 1759274"/>
                  <a:gd name="connsiteY45" fmla="*/ 3258519 h 3892558"/>
                  <a:gd name="connsiteX46" fmla="*/ 658583 w 1759274"/>
                  <a:gd name="connsiteY46" fmla="*/ 3467751 h 3892558"/>
                  <a:gd name="connsiteX47" fmla="*/ 699736 w 1759274"/>
                  <a:gd name="connsiteY47" fmla="*/ 3543940 h 3892558"/>
                  <a:gd name="connsiteX48" fmla="*/ 820383 w 1759274"/>
                  <a:gd name="connsiteY48" fmla="*/ 3840270 h 3892558"/>
                  <a:gd name="connsiteX49" fmla="*/ 845504 w 1759274"/>
                  <a:gd name="connsiteY49" fmla="*/ 3888198 h 3892558"/>
                  <a:gd name="connsiteX50" fmla="*/ 876740 w 1759274"/>
                  <a:gd name="connsiteY50" fmla="*/ 3890182 h 3892558"/>
                  <a:gd name="connsiteX51" fmla="*/ 876740 w 1759274"/>
                  <a:gd name="connsiteY51" fmla="*/ 3890182 h 3892558"/>
                  <a:gd name="connsiteX52" fmla="*/ 906324 w 1759274"/>
                  <a:gd name="connsiteY52" fmla="*/ 3839278 h 3892558"/>
                  <a:gd name="connsiteX53" fmla="*/ 1004329 w 1759274"/>
                  <a:gd name="connsiteY53" fmla="*/ 3603272 h 3892558"/>
                  <a:gd name="connsiteX54" fmla="*/ 1071098 w 1759274"/>
                  <a:gd name="connsiteY54" fmla="*/ 3480973 h 3892558"/>
                  <a:gd name="connsiteX55" fmla="*/ 1204802 w 1759274"/>
                  <a:gd name="connsiteY55" fmla="*/ 3211251 h 3892558"/>
                  <a:gd name="connsiteX56" fmla="*/ 1235707 w 1759274"/>
                  <a:gd name="connsiteY56" fmla="*/ 3013423 h 3892558"/>
                  <a:gd name="connsiteX57" fmla="*/ 1217031 w 1759274"/>
                  <a:gd name="connsiteY57" fmla="*/ 2886330 h 3892558"/>
                  <a:gd name="connsiteX58" fmla="*/ 1193233 w 1759274"/>
                  <a:gd name="connsiteY58" fmla="*/ 2823693 h 3892558"/>
                  <a:gd name="connsiteX59" fmla="*/ 1185795 w 1759274"/>
                  <a:gd name="connsiteY59" fmla="*/ 2807331 h 3892558"/>
                  <a:gd name="connsiteX60" fmla="*/ 1198025 w 1759274"/>
                  <a:gd name="connsiteY60" fmla="*/ 2798241 h 3892558"/>
                  <a:gd name="connsiteX61" fmla="*/ 1228435 w 1759274"/>
                  <a:gd name="connsiteY61" fmla="*/ 2770476 h 3892558"/>
                  <a:gd name="connsiteX62" fmla="*/ 1237029 w 1759274"/>
                  <a:gd name="connsiteY62" fmla="*/ 2718911 h 3892558"/>
                  <a:gd name="connsiteX63" fmla="*/ 1212074 w 1759274"/>
                  <a:gd name="connsiteY63" fmla="*/ 2636772 h 3892558"/>
                  <a:gd name="connsiteX64" fmla="*/ 1189266 w 1759274"/>
                  <a:gd name="connsiteY64" fmla="*/ 2566532 h 3892558"/>
                  <a:gd name="connsiteX65" fmla="*/ 1197034 w 1759274"/>
                  <a:gd name="connsiteY65" fmla="*/ 2559591 h 3892558"/>
                  <a:gd name="connsiteX66" fmla="*/ 1222320 w 1759274"/>
                  <a:gd name="connsiteY66" fmla="*/ 2526206 h 3892558"/>
                  <a:gd name="connsiteX67" fmla="*/ 1260498 w 1759274"/>
                  <a:gd name="connsiteY67" fmla="*/ 2432994 h 3892558"/>
                  <a:gd name="connsiteX68" fmla="*/ 1271240 w 1759274"/>
                  <a:gd name="connsiteY68" fmla="*/ 2407377 h 3892558"/>
                  <a:gd name="connsiteX69" fmla="*/ 1321152 w 1759274"/>
                  <a:gd name="connsiteY69" fmla="*/ 2447868 h 3892558"/>
                  <a:gd name="connsiteX70" fmla="*/ 1430561 w 1759274"/>
                  <a:gd name="connsiteY70" fmla="*/ 2611320 h 3892558"/>
                  <a:gd name="connsiteX71" fmla="*/ 1421801 w 1759274"/>
                  <a:gd name="connsiteY71" fmla="*/ 2850797 h 3892558"/>
                  <a:gd name="connsiteX72" fmla="*/ 1415356 w 1759274"/>
                  <a:gd name="connsiteY72" fmla="*/ 2955744 h 3892558"/>
                  <a:gd name="connsiteX73" fmla="*/ 1409406 w 1759274"/>
                  <a:gd name="connsiteY73" fmla="*/ 3050443 h 3892558"/>
                  <a:gd name="connsiteX74" fmla="*/ 1429569 w 1759274"/>
                  <a:gd name="connsiteY74" fmla="*/ 3131426 h 3892558"/>
                  <a:gd name="connsiteX75" fmla="*/ 1499644 w 1759274"/>
                  <a:gd name="connsiteY75" fmla="*/ 3149936 h 3892558"/>
                  <a:gd name="connsiteX76" fmla="*/ 1555174 w 1759274"/>
                  <a:gd name="connsiteY76" fmla="*/ 3100520 h 3892558"/>
                  <a:gd name="connsiteX77" fmla="*/ 1739285 w 1759274"/>
                  <a:gd name="connsiteY77" fmla="*/ 2580250 h 3892558"/>
                  <a:gd name="connsiteX78" fmla="*/ 1757465 w 1759274"/>
                  <a:gd name="connsiteY78" fmla="*/ 2427871 h 3892558"/>
                  <a:gd name="connsiteX79" fmla="*/ 607515 w 1759274"/>
                  <a:gd name="connsiteY79" fmla="*/ 469418 h 3892558"/>
                  <a:gd name="connsiteX80" fmla="*/ 793940 w 1759274"/>
                  <a:gd name="connsiteY80" fmla="*/ 153091 h 3892558"/>
                  <a:gd name="connsiteX81" fmla="*/ 889962 w 1759274"/>
                  <a:gd name="connsiteY81" fmla="*/ 64341 h 3892558"/>
                  <a:gd name="connsiteX82" fmla="*/ 942352 w 1759274"/>
                  <a:gd name="connsiteY82" fmla="*/ 73761 h 3892558"/>
                  <a:gd name="connsiteX83" fmla="*/ 975241 w 1759274"/>
                  <a:gd name="connsiteY83" fmla="*/ 103510 h 3892558"/>
                  <a:gd name="connsiteX84" fmla="*/ 1041515 w 1759274"/>
                  <a:gd name="connsiteY84" fmla="*/ 189781 h 3892558"/>
                  <a:gd name="connsiteX85" fmla="*/ 1193894 w 1759274"/>
                  <a:gd name="connsiteY85" fmla="*/ 469583 h 3892558"/>
                  <a:gd name="connsiteX86" fmla="*/ 1193894 w 1759274"/>
                  <a:gd name="connsiteY86" fmla="*/ 469583 h 3892558"/>
                  <a:gd name="connsiteX87" fmla="*/ 1204967 w 1759274"/>
                  <a:gd name="connsiteY87" fmla="*/ 497183 h 3892558"/>
                  <a:gd name="connsiteX88" fmla="*/ 1191580 w 1759274"/>
                  <a:gd name="connsiteY88" fmla="*/ 495696 h 3892558"/>
                  <a:gd name="connsiteX89" fmla="*/ 1018211 w 1759274"/>
                  <a:gd name="connsiteY89" fmla="*/ 468096 h 3892558"/>
                  <a:gd name="connsiteX90" fmla="*/ 897234 w 1759274"/>
                  <a:gd name="connsiteY90" fmla="*/ 462146 h 3892558"/>
                  <a:gd name="connsiteX91" fmla="*/ 864180 w 1759274"/>
                  <a:gd name="connsiteY91" fmla="*/ 462807 h 3892558"/>
                  <a:gd name="connsiteX92" fmla="*/ 747829 w 1759274"/>
                  <a:gd name="connsiteY92" fmla="*/ 467931 h 3892558"/>
                  <a:gd name="connsiteX93" fmla="*/ 613961 w 1759274"/>
                  <a:gd name="connsiteY93" fmla="*/ 488589 h 3892558"/>
                  <a:gd name="connsiteX94" fmla="*/ 598921 w 1759274"/>
                  <a:gd name="connsiteY94" fmla="*/ 490242 h 3892558"/>
                  <a:gd name="connsiteX95" fmla="*/ 607680 w 1759274"/>
                  <a:gd name="connsiteY95" fmla="*/ 469749 h 3892558"/>
                  <a:gd name="connsiteX96" fmla="*/ 467366 w 1759274"/>
                  <a:gd name="connsiteY96" fmla="*/ 2340608 h 3892558"/>
                  <a:gd name="connsiteX97" fmla="*/ 418776 w 1759274"/>
                  <a:gd name="connsiteY97" fmla="*/ 2379612 h 3892558"/>
                  <a:gd name="connsiteX98" fmla="*/ 316639 w 1759274"/>
                  <a:gd name="connsiteY98" fmla="*/ 2466874 h 3892558"/>
                  <a:gd name="connsiteX99" fmla="*/ 264910 w 1759274"/>
                  <a:gd name="connsiteY99" fmla="*/ 2575126 h 3892558"/>
                  <a:gd name="connsiteX100" fmla="*/ 263092 w 1759274"/>
                  <a:gd name="connsiteY100" fmla="*/ 2654291 h 3892558"/>
                  <a:gd name="connsiteX101" fmla="*/ 268215 w 1759274"/>
                  <a:gd name="connsiteY101" fmla="*/ 2787829 h 3892558"/>
                  <a:gd name="connsiteX102" fmla="*/ 270364 w 1759274"/>
                  <a:gd name="connsiteY102" fmla="*/ 2844847 h 3892558"/>
                  <a:gd name="connsiteX103" fmla="*/ 274165 w 1759274"/>
                  <a:gd name="connsiteY103" fmla="*/ 2945166 h 3892558"/>
                  <a:gd name="connsiteX104" fmla="*/ 276148 w 1759274"/>
                  <a:gd name="connsiteY104" fmla="*/ 2994086 h 3892558"/>
                  <a:gd name="connsiteX105" fmla="*/ 277801 w 1759274"/>
                  <a:gd name="connsiteY105" fmla="*/ 3066309 h 3892558"/>
                  <a:gd name="connsiteX106" fmla="*/ 277801 w 1759274"/>
                  <a:gd name="connsiteY106" fmla="*/ 3066309 h 3892558"/>
                  <a:gd name="connsiteX107" fmla="*/ 255820 w 1759274"/>
                  <a:gd name="connsiteY107" fmla="*/ 3077052 h 3892558"/>
                  <a:gd name="connsiteX108" fmla="*/ 188059 w 1759274"/>
                  <a:gd name="connsiteY108" fmla="*/ 2947150 h 3892558"/>
                  <a:gd name="connsiteX109" fmla="*/ 70221 w 1759274"/>
                  <a:gd name="connsiteY109" fmla="*/ 2534139 h 3892558"/>
                  <a:gd name="connsiteX110" fmla="*/ 63280 w 1759274"/>
                  <a:gd name="connsiteY110" fmla="*/ 2413327 h 3892558"/>
                  <a:gd name="connsiteX111" fmla="*/ 117323 w 1759274"/>
                  <a:gd name="connsiteY111" fmla="*/ 2288713 h 3892558"/>
                  <a:gd name="connsiteX112" fmla="*/ 288709 w 1759274"/>
                  <a:gd name="connsiteY112" fmla="*/ 2069730 h 3892558"/>
                  <a:gd name="connsiteX113" fmla="*/ 361923 w 1759274"/>
                  <a:gd name="connsiteY113" fmla="*/ 1998664 h 3892558"/>
                  <a:gd name="connsiteX114" fmla="*/ 373162 w 1759274"/>
                  <a:gd name="connsiteY114" fmla="*/ 1995689 h 3892558"/>
                  <a:gd name="connsiteX115" fmla="*/ 392168 w 1759274"/>
                  <a:gd name="connsiteY115" fmla="*/ 2028578 h 3892558"/>
                  <a:gd name="connsiteX116" fmla="*/ 464556 w 1759274"/>
                  <a:gd name="connsiteY116" fmla="*/ 2321271 h 3892558"/>
                  <a:gd name="connsiteX117" fmla="*/ 467531 w 1759274"/>
                  <a:gd name="connsiteY117" fmla="*/ 2340442 h 3892558"/>
                  <a:gd name="connsiteX118" fmla="*/ 1175218 w 1759274"/>
                  <a:gd name="connsiteY118" fmla="*/ 2733620 h 3892558"/>
                  <a:gd name="connsiteX119" fmla="*/ 1116547 w 1759274"/>
                  <a:gd name="connsiteY119" fmla="*/ 2774773 h 3892558"/>
                  <a:gd name="connsiteX120" fmla="*/ 899217 w 1759274"/>
                  <a:gd name="connsiteY120" fmla="*/ 2821875 h 3892558"/>
                  <a:gd name="connsiteX121" fmla="*/ 642222 w 1759274"/>
                  <a:gd name="connsiteY121" fmla="*/ 2772459 h 3892558"/>
                  <a:gd name="connsiteX122" fmla="*/ 578923 w 1759274"/>
                  <a:gd name="connsiteY122" fmla="*/ 2699575 h 3892558"/>
                  <a:gd name="connsiteX123" fmla="*/ 619910 w 1759274"/>
                  <a:gd name="connsiteY123" fmla="*/ 2582729 h 3892558"/>
                  <a:gd name="connsiteX124" fmla="*/ 630818 w 1759274"/>
                  <a:gd name="connsiteY124" fmla="*/ 2586530 h 3892558"/>
                  <a:gd name="connsiteX125" fmla="*/ 798898 w 1759274"/>
                  <a:gd name="connsiteY125" fmla="*/ 2622724 h 3892558"/>
                  <a:gd name="connsiteX126" fmla="*/ 1110102 w 1759274"/>
                  <a:gd name="connsiteY126" fmla="*/ 2596446 h 3892558"/>
                  <a:gd name="connsiteX127" fmla="*/ 1134892 w 1759274"/>
                  <a:gd name="connsiteY127" fmla="*/ 2589174 h 3892558"/>
                  <a:gd name="connsiteX128" fmla="*/ 1140677 w 1759274"/>
                  <a:gd name="connsiteY128" fmla="*/ 2607354 h 3892558"/>
                  <a:gd name="connsiteX129" fmla="*/ 1080023 w 1759274"/>
                  <a:gd name="connsiteY129" fmla="*/ 2629335 h 3892558"/>
                  <a:gd name="connsiteX130" fmla="*/ 1046473 w 1759274"/>
                  <a:gd name="connsiteY130" fmla="*/ 2642722 h 3892558"/>
                  <a:gd name="connsiteX131" fmla="*/ 1070106 w 1759274"/>
                  <a:gd name="connsiteY131" fmla="*/ 2684700 h 3892558"/>
                  <a:gd name="connsiteX132" fmla="*/ 1147453 w 1759274"/>
                  <a:gd name="connsiteY132" fmla="*/ 2656935 h 3892558"/>
                  <a:gd name="connsiteX133" fmla="*/ 1155882 w 1759274"/>
                  <a:gd name="connsiteY133" fmla="*/ 2654291 h 3892558"/>
                  <a:gd name="connsiteX134" fmla="*/ 1161996 w 1759274"/>
                  <a:gd name="connsiteY134" fmla="*/ 2669661 h 3892558"/>
                  <a:gd name="connsiteX135" fmla="*/ 1101508 w 1759274"/>
                  <a:gd name="connsiteY135" fmla="*/ 2696765 h 3892558"/>
                  <a:gd name="connsiteX136" fmla="*/ 938055 w 1759274"/>
                  <a:gd name="connsiteY136" fmla="*/ 2737752 h 3892558"/>
                  <a:gd name="connsiteX137" fmla="*/ 915248 w 1759274"/>
                  <a:gd name="connsiteY137" fmla="*/ 2744859 h 3892558"/>
                  <a:gd name="connsiteX138" fmla="*/ 906819 w 1759274"/>
                  <a:gd name="connsiteY138" fmla="*/ 2757419 h 3892558"/>
                  <a:gd name="connsiteX139" fmla="*/ 913099 w 1759274"/>
                  <a:gd name="connsiteY139" fmla="*/ 2780722 h 3892558"/>
                  <a:gd name="connsiteX140" fmla="*/ 937394 w 1759274"/>
                  <a:gd name="connsiteY140" fmla="*/ 2788655 h 3892558"/>
                  <a:gd name="connsiteX141" fmla="*/ 1073577 w 1759274"/>
                  <a:gd name="connsiteY141" fmla="*/ 2760394 h 3892558"/>
                  <a:gd name="connsiteX142" fmla="*/ 1149932 w 1759274"/>
                  <a:gd name="connsiteY142" fmla="*/ 2729489 h 3892558"/>
                  <a:gd name="connsiteX143" fmla="*/ 1174557 w 1759274"/>
                  <a:gd name="connsiteY143" fmla="*/ 2717259 h 3892558"/>
                  <a:gd name="connsiteX144" fmla="*/ 1175053 w 1759274"/>
                  <a:gd name="connsiteY144" fmla="*/ 2733620 h 3892558"/>
                  <a:gd name="connsiteX145" fmla="*/ 1175053 w 1759274"/>
                  <a:gd name="connsiteY145" fmla="*/ 2733620 h 3892558"/>
                  <a:gd name="connsiteX146" fmla="*/ 1210751 w 1759274"/>
                  <a:gd name="connsiteY146" fmla="*/ 2402419 h 3892558"/>
                  <a:gd name="connsiteX147" fmla="*/ 1182655 w 1759274"/>
                  <a:gd name="connsiteY147" fmla="*/ 2429689 h 3892558"/>
                  <a:gd name="connsiteX148" fmla="*/ 1102830 w 1759274"/>
                  <a:gd name="connsiteY148" fmla="*/ 2459933 h 3892558"/>
                  <a:gd name="connsiteX149" fmla="*/ 957557 w 1759274"/>
                  <a:gd name="connsiteY149" fmla="*/ 2484062 h 3892558"/>
                  <a:gd name="connsiteX150" fmla="*/ 936568 w 1759274"/>
                  <a:gd name="connsiteY150" fmla="*/ 2500589 h 3892558"/>
                  <a:gd name="connsiteX151" fmla="*/ 940369 w 1759274"/>
                  <a:gd name="connsiteY151" fmla="*/ 2524223 h 3892558"/>
                  <a:gd name="connsiteX152" fmla="*/ 978547 w 1759274"/>
                  <a:gd name="connsiteY152" fmla="*/ 2533478 h 3892558"/>
                  <a:gd name="connsiteX153" fmla="*/ 1159187 w 1759274"/>
                  <a:gd name="connsiteY153" fmla="*/ 2494309 h 3892558"/>
                  <a:gd name="connsiteX154" fmla="*/ 1175714 w 1759274"/>
                  <a:gd name="connsiteY154" fmla="*/ 2489351 h 3892558"/>
                  <a:gd name="connsiteX155" fmla="*/ 1170921 w 1759274"/>
                  <a:gd name="connsiteY155" fmla="*/ 2499763 h 3892558"/>
                  <a:gd name="connsiteX156" fmla="*/ 1170921 w 1759274"/>
                  <a:gd name="connsiteY156" fmla="*/ 2499763 h 3892558"/>
                  <a:gd name="connsiteX157" fmla="*/ 1144478 w 1759274"/>
                  <a:gd name="connsiteY157" fmla="*/ 2525215 h 3892558"/>
                  <a:gd name="connsiteX158" fmla="*/ 1056554 w 1759274"/>
                  <a:gd name="connsiteY158" fmla="*/ 2551162 h 3892558"/>
                  <a:gd name="connsiteX159" fmla="*/ 652964 w 1759274"/>
                  <a:gd name="connsiteY159" fmla="*/ 2533643 h 3892558"/>
                  <a:gd name="connsiteX160" fmla="*/ 597433 w 1759274"/>
                  <a:gd name="connsiteY160" fmla="*/ 2506374 h 3892558"/>
                  <a:gd name="connsiteX161" fmla="*/ 586526 w 1759274"/>
                  <a:gd name="connsiteY161" fmla="*/ 2494970 h 3892558"/>
                  <a:gd name="connsiteX162" fmla="*/ 577601 w 1759274"/>
                  <a:gd name="connsiteY162" fmla="*/ 2472163 h 3892558"/>
                  <a:gd name="connsiteX163" fmla="*/ 544712 w 1759274"/>
                  <a:gd name="connsiteY163" fmla="*/ 2382586 h 3892558"/>
                  <a:gd name="connsiteX164" fmla="*/ 563057 w 1759274"/>
                  <a:gd name="connsiteY164" fmla="*/ 2389693 h 3892558"/>
                  <a:gd name="connsiteX165" fmla="*/ 845173 w 1759274"/>
                  <a:gd name="connsiteY165" fmla="*/ 2453653 h 3892558"/>
                  <a:gd name="connsiteX166" fmla="*/ 1195547 w 1759274"/>
                  <a:gd name="connsiteY166" fmla="*/ 2397626 h 3892558"/>
                  <a:gd name="connsiteX167" fmla="*/ 1216370 w 1759274"/>
                  <a:gd name="connsiteY167" fmla="*/ 2387875 h 3892558"/>
                  <a:gd name="connsiteX168" fmla="*/ 1210751 w 1759274"/>
                  <a:gd name="connsiteY168" fmla="*/ 2402749 h 3892558"/>
                  <a:gd name="connsiteX169" fmla="*/ 1248433 w 1759274"/>
                  <a:gd name="connsiteY169" fmla="*/ 2286564 h 3892558"/>
                  <a:gd name="connsiteX170" fmla="*/ 1248433 w 1759274"/>
                  <a:gd name="connsiteY170" fmla="*/ 2286564 h 3892558"/>
                  <a:gd name="connsiteX171" fmla="*/ 1217031 w 1759274"/>
                  <a:gd name="connsiteY171" fmla="*/ 2317140 h 3892558"/>
                  <a:gd name="connsiteX172" fmla="*/ 1168773 w 1759274"/>
                  <a:gd name="connsiteY172" fmla="*/ 2346558 h 3892558"/>
                  <a:gd name="connsiteX173" fmla="*/ 892771 w 1759274"/>
                  <a:gd name="connsiteY173" fmla="*/ 2396800 h 3892558"/>
                  <a:gd name="connsiteX174" fmla="*/ 765348 w 1759274"/>
                  <a:gd name="connsiteY174" fmla="*/ 2387875 h 3892558"/>
                  <a:gd name="connsiteX175" fmla="*/ 613961 w 1759274"/>
                  <a:gd name="connsiteY175" fmla="*/ 2349532 h 3892558"/>
                  <a:gd name="connsiteX176" fmla="*/ 527028 w 1759274"/>
                  <a:gd name="connsiteY176" fmla="*/ 2292018 h 3892558"/>
                  <a:gd name="connsiteX177" fmla="*/ 510832 w 1759274"/>
                  <a:gd name="connsiteY177" fmla="*/ 2274996 h 3892558"/>
                  <a:gd name="connsiteX178" fmla="*/ 505708 w 1759274"/>
                  <a:gd name="connsiteY178" fmla="*/ 2258303 h 3892558"/>
                  <a:gd name="connsiteX179" fmla="*/ 477943 w 1759274"/>
                  <a:gd name="connsiteY179" fmla="*/ 2154018 h 3892558"/>
                  <a:gd name="connsiteX180" fmla="*/ 482901 w 1759274"/>
                  <a:gd name="connsiteY180" fmla="*/ 824419 h 3892558"/>
                  <a:gd name="connsiteX181" fmla="*/ 515129 w 1759274"/>
                  <a:gd name="connsiteY181" fmla="*/ 712200 h 3892558"/>
                  <a:gd name="connsiteX182" fmla="*/ 525045 w 1759274"/>
                  <a:gd name="connsiteY182" fmla="*/ 680468 h 3892558"/>
                  <a:gd name="connsiteX183" fmla="*/ 539589 w 1759274"/>
                  <a:gd name="connsiteY183" fmla="*/ 676502 h 3892558"/>
                  <a:gd name="connsiteX184" fmla="*/ 661228 w 1759274"/>
                  <a:gd name="connsiteY184" fmla="*/ 650720 h 3892558"/>
                  <a:gd name="connsiteX185" fmla="*/ 911777 w 1759274"/>
                  <a:gd name="connsiteY185" fmla="*/ 633531 h 3892558"/>
                  <a:gd name="connsiteX186" fmla="*/ 1212404 w 1759274"/>
                  <a:gd name="connsiteY186" fmla="*/ 672370 h 3892558"/>
                  <a:gd name="connsiteX187" fmla="*/ 1274546 w 1759274"/>
                  <a:gd name="connsiteY187" fmla="*/ 690219 h 3892558"/>
                  <a:gd name="connsiteX188" fmla="*/ 1286610 w 1759274"/>
                  <a:gd name="connsiteY188" fmla="*/ 729553 h 3892558"/>
                  <a:gd name="connsiteX189" fmla="*/ 1354041 w 1759274"/>
                  <a:gd name="connsiteY189" fmla="*/ 1047038 h 3892558"/>
                  <a:gd name="connsiteX190" fmla="*/ 1282148 w 1759274"/>
                  <a:gd name="connsiteY190" fmla="*/ 2182940 h 3892558"/>
                  <a:gd name="connsiteX191" fmla="*/ 1248763 w 1759274"/>
                  <a:gd name="connsiteY191" fmla="*/ 2286399 h 3892558"/>
                  <a:gd name="connsiteX192" fmla="*/ 1670533 w 1759274"/>
                  <a:gd name="connsiteY192" fmla="*/ 2618923 h 3892558"/>
                  <a:gd name="connsiteX193" fmla="*/ 1512700 w 1759274"/>
                  <a:gd name="connsiteY193" fmla="*/ 3058707 h 3892558"/>
                  <a:gd name="connsiteX194" fmla="*/ 1512700 w 1759274"/>
                  <a:gd name="connsiteY194" fmla="*/ 3058707 h 3892558"/>
                  <a:gd name="connsiteX195" fmla="*/ 1476340 w 1759274"/>
                  <a:gd name="connsiteY195" fmla="*/ 3093414 h 3892558"/>
                  <a:gd name="connsiteX196" fmla="*/ 1466094 w 1759274"/>
                  <a:gd name="connsiteY196" fmla="*/ 3083498 h 3892558"/>
                  <a:gd name="connsiteX197" fmla="*/ 1471878 w 1759274"/>
                  <a:gd name="connsiteY197" fmla="*/ 2974915 h 3892558"/>
                  <a:gd name="connsiteX198" fmla="*/ 1475680 w 1759274"/>
                  <a:gd name="connsiteY198" fmla="*/ 2913104 h 3892558"/>
                  <a:gd name="connsiteX199" fmla="*/ 1479315 w 1759274"/>
                  <a:gd name="connsiteY199" fmla="*/ 2852450 h 3892558"/>
                  <a:gd name="connsiteX200" fmla="*/ 1483943 w 1759274"/>
                  <a:gd name="connsiteY200" fmla="*/ 2778409 h 3892558"/>
                  <a:gd name="connsiteX201" fmla="*/ 1489397 w 1759274"/>
                  <a:gd name="connsiteY201" fmla="*/ 2688998 h 3892558"/>
                  <a:gd name="connsiteX202" fmla="*/ 1492702 w 1759274"/>
                  <a:gd name="connsiteY202" fmla="*/ 2634954 h 3892558"/>
                  <a:gd name="connsiteX203" fmla="*/ 1487909 w 1759274"/>
                  <a:gd name="connsiteY203" fmla="*/ 2570664 h 3892558"/>
                  <a:gd name="connsiteX204" fmla="*/ 1443617 w 1759274"/>
                  <a:gd name="connsiteY204" fmla="*/ 2482244 h 3892558"/>
                  <a:gd name="connsiteX205" fmla="*/ 1347925 w 1759274"/>
                  <a:gd name="connsiteY205" fmla="*/ 2396139 h 3892558"/>
                  <a:gd name="connsiteX206" fmla="*/ 1294543 w 1759274"/>
                  <a:gd name="connsiteY206" fmla="*/ 2351350 h 3892558"/>
                  <a:gd name="connsiteX207" fmla="*/ 1311236 w 1759274"/>
                  <a:gd name="connsiteY207" fmla="*/ 2286564 h 3892558"/>
                  <a:gd name="connsiteX208" fmla="*/ 1370072 w 1759274"/>
                  <a:gd name="connsiteY208" fmla="*/ 2066920 h 3892558"/>
                  <a:gd name="connsiteX209" fmla="*/ 1382632 w 1759274"/>
                  <a:gd name="connsiteY209" fmla="*/ 2016017 h 3892558"/>
                  <a:gd name="connsiteX210" fmla="*/ 1395854 w 1759274"/>
                  <a:gd name="connsiteY210" fmla="*/ 2008084 h 3892558"/>
                  <a:gd name="connsiteX211" fmla="*/ 1458822 w 1759274"/>
                  <a:gd name="connsiteY211" fmla="*/ 2062954 h 3892558"/>
                  <a:gd name="connsiteX212" fmla="*/ 1590707 w 1759274"/>
                  <a:gd name="connsiteY212" fmla="*/ 2225249 h 3892558"/>
                  <a:gd name="connsiteX213" fmla="*/ 1667723 w 1759274"/>
                  <a:gd name="connsiteY213" fmla="*/ 2350689 h 3892558"/>
                  <a:gd name="connsiteX214" fmla="*/ 1670533 w 1759274"/>
                  <a:gd name="connsiteY214" fmla="*/ 2619088 h 3892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</a:cxnLst>
                <a:rect l="l" t="t" r="r" b="b"/>
                <a:pathLst>
                  <a:path w="1759274" h="3892558">
                    <a:moveTo>
                      <a:pt x="1757135" y="2427871"/>
                    </a:moveTo>
                    <a:cubicBezTo>
                      <a:pt x="1752672" y="2385231"/>
                      <a:pt x="1740112" y="2353334"/>
                      <a:pt x="1702430" y="2290861"/>
                    </a:cubicBezTo>
                    <a:cubicBezTo>
                      <a:pt x="1655989" y="2213515"/>
                      <a:pt x="1599632" y="2136334"/>
                      <a:pt x="1533854" y="2059648"/>
                    </a:cubicBezTo>
                    <a:cubicBezTo>
                      <a:pt x="1504436" y="2025437"/>
                      <a:pt x="1450558" y="1970402"/>
                      <a:pt x="1429239" y="1952884"/>
                    </a:cubicBezTo>
                    <a:cubicBezTo>
                      <a:pt x="1412050" y="1938670"/>
                      <a:pt x="1405440" y="1931068"/>
                      <a:pt x="1402795" y="1921978"/>
                    </a:cubicBezTo>
                    <a:cubicBezTo>
                      <a:pt x="1400647" y="1914376"/>
                      <a:pt x="1400977" y="1908591"/>
                      <a:pt x="1406596" y="1872397"/>
                    </a:cubicBezTo>
                    <a:cubicBezTo>
                      <a:pt x="1431718" y="1709771"/>
                      <a:pt x="1443121" y="1523677"/>
                      <a:pt x="1437998" y="1357250"/>
                    </a:cubicBezTo>
                    <a:cubicBezTo>
                      <a:pt x="1422793" y="865075"/>
                      <a:pt x="1286941" y="423638"/>
                      <a:pt x="1053083" y="106485"/>
                    </a:cubicBezTo>
                    <a:cubicBezTo>
                      <a:pt x="1009617" y="47483"/>
                      <a:pt x="988132" y="26990"/>
                      <a:pt x="952599" y="10793"/>
                    </a:cubicBezTo>
                    <a:cubicBezTo>
                      <a:pt x="917397" y="-5403"/>
                      <a:pt x="884838" y="-3420"/>
                      <a:pt x="847653" y="17073"/>
                    </a:cubicBezTo>
                    <a:cubicBezTo>
                      <a:pt x="821044" y="31782"/>
                      <a:pt x="803360" y="48475"/>
                      <a:pt x="769976" y="90619"/>
                    </a:cubicBezTo>
                    <a:cubicBezTo>
                      <a:pt x="677424" y="207630"/>
                      <a:pt x="600243" y="339681"/>
                      <a:pt x="535127" y="492225"/>
                    </a:cubicBezTo>
                    <a:cubicBezTo>
                      <a:pt x="417785" y="767070"/>
                      <a:pt x="352338" y="1084223"/>
                      <a:pt x="343248" y="1422036"/>
                    </a:cubicBezTo>
                    <a:cubicBezTo>
                      <a:pt x="341926" y="1472113"/>
                      <a:pt x="342256" y="1555739"/>
                      <a:pt x="343909" y="1593256"/>
                    </a:cubicBezTo>
                    <a:cubicBezTo>
                      <a:pt x="344239" y="1600362"/>
                      <a:pt x="345066" y="1618377"/>
                      <a:pt x="345562" y="1633416"/>
                    </a:cubicBezTo>
                    <a:cubicBezTo>
                      <a:pt x="348206" y="1694897"/>
                      <a:pt x="355808" y="1782160"/>
                      <a:pt x="365394" y="1859671"/>
                    </a:cubicBezTo>
                    <a:cubicBezTo>
                      <a:pt x="370683" y="1902146"/>
                      <a:pt x="370683" y="1902311"/>
                      <a:pt x="367543" y="1911731"/>
                    </a:cubicBezTo>
                    <a:cubicBezTo>
                      <a:pt x="364898" y="1919665"/>
                      <a:pt x="357131" y="1927432"/>
                      <a:pt x="329696" y="1950074"/>
                    </a:cubicBezTo>
                    <a:cubicBezTo>
                      <a:pt x="262100" y="2005440"/>
                      <a:pt x="150212" y="2135507"/>
                      <a:pt x="81294" y="2238967"/>
                    </a:cubicBezTo>
                    <a:cubicBezTo>
                      <a:pt x="34854" y="2308545"/>
                      <a:pt x="14691" y="2347880"/>
                      <a:pt x="6592" y="2383743"/>
                    </a:cubicBezTo>
                    <a:cubicBezTo>
                      <a:pt x="-680" y="2416302"/>
                      <a:pt x="-2002" y="2452991"/>
                      <a:pt x="2956" y="2486376"/>
                    </a:cubicBezTo>
                    <a:cubicBezTo>
                      <a:pt x="6427" y="2509679"/>
                      <a:pt x="19483" y="2574630"/>
                      <a:pt x="28904" y="2615452"/>
                    </a:cubicBezTo>
                    <a:cubicBezTo>
                      <a:pt x="74684" y="2813776"/>
                      <a:pt x="140461" y="3006812"/>
                      <a:pt x="189051" y="3085150"/>
                    </a:cubicBezTo>
                    <a:cubicBezTo>
                      <a:pt x="207891" y="3115560"/>
                      <a:pt x="219791" y="3127129"/>
                      <a:pt x="239789" y="3134401"/>
                    </a:cubicBezTo>
                    <a:cubicBezTo>
                      <a:pt x="267554" y="3144647"/>
                      <a:pt x="295154" y="3138367"/>
                      <a:pt x="314821" y="3117378"/>
                    </a:cubicBezTo>
                    <a:cubicBezTo>
                      <a:pt x="327382" y="3103991"/>
                      <a:pt x="333166" y="3090108"/>
                      <a:pt x="335315" y="3067962"/>
                    </a:cubicBezTo>
                    <a:cubicBezTo>
                      <a:pt x="336141" y="3060690"/>
                      <a:pt x="333993" y="2993590"/>
                      <a:pt x="331018" y="2928639"/>
                    </a:cubicBezTo>
                    <a:cubicBezTo>
                      <a:pt x="330522" y="2918558"/>
                      <a:pt x="329200" y="2884677"/>
                      <a:pt x="328043" y="2853276"/>
                    </a:cubicBezTo>
                    <a:cubicBezTo>
                      <a:pt x="326886" y="2822040"/>
                      <a:pt x="325564" y="2784524"/>
                      <a:pt x="324903" y="2770145"/>
                    </a:cubicBezTo>
                    <a:cubicBezTo>
                      <a:pt x="320275" y="2651151"/>
                      <a:pt x="320275" y="2640408"/>
                      <a:pt x="323911" y="2601735"/>
                    </a:cubicBezTo>
                    <a:cubicBezTo>
                      <a:pt x="328869" y="2551162"/>
                      <a:pt x="334488" y="2534966"/>
                      <a:pt x="356635" y="2508192"/>
                    </a:cubicBezTo>
                    <a:cubicBezTo>
                      <a:pt x="368699" y="2493648"/>
                      <a:pt x="377293" y="2485880"/>
                      <a:pt x="414314" y="2456462"/>
                    </a:cubicBezTo>
                    <a:cubicBezTo>
                      <a:pt x="432659" y="2441918"/>
                      <a:pt x="456623" y="2422747"/>
                      <a:pt x="467696" y="2413988"/>
                    </a:cubicBezTo>
                    <a:cubicBezTo>
                      <a:pt x="478604" y="2405228"/>
                      <a:pt x="487859" y="2398122"/>
                      <a:pt x="488520" y="2398122"/>
                    </a:cubicBezTo>
                    <a:cubicBezTo>
                      <a:pt x="489016" y="2398122"/>
                      <a:pt x="491330" y="2403741"/>
                      <a:pt x="493644" y="2410517"/>
                    </a:cubicBezTo>
                    <a:cubicBezTo>
                      <a:pt x="500254" y="2429854"/>
                      <a:pt x="516947" y="2474311"/>
                      <a:pt x="527028" y="2500094"/>
                    </a:cubicBezTo>
                    <a:cubicBezTo>
                      <a:pt x="537936" y="2527859"/>
                      <a:pt x="544051" y="2537775"/>
                      <a:pt x="557438" y="2550005"/>
                    </a:cubicBezTo>
                    <a:lnTo>
                      <a:pt x="567024" y="2558765"/>
                    </a:lnTo>
                    <a:lnTo>
                      <a:pt x="541737" y="2630161"/>
                    </a:lnTo>
                    <a:cubicBezTo>
                      <a:pt x="515129" y="2705359"/>
                      <a:pt x="511328" y="2719407"/>
                      <a:pt x="513311" y="2736761"/>
                    </a:cubicBezTo>
                    <a:cubicBezTo>
                      <a:pt x="515625" y="2756593"/>
                      <a:pt x="529507" y="2775599"/>
                      <a:pt x="553141" y="2791300"/>
                    </a:cubicBezTo>
                    <a:cubicBezTo>
                      <a:pt x="559586" y="2795597"/>
                      <a:pt x="565040" y="2799233"/>
                      <a:pt x="564875" y="2799729"/>
                    </a:cubicBezTo>
                    <a:cubicBezTo>
                      <a:pt x="564875" y="2800059"/>
                      <a:pt x="561074" y="2807331"/>
                      <a:pt x="556612" y="2815925"/>
                    </a:cubicBezTo>
                    <a:cubicBezTo>
                      <a:pt x="536284" y="2854598"/>
                      <a:pt x="517608" y="2917236"/>
                      <a:pt x="512154" y="2964999"/>
                    </a:cubicBezTo>
                    <a:cubicBezTo>
                      <a:pt x="509344" y="2989789"/>
                      <a:pt x="508518" y="3049782"/>
                      <a:pt x="510832" y="3075895"/>
                    </a:cubicBezTo>
                    <a:cubicBezTo>
                      <a:pt x="515294" y="3128451"/>
                      <a:pt x="532813" y="3202823"/>
                      <a:pt x="553967" y="3258519"/>
                    </a:cubicBezTo>
                    <a:cubicBezTo>
                      <a:pt x="570825" y="3302976"/>
                      <a:pt x="605532" y="3372555"/>
                      <a:pt x="658583" y="3467751"/>
                    </a:cubicBezTo>
                    <a:cubicBezTo>
                      <a:pt x="673953" y="3495351"/>
                      <a:pt x="692464" y="3529727"/>
                      <a:pt x="699736" y="3543940"/>
                    </a:cubicBezTo>
                    <a:cubicBezTo>
                      <a:pt x="747333" y="3637318"/>
                      <a:pt x="790304" y="3742926"/>
                      <a:pt x="820383" y="3840270"/>
                    </a:cubicBezTo>
                    <a:cubicBezTo>
                      <a:pt x="830795" y="3874150"/>
                      <a:pt x="834927" y="3882083"/>
                      <a:pt x="845504" y="3888198"/>
                    </a:cubicBezTo>
                    <a:cubicBezTo>
                      <a:pt x="853933" y="3893157"/>
                      <a:pt x="867650" y="3893983"/>
                      <a:pt x="876740" y="3890182"/>
                    </a:cubicBezTo>
                    <a:lnTo>
                      <a:pt x="876740" y="3890182"/>
                    </a:lnTo>
                    <a:cubicBezTo>
                      <a:pt x="888970" y="3885058"/>
                      <a:pt x="894754" y="3875142"/>
                      <a:pt x="906324" y="3839278"/>
                    </a:cubicBezTo>
                    <a:cubicBezTo>
                      <a:pt x="928966" y="3769369"/>
                      <a:pt x="967474" y="3676652"/>
                      <a:pt x="1004329" y="3603272"/>
                    </a:cubicBezTo>
                    <a:cubicBezTo>
                      <a:pt x="1026805" y="3558319"/>
                      <a:pt x="1043002" y="3528736"/>
                      <a:pt x="1071098" y="3480973"/>
                    </a:cubicBezTo>
                    <a:cubicBezTo>
                      <a:pt x="1156708" y="3335204"/>
                      <a:pt x="1182325" y="3283640"/>
                      <a:pt x="1204802" y="3211251"/>
                    </a:cubicBezTo>
                    <a:cubicBezTo>
                      <a:pt x="1228766" y="3134401"/>
                      <a:pt x="1236533" y="3083993"/>
                      <a:pt x="1235707" y="3013423"/>
                    </a:cubicBezTo>
                    <a:cubicBezTo>
                      <a:pt x="1235046" y="2965329"/>
                      <a:pt x="1230419" y="2933102"/>
                      <a:pt x="1217031" y="2886330"/>
                    </a:cubicBezTo>
                    <a:cubicBezTo>
                      <a:pt x="1210421" y="2863192"/>
                      <a:pt x="1202818" y="2843194"/>
                      <a:pt x="1193233" y="2823693"/>
                    </a:cubicBezTo>
                    <a:cubicBezTo>
                      <a:pt x="1189101" y="2815594"/>
                      <a:pt x="1185795" y="2808157"/>
                      <a:pt x="1185795" y="2807331"/>
                    </a:cubicBezTo>
                    <a:cubicBezTo>
                      <a:pt x="1185795" y="2806505"/>
                      <a:pt x="1191249" y="2802373"/>
                      <a:pt x="1198025" y="2798241"/>
                    </a:cubicBezTo>
                    <a:cubicBezTo>
                      <a:pt x="1212735" y="2789151"/>
                      <a:pt x="1220337" y="2782210"/>
                      <a:pt x="1228435" y="2770476"/>
                    </a:cubicBezTo>
                    <a:cubicBezTo>
                      <a:pt x="1238517" y="2755767"/>
                      <a:pt x="1240996" y="2741058"/>
                      <a:pt x="1237029" y="2718911"/>
                    </a:cubicBezTo>
                    <a:cubicBezTo>
                      <a:pt x="1235872" y="2712300"/>
                      <a:pt x="1224634" y="2675445"/>
                      <a:pt x="1212074" y="2636772"/>
                    </a:cubicBezTo>
                    <a:lnTo>
                      <a:pt x="1189266" y="2566532"/>
                    </a:lnTo>
                    <a:lnTo>
                      <a:pt x="1197034" y="2559591"/>
                    </a:lnTo>
                    <a:cubicBezTo>
                      <a:pt x="1207281" y="2550666"/>
                      <a:pt x="1216701" y="2538106"/>
                      <a:pt x="1222320" y="2526206"/>
                    </a:cubicBezTo>
                    <a:cubicBezTo>
                      <a:pt x="1229096" y="2511828"/>
                      <a:pt x="1249425" y="2461916"/>
                      <a:pt x="1260498" y="2432994"/>
                    </a:cubicBezTo>
                    <a:cubicBezTo>
                      <a:pt x="1265786" y="2418946"/>
                      <a:pt x="1270579" y="2407377"/>
                      <a:pt x="1271240" y="2407377"/>
                    </a:cubicBezTo>
                    <a:cubicBezTo>
                      <a:pt x="1271736" y="2407377"/>
                      <a:pt x="1294213" y="2425557"/>
                      <a:pt x="1321152" y="2447868"/>
                    </a:cubicBezTo>
                    <a:cubicBezTo>
                      <a:pt x="1415852" y="2526206"/>
                      <a:pt x="1425272" y="2540254"/>
                      <a:pt x="1430561" y="2611320"/>
                    </a:cubicBezTo>
                    <a:cubicBezTo>
                      <a:pt x="1433866" y="2654787"/>
                      <a:pt x="1433370" y="2668339"/>
                      <a:pt x="1421801" y="2850797"/>
                    </a:cubicBezTo>
                    <a:cubicBezTo>
                      <a:pt x="1420644" y="2868977"/>
                      <a:pt x="1417669" y="2916244"/>
                      <a:pt x="1415356" y="2955744"/>
                    </a:cubicBezTo>
                    <a:cubicBezTo>
                      <a:pt x="1413042" y="2995243"/>
                      <a:pt x="1410232" y="3037883"/>
                      <a:pt x="1409406" y="3050443"/>
                    </a:cubicBezTo>
                    <a:cubicBezTo>
                      <a:pt x="1406596" y="3092422"/>
                      <a:pt x="1411555" y="3112585"/>
                      <a:pt x="1429569" y="3131426"/>
                    </a:cubicBezTo>
                    <a:cubicBezTo>
                      <a:pt x="1448410" y="3151258"/>
                      <a:pt x="1473200" y="3157869"/>
                      <a:pt x="1499644" y="3149936"/>
                    </a:cubicBezTo>
                    <a:cubicBezTo>
                      <a:pt x="1522451" y="3143160"/>
                      <a:pt x="1534185" y="3132583"/>
                      <a:pt x="1555174" y="3100520"/>
                    </a:cubicBezTo>
                    <a:cubicBezTo>
                      <a:pt x="1610870" y="3014910"/>
                      <a:pt x="1689870" y="2791630"/>
                      <a:pt x="1739285" y="2580250"/>
                    </a:cubicBezTo>
                    <a:cubicBezTo>
                      <a:pt x="1758953" y="2496292"/>
                      <a:pt x="1761927" y="2471171"/>
                      <a:pt x="1757465" y="2427871"/>
                    </a:cubicBezTo>
                    <a:close/>
                    <a:moveTo>
                      <a:pt x="607515" y="469418"/>
                    </a:moveTo>
                    <a:cubicBezTo>
                      <a:pt x="662550" y="350258"/>
                      <a:pt x="724526" y="244816"/>
                      <a:pt x="793940" y="153091"/>
                    </a:cubicBezTo>
                    <a:cubicBezTo>
                      <a:pt x="834100" y="99874"/>
                      <a:pt x="862196" y="73761"/>
                      <a:pt x="889962" y="64341"/>
                    </a:cubicBezTo>
                    <a:cubicBezTo>
                      <a:pt x="906819" y="58556"/>
                      <a:pt x="920867" y="61035"/>
                      <a:pt x="942352" y="73761"/>
                    </a:cubicBezTo>
                    <a:cubicBezTo>
                      <a:pt x="951773" y="79546"/>
                      <a:pt x="955078" y="82190"/>
                      <a:pt x="975241" y="103510"/>
                    </a:cubicBezTo>
                    <a:cubicBezTo>
                      <a:pt x="998710" y="128466"/>
                      <a:pt x="1007634" y="140034"/>
                      <a:pt x="1041515" y="189781"/>
                    </a:cubicBezTo>
                    <a:cubicBezTo>
                      <a:pt x="1097211" y="271590"/>
                      <a:pt x="1151089" y="370586"/>
                      <a:pt x="1193894" y="469583"/>
                    </a:cubicBezTo>
                    <a:lnTo>
                      <a:pt x="1193894" y="469583"/>
                    </a:lnTo>
                    <a:cubicBezTo>
                      <a:pt x="1200009" y="483797"/>
                      <a:pt x="1204967" y="496192"/>
                      <a:pt x="1204967" y="497183"/>
                    </a:cubicBezTo>
                    <a:cubicBezTo>
                      <a:pt x="1204967" y="498175"/>
                      <a:pt x="1199017" y="497514"/>
                      <a:pt x="1191580" y="495696"/>
                    </a:cubicBezTo>
                    <a:cubicBezTo>
                      <a:pt x="1142495" y="483136"/>
                      <a:pt x="1077048" y="472723"/>
                      <a:pt x="1018211" y="468096"/>
                    </a:cubicBezTo>
                    <a:cubicBezTo>
                      <a:pt x="986975" y="465617"/>
                      <a:pt x="902357" y="461485"/>
                      <a:pt x="897234" y="462146"/>
                    </a:cubicBezTo>
                    <a:cubicBezTo>
                      <a:pt x="895250" y="462477"/>
                      <a:pt x="880376" y="462807"/>
                      <a:pt x="864180" y="462807"/>
                    </a:cubicBezTo>
                    <a:cubicBezTo>
                      <a:pt x="831952" y="463138"/>
                      <a:pt x="778404" y="465452"/>
                      <a:pt x="747829" y="467931"/>
                    </a:cubicBezTo>
                    <a:cubicBezTo>
                      <a:pt x="713288" y="470740"/>
                      <a:pt x="649824" y="480491"/>
                      <a:pt x="613961" y="488589"/>
                    </a:cubicBezTo>
                    <a:cubicBezTo>
                      <a:pt x="605697" y="490407"/>
                      <a:pt x="598921" y="491234"/>
                      <a:pt x="598921" y="490242"/>
                    </a:cubicBezTo>
                    <a:cubicBezTo>
                      <a:pt x="598921" y="489251"/>
                      <a:pt x="602887" y="479995"/>
                      <a:pt x="607680" y="469749"/>
                    </a:cubicBezTo>
                    <a:close/>
                    <a:moveTo>
                      <a:pt x="467366" y="2340608"/>
                    </a:moveTo>
                    <a:cubicBezTo>
                      <a:pt x="466044" y="2341930"/>
                      <a:pt x="444228" y="2359449"/>
                      <a:pt x="418776" y="2379612"/>
                    </a:cubicBezTo>
                    <a:cubicBezTo>
                      <a:pt x="343744" y="2439274"/>
                      <a:pt x="336141" y="2445720"/>
                      <a:pt x="316639" y="2466874"/>
                    </a:cubicBezTo>
                    <a:cubicBezTo>
                      <a:pt x="283420" y="2502738"/>
                      <a:pt x="270859" y="2529181"/>
                      <a:pt x="264910" y="2575126"/>
                    </a:cubicBezTo>
                    <a:cubicBezTo>
                      <a:pt x="261770" y="2600082"/>
                      <a:pt x="261439" y="2613138"/>
                      <a:pt x="263092" y="2654291"/>
                    </a:cubicBezTo>
                    <a:cubicBezTo>
                      <a:pt x="265901" y="2723208"/>
                      <a:pt x="267223" y="2759568"/>
                      <a:pt x="268215" y="2787829"/>
                    </a:cubicBezTo>
                    <a:cubicBezTo>
                      <a:pt x="268711" y="2802869"/>
                      <a:pt x="269703" y="2828485"/>
                      <a:pt x="270364" y="2844847"/>
                    </a:cubicBezTo>
                    <a:cubicBezTo>
                      <a:pt x="271686" y="2877901"/>
                      <a:pt x="272512" y="2898064"/>
                      <a:pt x="274165" y="2945166"/>
                    </a:cubicBezTo>
                    <a:cubicBezTo>
                      <a:pt x="274826" y="2962685"/>
                      <a:pt x="275652" y="2984666"/>
                      <a:pt x="276148" y="2994086"/>
                    </a:cubicBezTo>
                    <a:cubicBezTo>
                      <a:pt x="277635" y="3025488"/>
                      <a:pt x="278462" y="3060360"/>
                      <a:pt x="277801" y="3066309"/>
                    </a:cubicBezTo>
                    <a:lnTo>
                      <a:pt x="277801" y="3066309"/>
                    </a:lnTo>
                    <a:cubicBezTo>
                      <a:pt x="276644" y="3077217"/>
                      <a:pt x="265075" y="3082836"/>
                      <a:pt x="255820" y="3077052"/>
                    </a:cubicBezTo>
                    <a:cubicBezTo>
                      <a:pt x="242763" y="3068788"/>
                      <a:pt x="213511" y="3012927"/>
                      <a:pt x="188059" y="2947150"/>
                    </a:cubicBezTo>
                    <a:cubicBezTo>
                      <a:pt x="143271" y="2831956"/>
                      <a:pt x="96004" y="2666190"/>
                      <a:pt x="70221" y="2534139"/>
                    </a:cubicBezTo>
                    <a:cubicBezTo>
                      <a:pt x="60966" y="2486376"/>
                      <a:pt x="58322" y="2440762"/>
                      <a:pt x="63280" y="2413327"/>
                    </a:cubicBezTo>
                    <a:cubicBezTo>
                      <a:pt x="69230" y="2381099"/>
                      <a:pt x="91541" y="2329535"/>
                      <a:pt x="117323" y="2288713"/>
                    </a:cubicBezTo>
                    <a:cubicBezTo>
                      <a:pt x="157484" y="2225084"/>
                      <a:pt x="227559" y="2135507"/>
                      <a:pt x="288709" y="2069730"/>
                    </a:cubicBezTo>
                    <a:cubicBezTo>
                      <a:pt x="311351" y="2045435"/>
                      <a:pt x="355313" y="2002795"/>
                      <a:pt x="361923" y="1998664"/>
                    </a:cubicBezTo>
                    <a:cubicBezTo>
                      <a:pt x="364568" y="1997011"/>
                      <a:pt x="369526" y="1995689"/>
                      <a:pt x="373162" y="1995689"/>
                    </a:cubicBezTo>
                    <a:cubicBezTo>
                      <a:pt x="383904" y="1995689"/>
                      <a:pt x="387706" y="2002134"/>
                      <a:pt x="392168" y="2028578"/>
                    </a:cubicBezTo>
                    <a:cubicBezTo>
                      <a:pt x="404728" y="2101627"/>
                      <a:pt x="439435" y="2241611"/>
                      <a:pt x="464556" y="2321271"/>
                    </a:cubicBezTo>
                    <a:cubicBezTo>
                      <a:pt x="469018" y="2335154"/>
                      <a:pt x="469514" y="2338624"/>
                      <a:pt x="467531" y="2340442"/>
                    </a:cubicBezTo>
                    <a:close/>
                    <a:moveTo>
                      <a:pt x="1175218" y="2733620"/>
                    </a:moveTo>
                    <a:cubicBezTo>
                      <a:pt x="1170756" y="2749156"/>
                      <a:pt x="1157039" y="2758741"/>
                      <a:pt x="1116547" y="2774773"/>
                    </a:cubicBezTo>
                    <a:cubicBezTo>
                      <a:pt x="1048125" y="2801877"/>
                      <a:pt x="971936" y="2818404"/>
                      <a:pt x="899217" y="2821875"/>
                    </a:cubicBezTo>
                    <a:cubicBezTo>
                      <a:pt x="824349" y="2825511"/>
                      <a:pt x="722047" y="2805843"/>
                      <a:pt x="642222" y="2772459"/>
                    </a:cubicBezTo>
                    <a:cubicBezTo>
                      <a:pt x="579254" y="2746181"/>
                      <a:pt x="569503" y="2734943"/>
                      <a:pt x="578923" y="2699575"/>
                    </a:cubicBezTo>
                    <a:cubicBezTo>
                      <a:pt x="582559" y="2686353"/>
                      <a:pt x="618919" y="2582729"/>
                      <a:pt x="619910" y="2582729"/>
                    </a:cubicBezTo>
                    <a:cubicBezTo>
                      <a:pt x="620241" y="2582729"/>
                      <a:pt x="625199" y="2584381"/>
                      <a:pt x="630818" y="2586530"/>
                    </a:cubicBezTo>
                    <a:cubicBezTo>
                      <a:pt x="671474" y="2601239"/>
                      <a:pt x="737748" y="2615452"/>
                      <a:pt x="798898" y="2622724"/>
                    </a:cubicBezTo>
                    <a:cubicBezTo>
                      <a:pt x="897895" y="2634293"/>
                      <a:pt x="1014906" y="2624377"/>
                      <a:pt x="1110102" y="2596446"/>
                    </a:cubicBezTo>
                    <a:cubicBezTo>
                      <a:pt x="1122993" y="2592645"/>
                      <a:pt x="1134231" y="2589339"/>
                      <a:pt x="1134892" y="2589174"/>
                    </a:cubicBezTo>
                    <a:cubicBezTo>
                      <a:pt x="1136380" y="2588844"/>
                      <a:pt x="1141999" y="2606032"/>
                      <a:pt x="1140677" y="2607354"/>
                    </a:cubicBezTo>
                    <a:cubicBezTo>
                      <a:pt x="1137702" y="2610164"/>
                      <a:pt x="1104482" y="2622228"/>
                      <a:pt x="1080023" y="2629335"/>
                    </a:cubicBezTo>
                    <a:cubicBezTo>
                      <a:pt x="1055728" y="2636441"/>
                      <a:pt x="1051265" y="2638259"/>
                      <a:pt x="1046473" y="2642722"/>
                    </a:cubicBezTo>
                    <a:cubicBezTo>
                      <a:pt x="1028128" y="2660075"/>
                      <a:pt x="1044324" y="2688832"/>
                      <a:pt x="1070106" y="2684700"/>
                    </a:cubicBezTo>
                    <a:cubicBezTo>
                      <a:pt x="1086303" y="2682221"/>
                      <a:pt x="1129438" y="2666686"/>
                      <a:pt x="1147453" y="2656935"/>
                    </a:cubicBezTo>
                    <a:cubicBezTo>
                      <a:pt x="1151089" y="2654952"/>
                      <a:pt x="1154890" y="2653795"/>
                      <a:pt x="1155882" y="2654291"/>
                    </a:cubicBezTo>
                    <a:cubicBezTo>
                      <a:pt x="1157204" y="2654952"/>
                      <a:pt x="1161831" y="2666355"/>
                      <a:pt x="1161996" y="2669661"/>
                    </a:cubicBezTo>
                    <a:cubicBezTo>
                      <a:pt x="1161996" y="2670487"/>
                      <a:pt x="1120183" y="2689163"/>
                      <a:pt x="1101508" y="2696765"/>
                    </a:cubicBezTo>
                    <a:cubicBezTo>
                      <a:pt x="1058207" y="2714449"/>
                      <a:pt x="991603" y="2731141"/>
                      <a:pt x="938055" y="2737752"/>
                    </a:cubicBezTo>
                    <a:cubicBezTo>
                      <a:pt x="923677" y="2739570"/>
                      <a:pt x="920867" y="2740397"/>
                      <a:pt x="915248" y="2744859"/>
                    </a:cubicBezTo>
                    <a:cubicBezTo>
                      <a:pt x="909959" y="2748990"/>
                      <a:pt x="908637" y="2751139"/>
                      <a:pt x="906819" y="2757419"/>
                    </a:cubicBezTo>
                    <a:cubicBezTo>
                      <a:pt x="904340" y="2766179"/>
                      <a:pt x="906324" y="2773616"/>
                      <a:pt x="913099" y="2780722"/>
                    </a:cubicBezTo>
                    <a:cubicBezTo>
                      <a:pt x="919380" y="2787333"/>
                      <a:pt x="924669" y="2788986"/>
                      <a:pt x="937394" y="2788655"/>
                    </a:cubicBezTo>
                    <a:cubicBezTo>
                      <a:pt x="961358" y="2787994"/>
                      <a:pt x="1032425" y="2773285"/>
                      <a:pt x="1073577" y="2760394"/>
                    </a:cubicBezTo>
                    <a:cubicBezTo>
                      <a:pt x="1107788" y="2749652"/>
                      <a:pt x="1122001" y="2744032"/>
                      <a:pt x="1149932" y="2729489"/>
                    </a:cubicBezTo>
                    <a:cubicBezTo>
                      <a:pt x="1162823" y="2722713"/>
                      <a:pt x="1173896" y="2717259"/>
                      <a:pt x="1174557" y="2717259"/>
                    </a:cubicBezTo>
                    <a:cubicBezTo>
                      <a:pt x="1176871" y="2717259"/>
                      <a:pt x="1177202" y="2726349"/>
                      <a:pt x="1175053" y="2733620"/>
                    </a:cubicBezTo>
                    <a:lnTo>
                      <a:pt x="1175053" y="2733620"/>
                    </a:lnTo>
                    <a:close/>
                    <a:moveTo>
                      <a:pt x="1210751" y="2402419"/>
                    </a:moveTo>
                    <a:cubicBezTo>
                      <a:pt x="1204471" y="2419442"/>
                      <a:pt x="1204802" y="2419111"/>
                      <a:pt x="1182655" y="2429689"/>
                    </a:cubicBezTo>
                    <a:cubicBezTo>
                      <a:pt x="1167616" y="2436960"/>
                      <a:pt x="1123489" y="2453653"/>
                      <a:pt x="1102830" y="2459933"/>
                    </a:cubicBezTo>
                    <a:cubicBezTo>
                      <a:pt x="1064652" y="2471502"/>
                      <a:pt x="1015567" y="2479600"/>
                      <a:pt x="957557" y="2484062"/>
                    </a:cubicBezTo>
                    <a:cubicBezTo>
                      <a:pt x="949955" y="2484558"/>
                      <a:pt x="939212" y="2493152"/>
                      <a:pt x="936568" y="2500589"/>
                    </a:cubicBezTo>
                    <a:cubicBezTo>
                      <a:pt x="934089" y="2507861"/>
                      <a:pt x="935576" y="2517943"/>
                      <a:pt x="940369" y="2524223"/>
                    </a:cubicBezTo>
                    <a:cubicBezTo>
                      <a:pt x="947145" y="2533148"/>
                      <a:pt x="955574" y="2535296"/>
                      <a:pt x="978547" y="2533478"/>
                    </a:cubicBezTo>
                    <a:cubicBezTo>
                      <a:pt x="1043332" y="2528685"/>
                      <a:pt x="1107292" y="2514803"/>
                      <a:pt x="1159187" y="2494309"/>
                    </a:cubicBezTo>
                    <a:cubicBezTo>
                      <a:pt x="1168112" y="2490838"/>
                      <a:pt x="1175549" y="2488525"/>
                      <a:pt x="1175714" y="2489351"/>
                    </a:cubicBezTo>
                    <a:cubicBezTo>
                      <a:pt x="1175714" y="2490177"/>
                      <a:pt x="1173731" y="2494805"/>
                      <a:pt x="1170921" y="2499763"/>
                    </a:cubicBezTo>
                    <a:lnTo>
                      <a:pt x="1170921" y="2499763"/>
                    </a:lnTo>
                    <a:cubicBezTo>
                      <a:pt x="1164806" y="2510836"/>
                      <a:pt x="1155055" y="2520091"/>
                      <a:pt x="1144478" y="2525215"/>
                    </a:cubicBezTo>
                    <a:cubicBezTo>
                      <a:pt x="1133240" y="2530503"/>
                      <a:pt x="1085642" y="2544551"/>
                      <a:pt x="1056554" y="2551162"/>
                    </a:cubicBezTo>
                    <a:cubicBezTo>
                      <a:pt x="922355" y="2581076"/>
                      <a:pt x="780883" y="2574961"/>
                      <a:pt x="652964" y="2533643"/>
                    </a:cubicBezTo>
                    <a:cubicBezTo>
                      <a:pt x="611316" y="2520257"/>
                      <a:pt x="609994" y="2519430"/>
                      <a:pt x="597433" y="2506374"/>
                    </a:cubicBezTo>
                    <a:lnTo>
                      <a:pt x="586526" y="2494970"/>
                    </a:lnTo>
                    <a:lnTo>
                      <a:pt x="577601" y="2472163"/>
                    </a:lnTo>
                    <a:cubicBezTo>
                      <a:pt x="568842" y="2449852"/>
                      <a:pt x="546034" y="2387545"/>
                      <a:pt x="544712" y="2382586"/>
                    </a:cubicBezTo>
                    <a:cubicBezTo>
                      <a:pt x="544216" y="2380768"/>
                      <a:pt x="549836" y="2382917"/>
                      <a:pt x="563057" y="2389693"/>
                    </a:cubicBezTo>
                    <a:cubicBezTo>
                      <a:pt x="632140" y="2424400"/>
                      <a:pt x="736426" y="2448034"/>
                      <a:pt x="845173" y="2453653"/>
                    </a:cubicBezTo>
                    <a:cubicBezTo>
                      <a:pt x="971275" y="2460263"/>
                      <a:pt x="1109771" y="2437952"/>
                      <a:pt x="1195547" y="2397626"/>
                    </a:cubicBezTo>
                    <a:lnTo>
                      <a:pt x="1216370" y="2387875"/>
                    </a:lnTo>
                    <a:lnTo>
                      <a:pt x="1210751" y="2402749"/>
                    </a:lnTo>
                    <a:close/>
                    <a:moveTo>
                      <a:pt x="1248433" y="2286564"/>
                    </a:moveTo>
                    <a:lnTo>
                      <a:pt x="1248433" y="2286564"/>
                    </a:lnTo>
                    <a:cubicBezTo>
                      <a:pt x="1243805" y="2293010"/>
                      <a:pt x="1223642" y="2312677"/>
                      <a:pt x="1217031" y="2317140"/>
                    </a:cubicBezTo>
                    <a:cubicBezTo>
                      <a:pt x="1189762" y="2335650"/>
                      <a:pt x="1181333" y="2340773"/>
                      <a:pt x="1168773" y="2346558"/>
                    </a:cubicBezTo>
                    <a:cubicBezTo>
                      <a:pt x="1102004" y="2377132"/>
                      <a:pt x="997222" y="2396304"/>
                      <a:pt x="892771" y="2396800"/>
                    </a:cubicBezTo>
                    <a:cubicBezTo>
                      <a:pt x="844843" y="2396965"/>
                      <a:pt x="816912" y="2395147"/>
                      <a:pt x="765348" y="2387875"/>
                    </a:cubicBezTo>
                    <a:cubicBezTo>
                      <a:pt x="709982" y="2380107"/>
                      <a:pt x="652799" y="2365729"/>
                      <a:pt x="613961" y="2349532"/>
                    </a:cubicBezTo>
                    <a:cubicBezTo>
                      <a:pt x="575948" y="2333832"/>
                      <a:pt x="551323" y="2317635"/>
                      <a:pt x="527028" y="2292018"/>
                    </a:cubicBezTo>
                    <a:lnTo>
                      <a:pt x="510832" y="2274996"/>
                    </a:lnTo>
                    <a:lnTo>
                      <a:pt x="505708" y="2258303"/>
                    </a:lnTo>
                    <a:cubicBezTo>
                      <a:pt x="499594" y="2238306"/>
                      <a:pt x="485545" y="2185749"/>
                      <a:pt x="477943" y="2154018"/>
                    </a:cubicBezTo>
                    <a:cubicBezTo>
                      <a:pt x="372170" y="1718035"/>
                      <a:pt x="373988" y="1245197"/>
                      <a:pt x="482901" y="824419"/>
                    </a:cubicBezTo>
                    <a:cubicBezTo>
                      <a:pt x="492487" y="787398"/>
                      <a:pt x="501412" y="756492"/>
                      <a:pt x="515129" y="712200"/>
                    </a:cubicBezTo>
                    <a:lnTo>
                      <a:pt x="525045" y="680468"/>
                    </a:lnTo>
                    <a:lnTo>
                      <a:pt x="539589" y="676502"/>
                    </a:lnTo>
                    <a:cubicBezTo>
                      <a:pt x="566363" y="669395"/>
                      <a:pt x="627678" y="656339"/>
                      <a:pt x="661228" y="650720"/>
                    </a:cubicBezTo>
                    <a:cubicBezTo>
                      <a:pt x="744359" y="636672"/>
                      <a:pt x="816086" y="631879"/>
                      <a:pt x="911777" y="633531"/>
                    </a:cubicBezTo>
                    <a:cubicBezTo>
                      <a:pt x="1022343" y="635515"/>
                      <a:pt x="1107623" y="646588"/>
                      <a:pt x="1212404" y="672370"/>
                    </a:cubicBezTo>
                    <a:cubicBezTo>
                      <a:pt x="1251408" y="681956"/>
                      <a:pt x="1272562" y="688071"/>
                      <a:pt x="1274546" y="690219"/>
                    </a:cubicBezTo>
                    <a:cubicBezTo>
                      <a:pt x="1275372" y="691045"/>
                      <a:pt x="1280661" y="708729"/>
                      <a:pt x="1286610" y="729553"/>
                    </a:cubicBezTo>
                    <a:cubicBezTo>
                      <a:pt x="1316194" y="834335"/>
                      <a:pt x="1338505" y="939116"/>
                      <a:pt x="1354041" y="1047038"/>
                    </a:cubicBezTo>
                    <a:cubicBezTo>
                      <a:pt x="1408249" y="1421375"/>
                      <a:pt x="1382963" y="1819180"/>
                      <a:pt x="1282148" y="2182940"/>
                    </a:cubicBezTo>
                    <a:cubicBezTo>
                      <a:pt x="1263307" y="2250701"/>
                      <a:pt x="1254383" y="2278632"/>
                      <a:pt x="1248763" y="2286399"/>
                    </a:cubicBezTo>
                    <a:close/>
                    <a:moveTo>
                      <a:pt x="1670533" y="2618923"/>
                    </a:moveTo>
                    <a:cubicBezTo>
                      <a:pt x="1626075" y="2794936"/>
                      <a:pt x="1561785" y="2974089"/>
                      <a:pt x="1512700" y="3058707"/>
                    </a:cubicBezTo>
                    <a:lnTo>
                      <a:pt x="1512700" y="3058707"/>
                    </a:lnTo>
                    <a:cubicBezTo>
                      <a:pt x="1496173" y="3087134"/>
                      <a:pt x="1486257" y="3096554"/>
                      <a:pt x="1476340" y="3093414"/>
                    </a:cubicBezTo>
                    <a:cubicBezTo>
                      <a:pt x="1472870" y="3092257"/>
                      <a:pt x="1467581" y="3087134"/>
                      <a:pt x="1466094" y="3083498"/>
                    </a:cubicBezTo>
                    <a:cubicBezTo>
                      <a:pt x="1465267" y="3081349"/>
                      <a:pt x="1467416" y="3040693"/>
                      <a:pt x="1471878" y="2974915"/>
                    </a:cubicBezTo>
                    <a:cubicBezTo>
                      <a:pt x="1472870" y="2959710"/>
                      <a:pt x="1474522" y="2931945"/>
                      <a:pt x="1475680" y="2913104"/>
                    </a:cubicBezTo>
                    <a:cubicBezTo>
                      <a:pt x="1476671" y="2894263"/>
                      <a:pt x="1478324" y="2866993"/>
                      <a:pt x="1479315" y="2852450"/>
                    </a:cubicBezTo>
                    <a:cubicBezTo>
                      <a:pt x="1480307" y="2837906"/>
                      <a:pt x="1482290" y="2804521"/>
                      <a:pt x="1483943" y="2778409"/>
                    </a:cubicBezTo>
                    <a:cubicBezTo>
                      <a:pt x="1485596" y="2752296"/>
                      <a:pt x="1488075" y="2712135"/>
                      <a:pt x="1489397" y="2688998"/>
                    </a:cubicBezTo>
                    <a:cubicBezTo>
                      <a:pt x="1490884" y="2665860"/>
                      <a:pt x="1492372" y="2641565"/>
                      <a:pt x="1492702" y="2634954"/>
                    </a:cubicBezTo>
                    <a:cubicBezTo>
                      <a:pt x="1493529" y="2621402"/>
                      <a:pt x="1491050" y="2588513"/>
                      <a:pt x="1487909" y="2570664"/>
                    </a:cubicBezTo>
                    <a:cubicBezTo>
                      <a:pt x="1481960" y="2536618"/>
                      <a:pt x="1470060" y="2512819"/>
                      <a:pt x="1443617" y="2482244"/>
                    </a:cubicBezTo>
                    <a:cubicBezTo>
                      <a:pt x="1428082" y="2464230"/>
                      <a:pt x="1411720" y="2449521"/>
                      <a:pt x="1347925" y="2396139"/>
                    </a:cubicBezTo>
                    <a:cubicBezTo>
                      <a:pt x="1320160" y="2372836"/>
                      <a:pt x="1295865" y="2352838"/>
                      <a:pt x="1294543" y="2351350"/>
                    </a:cubicBezTo>
                    <a:cubicBezTo>
                      <a:pt x="1291403" y="2348541"/>
                      <a:pt x="1290081" y="2353664"/>
                      <a:pt x="1311236" y="2286564"/>
                    </a:cubicBezTo>
                    <a:cubicBezTo>
                      <a:pt x="1333878" y="2215168"/>
                      <a:pt x="1351396" y="2150051"/>
                      <a:pt x="1370072" y="2066920"/>
                    </a:cubicBezTo>
                    <a:cubicBezTo>
                      <a:pt x="1375856" y="2040973"/>
                      <a:pt x="1381641" y="2018166"/>
                      <a:pt x="1382632" y="2016017"/>
                    </a:cubicBezTo>
                    <a:cubicBezTo>
                      <a:pt x="1385772" y="2009571"/>
                      <a:pt x="1388582" y="2007919"/>
                      <a:pt x="1395854" y="2008084"/>
                    </a:cubicBezTo>
                    <a:cubicBezTo>
                      <a:pt x="1407092" y="2008415"/>
                      <a:pt x="1414530" y="2014695"/>
                      <a:pt x="1458822" y="2062954"/>
                    </a:cubicBezTo>
                    <a:cubicBezTo>
                      <a:pt x="1508899" y="2117328"/>
                      <a:pt x="1547242" y="2164430"/>
                      <a:pt x="1590707" y="2225249"/>
                    </a:cubicBezTo>
                    <a:cubicBezTo>
                      <a:pt x="1628389" y="2277970"/>
                      <a:pt x="1650535" y="2313834"/>
                      <a:pt x="1667723" y="2350689"/>
                    </a:cubicBezTo>
                    <a:cubicBezTo>
                      <a:pt x="1707223" y="2435142"/>
                      <a:pt x="1707554" y="2471832"/>
                      <a:pt x="1670533" y="261908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95FD418C-0EC7-791D-0E83-DCDB85D3AC6B}"/>
                  </a:ext>
                </a:extLst>
              </p:cNvPr>
              <p:cNvSpPr/>
              <p:nvPr/>
            </p:nvSpPr>
            <p:spPr>
              <a:xfrm>
                <a:off x="8829340" y="3293111"/>
                <a:ext cx="610954" cy="963419"/>
              </a:xfrm>
              <a:custGeom>
                <a:avLst/>
                <a:gdLst>
                  <a:gd name="connsiteX0" fmla="*/ 310654 w 610954"/>
                  <a:gd name="connsiteY0" fmla="*/ 926003 h 963419"/>
                  <a:gd name="connsiteX1" fmla="*/ 374613 w 610954"/>
                  <a:gd name="connsiteY1" fmla="*/ 773789 h 963419"/>
                  <a:gd name="connsiteX2" fmla="*/ 458405 w 610954"/>
                  <a:gd name="connsiteY2" fmla="*/ 619261 h 963419"/>
                  <a:gd name="connsiteX3" fmla="*/ 560707 w 610954"/>
                  <a:gd name="connsiteY3" fmla="*/ 429200 h 963419"/>
                  <a:gd name="connsiteX4" fmla="*/ 605000 w 610954"/>
                  <a:gd name="connsiteY4" fmla="*/ 278309 h 963419"/>
                  <a:gd name="connsiteX5" fmla="*/ 608801 w 610954"/>
                  <a:gd name="connsiteY5" fmla="*/ 143779 h 963419"/>
                  <a:gd name="connsiteX6" fmla="*/ 591447 w 610954"/>
                  <a:gd name="connsiteY6" fmla="*/ 66597 h 963419"/>
                  <a:gd name="connsiteX7" fmla="*/ 566988 w 610954"/>
                  <a:gd name="connsiteY7" fmla="*/ 5943 h 963419"/>
                  <a:gd name="connsiteX8" fmla="*/ 552774 w 610954"/>
                  <a:gd name="connsiteY8" fmla="*/ 8918 h 963419"/>
                  <a:gd name="connsiteX9" fmla="*/ 469313 w 610954"/>
                  <a:gd name="connsiteY9" fmla="*/ 34204 h 963419"/>
                  <a:gd name="connsiteX10" fmla="*/ 451629 w 610954"/>
                  <a:gd name="connsiteY10" fmla="*/ 38997 h 963419"/>
                  <a:gd name="connsiteX11" fmla="*/ 460719 w 610954"/>
                  <a:gd name="connsiteY11" fmla="*/ 57012 h 963419"/>
                  <a:gd name="connsiteX12" fmla="*/ 498566 w 610954"/>
                  <a:gd name="connsiteY12" fmla="*/ 221621 h 963419"/>
                  <a:gd name="connsiteX13" fmla="*/ 422541 w 610954"/>
                  <a:gd name="connsiteY13" fmla="*/ 446719 h 963419"/>
                  <a:gd name="connsiteX14" fmla="*/ 329494 w 610954"/>
                  <a:gd name="connsiteY14" fmla="*/ 642564 h 963419"/>
                  <a:gd name="connsiteX15" fmla="*/ 308505 w 610954"/>
                  <a:gd name="connsiteY15" fmla="*/ 669338 h 963419"/>
                  <a:gd name="connsiteX16" fmla="*/ 281731 w 610954"/>
                  <a:gd name="connsiteY16" fmla="*/ 663719 h 963419"/>
                  <a:gd name="connsiteX17" fmla="*/ 269171 w 610954"/>
                  <a:gd name="connsiteY17" fmla="*/ 637771 h 963419"/>
                  <a:gd name="connsiteX18" fmla="*/ 179098 w 610954"/>
                  <a:gd name="connsiteY18" fmla="*/ 437960 h 963419"/>
                  <a:gd name="connsiteX19" fmla="*/ 119436 w 610954"/>
                  <a:gd name="connsiteY19" fmla="*/ 290373 h 963419"/>
                  <a:gd name="connsiteX20" fmla="*/ 129517 w 610954"/>
                  <a:gd name="connsiteY20" fmla="*/ 104610 h 963419"/>
                  <a:gd name="connsiteX21" fmla="*/ 157448 w 610954"/>
                  <a:gd name="connsiteY21" fmla="*/ 45939 h 963419"/>
                  <a:gd name="connsiteX22" fmla="*/ 162571 w 610954"/>
                  <a:gd name="connsiteY22" fmla="*/ 35527 h 963419"/>
                  <a:gd name="connsiteX23" fmla="*/ 144391 w 610954"/>
                  <a:gd name="connsiteY23" fmla="*/ 30568 h 963419"/>
                  <a:gd name="connsiteX24" fmla="*/ 67541 w 610954"/>
                  <a:gd name="connsiteY24" fmla="*/ 5778 h 963419"/>
                  <a:gd name="connsiteX25" fmla="*/ 48204 w 610954"/>
                  <a:gd name="connsiteY25" fmla="*/ 159 h 963419"/>
                  <a:gd name="connsiteX26" fmla="*/ 22257 w 610954"/>
                  <a:gd name="connsiteY26" fmla="*/ 59821 h 963419"/>
                  <a:gd name="connsiteX27" fmla="*/ 276 w 610954"/>
                  <a:gd name="connsiteY27" fmla="*/ 187741 h 963419"/>
                  <a:gd name="connsiteX28" fmla="*/ 25232 w 610954"/>
                  <a:gd name="connsiteY28" fmla="*/ 365902 h 963419"/>
                  <a:gd name="connsiteX29" fmla="*/ 143070 w 610954"/>
                  <a:gd name="connsiteY29" fmla="*/ 616782 h 963419"/>
                  <a:gd name="connsiteX30" fmla="*/ 210996 w 610954"/>
                  <a:gd name="connsiteY30" fmla="*/ 747676 h 963419"/>
                  <a:gd name="connsiteX31" fmla="*/ 281401 w 610954"/>
                  <a:gd name="connsiteY31" fmla="*/ 920879 h 963419"/>
                  <a:gd name="connsiteX32" fmla="*/ 296771 w 610954"/>
                  <a:gd name="connsiteY32" fmla="*/ 963354 h 963419"/>
                  <a:gd name="connsiteX33" fmla="*/ 310654 w 610954"/>
                  <a:gd name="connsiteY33" fmla="*/ 926003 h 963419"/>
                  <a:gd name="connsiteX34" fmla="*/ 310654 w 610954"/>
                  <a:gd name="connsiteY34" fmla="*/ 926003 h 96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10954" h="963419">
                    <a:moveTo>
                      <a:pt x="310654" y="926003"/>
                    </a:moveTo>
                    <a:cubicBezTo>
                      <a:pt x="328007" y="878074"/>
                      <a:pt x="355772" y="812131"/>
                      <a:pt x="374613" y="773789"/>
                    </a:cubicBezTo>
                    <a:cubicBezTo>
                      <a:pt x="403205" y="716110"/>
                      <a:pt x="424194" y="677271"/>
                      <a:pt x="458405" y="619261"/>
                    </a:cubicBezTo>
                    <a:cubicBezTo>
                      <a:pt x="511787" y="528528"/>
                      <a:pt x="542858" y="470848"/>
                      <a:pt x="560707" y="429200"/>
                    </a:cubicBezTo>
                    <a:cubicBezTo>
                      <a:pt x="578722" y="387387"/>
                      <a:pt x="597728" y="322766"/>
                      <a:pt x="605000" y="278309"/>
                    </a:cubicBezTo>
                    <a:cubicBezTo>
                      <a:pt x="611115" y="241949"/>
                      <a:pt x="612767" y="181130"/>
                      <a:pt x="608801" y="143779"/>
                    </a:cubicBezTo>
                    <a:cubicBezTo>
                      <a:pt x="606818" y="124607"/>
                      <a:pt x="599381" y="91388"/>
                      <a:pt x="591447" y="66597"/>
                    </a:cubicBezTo>
                    <a:cubicBezTo>
                      <a:pt x="585167" y="46600"/>
                      <a:pt x="569962" y="9083"/>
                      <a:pt x="566988" y="5943"/>
                    </a:cubicBezTo>
                    <a:cubicBezTo>
                      <a:pt x="565831" y="4786"/>
                      <a:pt x="561203" y="5613"/>
                      <a:pt x="552774" y="8918"/>
                    </a:cubicBezTo>
                    <a:cubicBezTo>
                      <a:pt x="534429" y="16025"/>
                      <a:pt x="489641" y="29577"/>
                      <a:pt x="469313" y="34204"/>
                    </a:cubicBezTo>
                    <a:cubicBezTo>
                      <a:pt x="459562" y="36353"/>
                      <a:pt x="451629" y="38502"/>
                      <a:pt x="451629" y="38997"/>
                    </a:cubicBezTo>
                    <a:cubicBezTo>
                      <a:pt x="451629" y="39493"/>
                      <a:pt x="455761" y="47426"/>
                      <a:pt x="460719" y="57012"/>
                    </a:cubicBezTo>
                    <a:cubicBezTo>
                      <a:pt x="489311" y="111881"/>
                      <a:pt x="500053" y="158653"/>
                      <a:pt x="498566" y="221621"/>
                    </a:cubicBezTo>
                    <a:cubicBezTo>
                      <a:pt x="496913" y="292852"/>
                      <a:pt x="479064" y="345573"/>
                      <a:pt x="422541" y="446719"/>
                    </a:cubicBezTo>
                    <a:cubicBezTo>
                      <a:pt x="386017" y="512166"/>
                      <a:pt x="344534" y="599594"/>
                      <a:pt x="329494" y="642564"/>
                    </a:cubicBezTo>
                    <a:cubicBezTo>
                      <a:pt x="323545" y="659917"/>
                      <a:pt x="318752" y="666032"/>
                      <a:pt x="308505" y="669338"/>
                    </a:cubicBezTo>
                    <a:cubicBezTo>
                      <a:pt x="299084" y="672313"/>
                      <a:pt x="289334" y="670164"/>
                      <a:pt x="281731" y="663719"/>
                    </a:cubicBezTo>
                    <a:cubicBezTo>
                      <a:pt x="276608" y="659257"/>
                      <a:pt x="275616" y="656612"/>
                      <a:pt x="269171" y="637771"/>
                    </a:cubicBezTo>
                    <a:cubicBezTo>
                      <a:pt x="253470" y="590339"/>
                      <a:pt x="219094" y="514314"/>
                      <a:pt x="179098" y="437960"/>
                    </a:cubicBezTo>
                    <a:cubicBezTo>
                      <a:pt x="145053" y="373008"/>
                      <a:pt x="130013" y="335823"/>
                      <a:pt x="119436" y="290373"/>
                    </a:cubicBezTo>
                    <a:cubicBezTo>
                      <a:pt x="105884" y="231868"/>
                      <a:pt x="109685" y="160636"/>
                      <a:pt x="129517" y="104610"/>
                    </a:cubicBezTo>
                    <a:cubicBezTo>
                      <a:pt x="135302" y="88413"/>
                      <a:pt x="147036" y="63788"/>
                      <a:pt x="157448" y="45939"/>
                    </a:cubicBezTo>
                    <a:cubicBezTo>
                      <a:pt x="160588" y="40485"/>
                      <a:pt x="162902" y="35857"/>
                      <a:pt x="162571" y="35527"/>
                    </a:cubicBezTo>
                    <a:cubicBezTo>
                      <a:pt x="162241" y="35196"/>
                      <a:pt x="154143" y="32882"/>
                      <a:pt x="144391" y="30568"/>
                    </a:cubicBezTo>
                    <a:cubicBezTo>
                      <a:pt x="121915" y="24949"/>
                      <a:pt x="90348" y="14703"/>
                      <a:pt x="67541" y="5778"/>
                    </a:cubicBezTo>
                    <a:cubicBezTo>
                      <a:pt x="57459" y="1812"/>
                      <a:pt x="49031" y="-668"/>
                      <a:pt x="48204" y="159"/>
                    </a:cubicBezTo>
                    <a:cubicBezTo>
                      <a:pt x="45395" y="2803"/>
                      <a:pt x="28372" y="42137"/>
                      <a:pt x="22257" y="59821"/>
                    </a:cubicBezTo>
                    <a:cubicBezTo>
                      <a:pt x="6556" y="105932"/>
                      <a:pt x="1598" y="135350"/>
                      <a:pt x="276" y="187741"/>
                    </a:cubicBezTo>
                    <a:cubicBezTo>
                      <a:pt x="-1377" y="254179"/>
                      <a:pt x="4077" y="293679"/>
                      <a:pt x="25232" y="365902"/>
                    </a:cubicBezTo>
                    <a:cubicBezTo>
                      <a:pt x="44073" y="430853"/>
                      <a:pt x="68863" y="483409"/>
                      <a:pt x="143070" y="616782"/>
                    </a:cubicBezTo>
                    <a:cubicBezTo>
                      <a:pt x="174471" y="673304"/>
                      <a:pt x="188519" y="700243"/>
                      <a:pt x="210996" y="747676"/>
                    </a:cubicBezTo>
                    <a:cubicBezTo>
                      <a:pt x="238596" y="806182"/>
                      <a:pt x="262395" y="864522"/>
                      <a:pt x="281401" y="920879"/>
                    </a:cubicBezTo>
                    <a:cubicBezTo>
                      <a:pt x="294787" y="960379"/>
                      <a:pt x="296110" y="964015"/>
                      <a:pt x="296771" y="963354"/>
                    </a:cubicBezTo>
                    <a:cubicBezTo>
                      <a:pt x="297101" y="963023"/>
                      <a:pt x="303382" y="946166"/>
                      <a:pt x="310654" y="926003"/>
                    </a:cubicBezTo>
                    <a:lnTo>
                      <a:pt x="310654" y="926003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75988E89-27A2-4A62-0BB5-A87E7AA312FE}"/>
                  </a:ext>
                </a:extLst>
              </p:cNvPr>
              <p:cNvSpPr/>
              <p:nvPr/>
            </p:nvSpPr>
            <p:spPr>
              <a:xfrm>
                <a:off x="8998464" y="3339876"/>
                <a:ext cx="272718" cy="512689"/>
              </a:xfrm>
              <a:custGeom>
                <a:avLst/>
                <a:gdLst>
                  <a:gd name="connsiteX0" fmla="*/ 144009 w 272718"/>
                  <a:gd name="connsiteY0" fmla="*/ 487382 h 512689"/>
                  <a:gd name="connsiteX1" fmla="*/ 206316 w 272718"/>
                  <a:gd name="connsiteY1" fmla="*/ 366900 h 512689"/>
                  <a:gd name="connsiteX2" fmla="*/ 245650 w 272718"/>
                  <a:gd name="connsiteY2" fmla="*/ 290049 h 512689"/>
                  <a:gd name="connsiteX3" fmla="*/ 266804 w 272718"/>
                  <a:gd name="connsiteY3" fmla="*/ 106434 h 512689"/>
                  <a:gd name="connsiteX4" fmla="*/ 232924 w 272718"/>
                  <a:gd name="connsiteY4" fmla="*/ 22642 h 512689"/>
                  <a:gd name="connsiteX5" fmla="*/ 194581 w 272718"/>
                  <a:gd name="connsiteY5" fmla="*/ 4958 h 512689"/>
                  <a:gd name="connsiteX6" fmla="*/ 80214 w 272718"/>
                  <a:gd name="connsiteY6" fmla="*/ 3471 h 512689"/>
                  <a:gd name="connsiteX7" fmla="*/ 57407 w 272718"/>
                  <a:gd name="connsiteY7" fmla="*/ 0 h 512689"/>
                  <a:gd name="connsiteX8" fmla="*/ 52779 w 272718"/>
                  <a:gd name="connsiteY8" fmla="*/ 5619 h 512689"/>
                  <a:gd name="connsiteX9" fmla="*/ 21874 w 272718"/>
                  <a:gd name="connsiteY9" fmla="*/ 59167 h 512689"/>
                  <a:gd name="connsiteX10" fmla="*/ 389 w 272718"/>
                  <a:gd name="connsiteY10" fmla="*/ 156180 h 512689"/>
                  <a:gd name="connsiteX11" fmla="*/ 60051 w 272718"/>
                  <a:gd name="connsiteY11" fmla="*/ 362603 h 512689"/>
                  <a:gd name="connsiteX12" fmla="*/ 125168 w 272718"/>
                  <a:gd name="connsiteY12" fmla="*/ 496967 h 512689"/>
                  <a:gd name="connsiteX13" fmla="*/ 132109 w 272718"/>
                  <a:gd name="connsiteY13" fmla="*/ 512668 h 512689"/>
                  <a:gd name="connsiteX14" fmla="*/ 144339 w 272718"/>
                  <a:gd name="connsiteY14" fmla="*/ 487217 h 512689"/>
                  <a:gd name="connsiteX15" fmla="*/ 144339 w 272718"/>
                  <a:gd name="connsiteY15" fmla="*/ 487217 h 512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2718" h="512689">
                    <a:moveTo>
                      <a:pt x="144009" y="487382"/>
                    </a:moveTo>
                    <a:cubicBezTo>
                      <a:pt x="152437" y="469037"/>
                      <a:pt x="171278" y="432512"/>
                      <a:pt x="206316" y="366900"/>
                    </a:cubicBezTo>
                    <a:cubicBezTo>
                      <a:pt x="223999" y="333680"/>
                      <a:pt x="241683" y="299139"/>
                      <a:pt x="245650" y="290049"/>
                    </a:cubicBezTo>
                    <a:cubicBezTo>
                      <a:pt x="272093" y="228569"/>
                      <a:pt x="279200" y="166592"/>
                      <a:pt x="266804" y="106434"/>
                    </a:cubicBezTo>
                    <a:cubicBezTo>
                      <a:pt x="260855" y="77512"/>
                      <a:pt x="250773" y="52721"/>
                      <a:pt x="232924" y="22642"/>
                    </a:cubicBezTo>
                    <a:cubicBezTo>
                      <a:pt x="219868" y="496"/>
                      <a:pt x="222181" y="1653"/>
                      <a:pt x="194581" y="4958"/>
                    </a:cubicBezTo>
                    <a:cubicBezTo>
                      <a:pt x="164337" y="8594"/>
                      <a:pt x="110294" y="7933"/>
                      <a:pt x="80214" y="3471"/>
                    </a:cubicBezTo>
                    <a:lnTo>
                      <a:pt x="57407" y="0"/>
                    </a:lnTo>
                    <a:lnTo>
                      <a:pt x="52779" y="5619"/>
                    </a:lnTo>
                    <a:cubicBezTo>
                      <a:pt x="46003" y="13883"/>
                      <a:pt x="29972" y="41648"/>
                      <a:pt x="21874" y="59167"/>
                    </a:cubicBezTo>
                    <a:cubicBezTo>
                      <a:pt x="8983" y="87097"/>
                      <a:pt x="2042" y="118168"/>
                      <a:pt x="389" y="156180"/>
                    </a:cubicBezTo>
                    <a:cubicBezTo>
                      <a:pt x="-2586" y="221793"/>
                      <a:pt x="10966" y="268729"/>
                      <a:pt x="60051" y="362603"/>
                    </a:cubicBezTo>
                    <a:cubicBezTo>
                      <a:pt x="83685" y="407887"/>
                      <a:pt x="112773" y="468045"/>
                      <a:pt x="125168" y="496967"/>
                    </a:cubicBezTo>
                    <a:cubicBezTo>
                      <a:pt x="128804" y="505396"/>
                      <a:pt x="131778" y="512503"/>
                      <a:pt x="132109" y="512668"/>
                    </a:cubicBezTo>
                    <a:cubicBezTo>
                      <a:pt x="132440" y="512999"/>
                      <a:pt x="134092" y="509693"/>
                      <a:pt x="144339" y="487217"/>
                    </a:cubicBezTo>
                    <a:lnTo>
                      <a:pt x="144339" y="487217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C0D5498B-079A-8691-9380-D959CE55D2FD}"/>
                  </a:ext>
                </a:extLst>
              </p:cNvPr>
              <p:cNvSpPr/>
              <p:nvPr/>
            </p:nvSpPr>
            <p:spPr>
              <a:xfrm>
                <a:off x="9408026" y="2413541"/>
                <a:ext cx="117288" cy="339581"/>
              </a:xfrm>
              <a:custGeom>
                <a:avLst/>
                <a:gdLst>
                  <a:gd name="connsiteX0" fmla="*/ 40032 w 117288"/>
                  <a:gd name="connsiteY0" fmla="*/ 336981 h 339581"/>
                  <a:gd name="connsiteX1" fmla="*/ 532 w 117288"/>
                  <a:gd name="connsiteY1" fmla="*/ 316653 h 339581"/>
                  <a:gd name="connsiteX2" fmla="*/ 6647 w 117288"/>
                  <a:gd name="connsiteY2" fmla="*/ 285252 h 339581"/>
                  <a:gd name="connsiteX3" fmla="*/ 47965 w 117288"/>
                  <a:gd name="connsiteY3" fmla="*/ 118494 h 339581"/>
                  <a:gd name="connsiteX4" fmla="*/ 66971 w 117288"/>
                  <a:gd name="connsiteY4" fmla="*/ 21480 h 339581"/>
                  <a:gd name="connsiteX5" fmla="*/ 114238 w 117288"/>
                  <a:gd name="connsiteY5" fmla="*/ 13547 h 339581"/>
                  <a:gd name="connsiteX6" fmla="*/ 113246 w 117288"/>
                  <a:gd name="connsiteY6" fmla="*/ 71557 h 339581"/>
                  <a:gd name="connsiteX7" fmla="*/ 66144 w 117288"/>
                  <a:gd name="connsiteY7" fmla="*/ 287896 h 339581"/>
                  <a:gd name="connsiteX8" fmla="*/ 40197 w 117288"/>
                  <a:gd name="connsiteY8" fmla="*/ 337147 h 33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288" h="339581">
                    <a:moveTo>
                      <a:pt x="40032" y="336981"/>
                    </a:moveTo>
                    <a:cubicBezTo>
                      <a:pt x="23009" y="344584"/>
                      <a:pt x="4168" y="334833"/>
                      <a:pt x="532" y="316653"/>
                    </a:cubicBezTo>
                    <a:cubicBezTo>
                      <a:pt x="-790" y="309877"/>
                      <a:pt x="36" y="305580"/>
                      <a:pt x="6647" y="285252"/>
                    </a:cubicBezTo>
                    <a:cubicBezTo>
                      <a:pt x="23339" y="233357"/>
                      <a:pt x="37387" y="176173"/>
                      <a:pt x="47965" y="118494"/>
                    </a:cubicBezTo>
                    <a:cubicBezTo>
                      <a:pt x="52096" y="95522"/>
                      <a:pt x="55567" y="77672"/>
                      <a:pt x="66971" y="21480"/>
                    </a:cubicBezTo>
                    <a:cubicBezTo>
                      <a:pt x="71929" y="-2814"/>
                      <a:pt x="102669" y="-7938"/>
                      <a:pt x="114238" y="13547"/>
                    </a:cubicBezTo>
                    <a:cubicBezTo>
                      <a:pt x="118535" y="21480"/>
                      <a:pt x="118370" y="34041"/>
                      <a:pt x="113246" y="71557"/>
                    </a:cubicBezTo>
                    <a:cubicBezTo>
                      <a:pt x="103000" y="147251"/>
                      <a:pt x="87299" y="219144"/>
                      <a:pt x="66144" y="287896"/>
                    </a:cubicBezTo>
                    <a:cubicBezTo>
                      <a:pt x="54741" y="324751"/>
                      <a:pt x="50774" y="332519"/>
                      <a:pt x="40197" y="33714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57D2FEA6-B827-0BC9-56F6-0422B0B9A7FB}"/>
                  </a:ext>
                </a:extLst>
              </p:cNvPr>
              <p:cNvSpPr/>
              <p:nvPr/>
            </p:nvSpPr>
            <p:spPr>
              <a:xfrm>
                <a:off x="9285294" y="2599115"/>
                <a:ext cx="86070" cy="200458"/>
              </a:xfrm>
              <a:custGeom>
                <a:avLst/>
                <a:gdLst>
                  <a:gd name="connsiteX0" fmla="*/ 37158 w 86070"/>
                  <a:gd name="connsiteY0" fmla="*/ 198840 h 200458"/>
                  <a:gd name="connsiteX1" fmla="*/ 13690 w 86070"/>
                  <a:gd name="connsiteY1" fmla="*/ 196195 h 200458"/>
                  <a:gd name="connsiteX2" fmla="*/ 1459 w 86070"/>
                  <a:gd name="connsiteY2" fmla="*/ 162150 h 200458"/>
                  <a:gd name="connsiteX3" fmla="*/ 23275 w 86070"/>
                  <a:gd name="connsiteY3" fmla="*/ 79184 h 200458"/>
                  <a:gd name="connsiteX4" fmla="*/ 31208 w 86070"/>
                  <a:gd name="connsiteY4" fmla="*/ 43320 h 200458"/>
                  <a:gd name="connsiteX5" fmla="*/ 44265 w 86070"/>
                  <a:gd name="connsiteY5" fmla="*/ 6961 h 200458"/>
                  <a:gd name="connsiteX6" fmla="*/ 83103 w 86070"/>
                  <a:gd name="connsiteY6" fmla="*/ 12911 h 200458"/>
                  <a:gd name="connsiteX7" fmla="*/ 65419 w 86070"/>
                  <a:gd name="connsiteY7" fmla="*/ 145457 h 200458"/>
                  <a:gd name="connsiteX8" fmla="*/ 55833 w 86070"/>
                  <a:gd name="connsiteY8" fmla="*/ 179999 h 200458"/>
                  <a:gd name="connsiteX9" fmla="*/ 37323 w 86070"/>
                  <a:gd name="connsiteY9" fmla="*/ 199170 h 200458"/>
                  <a:gd name="connsiteX10" fmla="*/ 37323 w 86070"/>
                  <a:gd name="connsiteY10" fmla="*/ 199170 h 20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6070" h="200458">
                    <a:moveTo>
                      <a:pt x="37158" y="198840"/>
                    </a:moveTo>
                    <a:cubicBezTo>
                      <a:pt x="28399" y="201649"/>
                      <a:pt x="21292" y="200823"/>
                      <a:pt x="13690" y="196195"/>
                    </a:cubicBezTo>
                    <a:cubicBezTo>
                      <a:pt x="1625" y="188593"/>
                      <a:pt x="-2507" y="177189"/>
                      <a:pt x="1459" y="162150"/>
                    </a:cubicBezTo>
                    <a:cubicBezTo>
                      <a:pt x="6418" y="143639"/>
                      <a:pt x="19143" y="94885"/>
                      <a:pt x="23275" y="79184"/>
                    </a:cubicBezTo>
                    <a:cubicBezTo>
                      <a:pt x="25424" y="70755"/>
                      <a:pt x="29060" y="54559"/>
                      <a:pt x="31208" y="43320"/>
                    </a:cubicBezTo>
                    <a:cubicBezTo>
                      <a:pt x="36331" y="16712"/>
                      <a:pt x="37488" y="13241"/>
                      <a:pt x="44265" y="6961"/>
                    </a:cubicBezTo>
                    <a:cubicBezTo>
                      <a:pt x="56164" y="-4277"/>
                      <a:pt x="73683" y="-1633"/>
                      <a:pt x="83103" y="12911"/>
                    </a:cubicBezTo>
                    <a:cubicBezTo>
                      <a:pt x="90540" y="24479"/>
                      <a:pt x="83764" y="76209"/>
                      <a:pt x="65419" y="145457"/>
                    </a:cubicBezTo>
                    <a:cubicBezTo>
                      <a:pt x="61122" y="161489"/>
                      <a:pt x="56825" y="177024"/>
                      <a:pt x="55833" y="179999"/>
                    </a:cubicBezTo>
                    <a:cubicBezTo>
                      <a:pt x="52858" y="188427"/>
                      <a:pt x="44760" y="196691"/>
                      <a:pt x="37323" y="199170"/>
                    </a:cubicBezTo>
                    <a:lnTo>
                      <a:pt x="37323" y="199170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6561E103-DE53-7689-1EC9-09CDDD13F573}"/>
                  </a:ext>
                </a:extLst>
              </p:cNvPr>
              <p:cNvSpPr/>
              <p:nvPr/>
            </p:nvSpPr>
            <p:spPr>
              <a:xfrm>
                <a:off x="9186914" y="2744573"/>
                <a:ext cx="57415" cy="71418"/>
              </a:xfrm>
              <a:custGeom>
                <a:avLst/>
                <a:gdLst>
                  <a:gd name="connsiteX0" fmla="*/ 36707 w 57415"/>
                  <a:gd name="connsiteY0" fmla="*/ 69082 h 71418"/>
                  <a:gd name="connsiteX1" fmla="*/ 17 w 57415"/>
                  <a:gd name="connsiteY1" fmla="*/ 43796 h 71418"/>
                  <a:gd name="connsiteX2" fmla="*/ 14561 w 57415"/>
                  <a:gd name="connsiteY2" fmla="*/ 5784 h 71418"/>
                  <a:gd name="connsiteX3" fmla="*/ 50259 w 57415"/>
                  <a:gd name="connsiteY3" fmla="*/ 8098 h 71418"/>
                  <a:gd name="connsiteX4" fmla="*/ 53564 w 57415"/>
                  <a:gd name="connsiteY4" fmla="*/ 46606 h 71418"/>
                  <a:gd name="connsiteX5" fmla="*/ 36872 w 57415"/>
                  <a:gd name="connsiteY5" fmla="*/ 69082 h 7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415" h="71418">
                    <a:moveTo>
                      <a:pt x="36707" y="69082"/>
                    </a:moveTo>
                    <a:cubicBezTo>
                      <a:pt x="18362" y="77016"/>
                      <a:pt x="-644" y="63794"/>
                      <a:pt x="17" y="43796"/>
                    </a:cubicBezTo>
                    <a:cubicBezTo>
                      <a:pt x="182" y="35533"/>
                      <a:pt x="9933" y="10081"/>
                      <a:pt x="14561" y="5784"/>
                    </a:cubicBezTo>
                    <a:cubicBezTo>
                      <a:pt x="23650" y="-2810"/>
                      <a:pt x="41004" y="-1653"/>
                      <a:pt x="50259" y="8098"/>
                    </a:cubicBezTo>
                    <a:cubicBezTo>
                      <a:pt x="58688" y="17022"/>
                      <a:pt x="59514" y="27765"/>
                      <a:pt x="53564" y="46606"/>
                    </a:cubicBezTo>
                    <a:cubicBezTo>
                      <a:pt x="49433" y="59331"/>
                      <a:pt x="44640" y="65777"/>
                      <a:pt x="36872" y="6908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5F5A3431-EB51-7090-CCCF-B674DE687C6A}"/>
                  </a:ext>
                </a:extLst>
              </p:cNvPr>
              <p:cNvSpPr/>
              <p:nvPr/>
            </p:nvSpPr>
            <p:spPr>
              <a:xfrm>
                <a:off x="9041702" y="2742651"/>
                <a:ext cx="56769" cy="71811"/>
              </a:xfrm>
              <a:custGeom>
                <a:avLst/>
                <a:gdLst>
                  <a:gd name="connsiteX0" fmla="*/ 39125 w 56769"/>
                  <a:gd name="connsiteY0" fmla="*/ 70509 h 71811"/>
                  <a:gd name="connsiteX1" fmla="*/ 12682 w 56769"/>
                  <a:gd name="connsiteY1" fmla="*/ 63732 h 71811"/>
                  <a:gd name="connsiteX2" fmla="*/ 1113 w 56769"/>
                  <a:gd name="connsiteY2" fmla="*/ 17953 h 71811"/>
                  <a:gd name="connsiteX3" fmla="*/ 19458 w 56769"/>
                  <a:gd name="connsiteY3" fmla="*/ 930 h 71811"/>
                  <a:gd name="connsiteX4" fmla="*/ 43422 w 56769"/>
                  <a:gd name="connsiteY4" fmla="*/ 6880 h 71811"/>
                  <a:gd name="connsiteX5" fmla="*/ 56479 w 56769"/>
                  <a:gd name="connsiteY5" fmla="*/ 51337 h 71811"/>
                  <a:gd name="connsiteX6" fmla="*/ 38960 w 56769"/>
                  <a:gd name="connsiteY6" fmla="*/ 70509 h 71811"/>
                  <a:gd name="connsiteX7" fmla="*/ 38960 w 56769"/>
                  <a:gd name="connsiteY7" fmla="*/ 70509 h 71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769" h="71811">
                    <a:moveTo>
                      <a:pt x="39125" y="70509"/>
                    </a:moveTo>
                    <a:cubicBezTo>
                      <a:pt x="29705" y="73649"/>
                      <a:pt x="19623" y="71004"/>
                      <a:pt x="12682" y="63732"/>
                    </a:cubicBezTo>
                    <a:cubicBezTo>
                      <a:pt x="3758" y="54312"/>
                      <a:pt x="-2688" y="28860"/>
                      <a:pt x="1113" y="17953"/>
                    </a:cubicBezTo>
                    <a:cubicBezTo>
                      <a:pt x="3262" y="11838"/>
                      <a:pt x="12682" y="3078"/>
                      <a:pt x="19458" y="930"/>
                    </a:cubicBezTo>
                    <a:cubicBezTo>
                      <a:pt x="27061" y="-1549"/>
                      <a:pt x="37968" y="1095"/>
                      <a:pt x="43422" y="6880"/>
                    </a:cubicBezTo>
                    <a:cubicBezTo>
                      <a:pt x="49868" y="13656"/>
                      <a:pt x="58462" y="42743"/>
                      <a:pt x="56479" y="51337"/>
                    </a:cubicBezTo>
                    <a:cubicBezTo>
                      <a:pt x="54495" y="59931"/>
                      <a:pt x="47554" y="67699"/>
                      <a:pt x="38960" y="70509"/>
                    </a:cubicBezTo>
                    <a:lnTo>
                      <a:pt x="38960" y="70509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3263BAD4-EF80-9591-30ED-D7A54168474C}"/>
                  </a:ext>
                </a:extLst>
              </p:cNvPr>
              <p:cNvSpPr/>
              <p:nvPr/>
            </p:nvSpPr>
            <p:spPr>
              <a:xfrm>
                <a:off x="8918030" y="2593921"/>
                <a:ext cx="82836" cy="201113"/>
              </a:xfrm>
              <a:custGeom>
                <a:avLst/>
                <a:gdLst>
                  <a:gd name="connsiteX0" fmla="*/ 64130 w 82836"/>
                  <a:gd name="connsiteY0" fmla="*/ 200232 h 201113"/>
                  <a:gd name="connsiteX1" fmla="*/ 44794 w 82836"/>
                  <a:gd name="connsiteY1" fmla="*/ 199736 h 201113"/>
                  <a:gd name="connsiteX2" fmla="*/ 26779 w 82836"/>
                  <a:gd name="connsiteY2" fmla="*/ 179243 h 201113"/>
                  <a:gd name="connsiteX3" fmla="*/ 7112 w 82836"/>
                  <a:gd name="connsiteY3" fmla="*/ 94624 h 201113"/>
                  <a:gd name="connsiteX4" fmla="*/ 5 w 82836"/>
                  <a:gd name="connsiteY4" fmla="*/ 28681 h 201113"/>
                  <a:gd name="connsiteX5" fmla="*/ 38844 w 82836"/>
                  <a:gd name="connsiteY5" fmla="*/ 3891 h 201113"/>
                  <a:gd name="connsiteX6" fmla="*/ 53718 w 82836"/>
                  <a:gd name="connsiteY6" fmla="*/ 38598 h 201113"/>
                  <a:gd name="connsiteX7" fmla="*/ 69254 w 82836"/>
                  <a:gd name="connsiteY7" fmla="*/ 110490 h 201113"/>
                  <a:gd name="connsiteX8" fmla="*/ 81649 w 82836"/>
                  <a:gd name="connsiteY8" fmla="*/ 182383 h 201113"/>
                  <a:gd name="connsiteX9" fmla="*/ 64296 w 82836"/>
                  <a:gd name="connsiteY9" fmla="*/ 200067 h 201113"/>
                  <a:gd name="connsiteX10" fmla="*/ 64296 w 82836"/>
                  <a:gd name="connsiteY10" fmla="*/ 200067 h 20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2836" h="201113">
                    <a:moveTo>
                      <a:pt x="64130" y="200232"/>
                    </a:moveTo>
                    <a:cubicBezTo>
                      <a:pt x="58842" y="201554"/>
                      <a:pt x="49586" y="201389"/>
                      <a:pt x="44794" y="199736"/>
                    </a:cubicBezTo>
                    <a:cubicBezTo>
                      <a:pt x="38183" y="197423"/>
                      <a:pt x="29258" y="187341"/>
                      <a:pt x="26779" y="179243"/>
                    </a:cubicBezTo>
                    <a:cubicBezTo>
                      <a:pt x="22978" y="166682"/>
                      <a:pt x="9426" y="108176"/>
                      <a:pt x="7112" y="94624"/>
                    </a:cubicBezTo>
                    <a:cubicBezTo>
                      <a:pt x="3476" y="73470"/>
                      <a:pt x="-160" y="39424"/>
                      <a:pt x="5" y="28681"/>
                    </a:cubicBezTo>
                    <a:cubicBezTo>
                      <a:pt x="336" y="6205"/>
                      <a:pt x="20995" y="-7017"/>
                      <a:pt x="38844" y="3891"/>
                    </a:cubicBezTo>
                    <a:cubicBezTo>
                      <a:pt x="47108" y="9014"/>
                      <a:pt x="49917" y="15625"/>
                      <a:pt x="53718" y="38598"/>
                    </a:cubicBezTo>
                    <a:cubicBezTo>
                      <a:pt x="55536" y="49671"/>
                      <a:pt x="62478" y="82064"/>
                      <a:pt x="69254" y="110490"/>
                    </a:cubicBezTo>
                    <a:cubicBezTo>
                      <a:pt x="83467" y="169988"/>
                      <a:pt x="84293" y="174946"/>
                      <a:pt x="81649" y="182383"/>
                    </a:cubicBezTo>
                    <a:cubicBezTo>
                      <a:pt x="79335" y="188663"/>
                      <a:pt x="69419" y="198745"/>
                      <a:pt x="64296" y="200067"/>
                    </a:cubicBezTo>
                    <a:lnTo>
                      <a:pt x="64296" y="200067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EE822993-A8D7-6CEA-2DC5-BBDB49F185CC}"/>
                  </a:ext>
                </a:extLst>
              </p:cNvPr>
              <p:cNvSpPr/>
              <p:nvPr/>
            </p:nvSpPr>
            <p:spPr>
              <a:xfrm>
                <a:off x="8768968" y="2405202"/>
                <a:ext cx="111073" cy="340976"/>
              </a:xfrm>
              <a:custGeom>
                <a:avLst/>
                <a:gdLst>
                  <a:gd name="connsiteX0" fmla="*/ 91553 w 111073"/>
                  <a:gd name="connsiteY0" fmla="*/ 339701 h 340976"/>
                  <a:gd name="connsiteX1" fmla="*/ 70895 w 111073"/>
                  <a:gd name="connsiteY1" fmla="*/ 338710 h 340976"/>
                  <a:gd name="connsiteX2" fmla="*/ 61309 w 111073"/>
                  <a:gd name="connsiteY2" fmla="*/ 330777 h 340976"/>
                  <a:gd name="connsiteX3" fmla="*/ 47757 w 111073"/>
                  <a:gd name="connsiteY3" fmla="*/ 297723 h 340976"/>
                  <a:gd name="connsiteX4" fmla="*/ 3795 w 111073"/>
                  <a:gd name="connsiteY4" fmla="*/ 78905 h 340976"/>
                  <a:gd name="connsiteX5" fmla="*/ 2803 w 111073"/>
                  <a:gd name="connsiteY5" fmla="*/ 14119 h 340976"/>
                  <a:gd name="connsiteX6" fmla="*/ 43790 w 111073"/>
                  <a:gd name="connsiteY6" fmla="*/ 8004 h 340976"/>
                  <a:gd name="connsiteX7" fmla="*/ 65606 w 111073"/>
                  <a:gd name="connsiteY7" fmla="*/ 109645 h 340976"/>
                  <a:gd name="connsiteX8" fmla="*/ 73208 w 111073"/>
                  <a:gd name="connsiteY8" fmla="*/ 154433 h 340976"/>
                  <a:gd name="connsiteX9" fmla="*/ 100974 w 111073"/>
                  <a:gd name="connsiteY9" fmla="*/ 274089 h 340976"/>
                  <a:gd name="connsiteX10" fmla="*/ 111055 w 111073"/>
                  <a:gd name="connsiteY10" fmla="*/ 312597 h 340976"/>
                  <a:gd name="connsiteX11" fmla="*/ 91884 w 111073"/>
                  <a:gd name="connsiteY11" fmla="*/ 339701 h 340976"/>
                  <a:gd name="connsiteX12" fmla="*/ 91884 w 111073"/>
                  <a:gd name="connsiteY12" fmla="*/ 339701 h 340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73" h="340976">
                    <a:moveTo>
                      <a:pt x="91553" y="339701"/>
                    </a:moveTo>
                    <a:cubicBezTo>
                      <a:pt x="85769" y="341685"/>
                      <a:pt x="76349" y="341354"/>
                      <a:pt x="70895" y="338710"/>
                    </a:cubicBezTo>
                    <a:cubicBezTo>
                      <a:pt x="68581" y="337718"/>
                      <a:pt x="64284" y="334082"/>
                      <a:pt x="61309" y="330777"/>
                    </a:cubicBezTo>
                    <a:cubicBezTo>
                      <a:pt x="56351" y="325488"/>
                      <a:pt x="54863" y="321852"/>
                      <a:pt x="47757" y="297723"/>
                    </a:cubicBezTo>
                    <a:cubicBezTo>
                      <a:pt x="27759" y="229962"/>
                      <a:pt x="12224" y="152450"/>
                      <a:pt x="3795" y="78905"/>
                    </a:cubicBezTo>
                    <a:cubicBezTo>
                      <a:pt x="-998" y="37753"/>
                      <a:pt x="-1163" y="22548"/>
                      <a:pt x="2803" y="14119"/>
                    </a:cubicBezTo>
                    <a:cubicBezTo>
                      <a:pt x="10406" y="-1747"/>
                      <a:pt x="31560" y="-4887"/>
                      <a:pt x="43790" y="8004"/>
                    </a:cubicBezTo>
                    <a:cubicBezTo>
                      <a:pt x="49409" y="13954"/>
                      <a:pt x="50071" y="16929"/>
                      <a:pt x="65606" y="109645"/>
                    </a:cubicBezTo>
                    <a:cubicBezTo>
                      <a:pt x="67754" y="122040"/>
                      <a:pt x="71060" y="142203"/>
                      <a:pt x="73208" y="154433"/>
                    </a:cubicBezTo>
                    <a:cubicBezTo>
                      <a:pt x="78662" y="187157"/>
                      <a:pt x="89570" y="234424"/>
                      <a:pt x="100974" y="274089"/>
                    </a:cubicBezTo>
                    <a:cubicBezTo>
                      <a:pt x="106428" y="293260"/>
                      <a:pt x="110890" y="310614"/>
                      <a:pt x="111055" y="312597"/>
                    </a:cubicBezTo>
                    <a:cubicBezTo>
                      <a:pt x="111551" y="322678"/>
                      <a:pt x="102131" y="336065"/>
                      <a:pt x="91884" y="339701"/>
                    </a:cubicBezTo>
                    <a:lnTo>
                      <a:pt x="91884" y="339701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DF57705-9A7A-10B1-3E03-79314B39D1DA}"/>
                  </a:ext>
                </a:extLst>
              </p:cNvPr>
              <p:cNvSpPr/>
              <p:nvPr/>
            </p:nvSpPr>
            <p:spPr>
              <a:xfrm>
                <a:off x="8811061" y="987682"/>
                <a:ext cx="704465" cy="104527"/>
              </a:xfrm>
              <a:custGeom>
                <a:avLst/>
                <a:gdLst>
                  <a:gd name="connsiteX0" fmla="*/ 700626 w 704465"/>
                  <a:gd name="connsiteY0" fmla="*/ 92123 h 104527"/>
                  <a:gd name="connsiteX1" fmla="*/ 689552 w 704465"/>
                  <a:gd name="connsiteY1" fmla="*/ 60887 h 104527"/>
                  <a:gd name="connsiteX2" fmla="*/ 682611 w 704465"/>
                  <a:gd name="connsiteY2" fmla="*/ 41715 h 104527"/>
                  <a:gd name="connsiteX3" fmla="*/ 675505 w 704465"/>
                  <a:gd name="connsiteY3" fmla="*/ 39567 h 104527"/>
                  <a:gd name="connsiteX4" fmla="*/ 639641 w 704465"/>
                  <a:gd name="connsiteY4" fmla="*/ 31964 h 104527"/>
                  <a:gd name="connsiteX5" fmla="*/ 582788 w 704465"/>
                  <a:gd name="connsiteY5" fmla="*/ 20891 h 104527"/>
                  <a:gd name="connsiteX6" fmla="*/ 313728 w 704465"/>
                  <a:gd name="connsiteY6" fmla="*/ 67 h 104527"/>
                  <a:gd name="connsiteX7" fmla="*/ 91274 w 704465"/>
                  <a:gd name="connsiteY7" fmla="*/ 20891 h 104527"/>
                  <a:gd name="connsiteX8" fmla="*/ 22852 w 704465"/>
                  <a:gd name="connsiteY8" fmla="*/ 35105 h 104527"/>
                  <a:gd name="connsiteX9" fmla="*/ 45 w 704465"/>
                  <a:gd name="connsiteY9" fmla="*/ 95593 h 104527"/>
                  <a:gd name="connsiteX10" fmla="*/ 11779 w 704465"/>
                  <a:gd name="connsiteY10" fmla="*/ 93114 h 104527"/>
                  <a:gd name="connsiteX11" fmla="*/ 141021 w 704465"/>
                  <a:gd name="connsiteY11" fmla="*/ 67828 h 104527"/>
                  <a:gd name="connsiteX12" fmla="*/ 516515 w 704465"/>
                  <a:gd name="connsiteY12" fmla="*/ 65845 h 104527"/>
                  <a:gd name="connsiteX13" fmla="*/ 688726 w 704465"/>
                  <a:gd name="connsiteY13" fmla="*/ 100056 h 104527"/>
                  <a:gd name="connsiteX14" fmla="*/ 704427 w 704465"/>
                  <a:gd name="connsiteY14" fmla="*/ 104518 h 104527"/>
                  <a:gd name="connsiteX15" fmla="*/ 700626 w 704465"/>
                  <a:gd name="connsiteY15" fmla="*/ 91958 h 104527"/>
                  <a:gd name="connsiteX16" fmla="*/ 700626 w 704465"/>
                  <a:gd name="connsiteY16" fmla="*/ 91958 h 10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04465" h="104527">
                    <a:moveTo>
                      <a:pt x="700626" y="92123"/>
                    </a:moveTo>
                    <a:cubicBezTo>
                      <a:pt x="698312" y="85512"/>
                      <a:pt x="693354" y="71299"/>
                      <a:pt x="689552" y="60887"/>
                    </a:cubicBezTo>
                    <a:lnTo>
                      <a:pt x="682611" y="41715"/>
                    </a:lnTo>
                    <a:lnTo>
                      <a:pt x="675505" y="39567"/>
                    </a:lnTo>
                    <a:cubicBezTo>
                      <a:pt x="671538" y="38410"/>
                      <a:pt x="655342" y="34939"/>
                      <a:pt x="639641" y="31964"/>
                    </a:cubicBezTo>
                    <a:cubicBezTo>
                      <a:pt x="623775" y="28990"/>
                      <a:pt x="598323" y="23866"/>
                      <a:pt x="582788" y="20891"/>
                    </a:cubicBezTo>
                    <a:cubicBezTo>
                      <a:pt x="507921" y="6017"/>
                      <a:pt x="420658" y="-759"/>
                      <a:pt x="313728" y="67"/>
                    </a:cubicBezTo>
                    <a:cubicBezTo>
                      <a:pt x="227126" y="728"/>
                      <a:pt x="183991" y="4695"/>
                      <a:pt x="91274" y="20891"/>
                    </a:cubicBezTo>
                    <a:cubicBezTo>
                      <a:pt x="34421" y="30808"/>
                      <a:pt x="25662" y="32626"/>
                      <a:pt x="22852" y="35105"/>
                    </a:cubicBezTo>
                    <a:cubicBezTo>
                      <a:pt x="20373" y="37418"/>
                      <a:pt x="-1112" y="94437"/>
                      <a:pt x="45" y="95593"/>
                    </a:cubicBezTo>
                    <a:cubicBezTo>
                      <a:pt x="541" y="96089"/>
                      <a:pt x="5830" y="94932"/>
                      <a:pt x="11779" y="93114"/>
                    </a:cubicBezTo>
                    <a:cubicBezTo>
                      <a:pt x="34917" y="85843"/>
                      <a:pt x="92101" y="74769"/>
                      <a:pt x="141021" y="67828"/>
                    </a:cubicBezTo>
                    <a:cubicBezTo>
                      <a:pt x="257205" y="51466"/>
                      <a:pt x="391735" y="50805"/>
                      <a:pt x="516515" y="65845"/>
                    </a:cubicBezTo>
                    <a:cubicBezTo>
                      <a:pt x="566591" y="71795"/>
                      <a:pt x="654185" y="89313"/>
                      <a:pt x="688726" y="100056"/>
                    </a:cubicBezTo>
                    <a:cubicBezTo>
                      <a:pt x="697155" y="102700"/>
                      <a:pt x="704262" y="104683"/>
                      <a:pt x="704427" y="104518"/>
                    </a:cubicBezTo>
                    <a:cubicBezTo>
                      <a:pt x="704757" y="104188"/>
                      <a:pt x="702939" y="98734"/>
                      <a:pt x="700626" y="91958"/>
                    </a:cubicBezTo>
                    <a:lnTo>
                      <a:pt x="700626" y="91958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56238A16-2F49-E5EE-88DF-3CDC50E45914}"/>
                  </a:ext>
                </a:extLst>
              </p:cNvPr>
              <p:cNvSpPr/>
              <p:nvPr/>
            </p:nvSpPr>
            <p:spPr>
              <a:xfrm>
                <a:off x="7596585" y="3884235"/>
                <a:ext cx="1225543" cy="903351"/>
              </a:xfrm>
              <a:custGeom>
                <a:avLst/>
                <a:gdLst>
                  <a:gd name="connsiteX0" fmla="*/ 988761 w 1225543"/>
                  <a:gd name="connsiteY0" fmla="*/ 494529 h 903351"/>
                  <a:gd name="connsiteX1" fmla="*/ 950915 w 1225543"/>
                  <a:gd name="connsiteY1" fmla="*/ 488580 h 903351"/>
                  <a:gd name="connsiteX2" fmla="*/ 911250 w 1225543"/>
                  <a:gd name="connsiteY2" fmla="*/ 473209 h 903351"/>
                  <a:gd name="connsiteX3" fmla="*/ 852579 w 1225543"/>
                  <a:gd name="connsiteY3" fmla="*/ 472053 h 903351"/>
                  <a:gd name="connsiteX4" fmla="*/ 777546 w 1225543"/>
                  <a:gd name="connsiteY4" fmla="*/ 527418 h 903351"/>
                  <a:gd name="connsiteX5" fmla="*/ 768291 w 1225543"/>
                  <a:gd name="connsiteY5" fmla="*/ 604930 h 903351"/>
                  <a:gd name="connsiteX6" fmla="*/ 771266 w 1225543"/>
                  <a:gd name="connsiteY6" fmla="*/ 637488 h 903351"/>
                  <a:gd name="connsiteX7" fmla="*/ 754904 w 1225543"/>
                  <a:gd name="connsiteY7" fmla="*/ 653354 h 903351"/>
                  <a:gd name="connsiteX8" fmla="*/ 718379 w 1225543"/>
                  <a:gd name="connsiteY8" fmla="*/ 638149 h 903351"/>
                  <a:gd name="connsiteX9" fmla="*/ 685160 w 1225543"/>
                  <a:gd name="connsiteY9" fmla="*/ 618647 h 903351"/>
                  <a:gd name="connsiteX10" fmla="*/ 650949 w 1225543"/>
                  <a:gd name="connsiteY10" fmla="*/ 630381 h 903351"/>
                  <a:gd name="connsiteX11" fmla="*/ 638389 w 1225543"/>
                  <a:gd name="connsiteY11" fmla="*/ 660295 h 903351"/>
                  <a:gd name="connsiteX12" fmla="*/ 628142 w 1225543"/>
                  <a:gd name="connsiteY12" fmla="*/ 686243 h 903351"/>
                  <a:gd name="connsiteX13" fmla="*/ 592774 w 1225543"/>
                  <a:gd name="connsiteY13" fmla="*/ 688391 h 903351"/>
                  <a:gd name="connsiteX14" fmla="*/ 580048 w 1225543"/>
                  <a:gd name="connsiteY14" fmla="*/ 672525 h 903351"/>
                  <a:gd name="connsiteX15" fmla="*/ 517907 w 1225543"/>
                  <a:gd name="connsiteY15" fmla="*/ 607078 h 903351"/>
                  <a:gd name="connsiteX16" fmla="*/ 247359 w 1225543"/>
                  <a:gd name="connsiteY16" fmla="*/ 574520 h 903351"/>
                  <a:gd name="connsiteX17" fmla="*/ 109193 w 1225543"/>
                  <a:gd name="connsiteY17" fmla="*/ 684755 h 903351"/>
                  <a:gd name="connsiteX18" fmla="*/ 54819 w 1225543"/>
                  <a:gd name="connsiteY18" fmla="*/ 861760 h 903351"/>
                  <a:gd name="connsiteX19" fmla="*/ 48539 w 1225543"/>
                  <a:gd name="connsiteY19" fmla="*/ 895144 h 903351"/>
                  <a:gd name="connsiteX20" fmla="*/ 5404 w 1225543"/>
                  <a:gd name="connsiteY20" fmla="*/ 889194 h 903351"/>
                  <a:gd name="connsiteX21" fmla="*/ 115 w 1225543"/>
                  <a:gd name="connsiteY21" fmla="*/ 849860 h 903351"/>
                  <a:gd name="connsiteX22" fmla="*/ 56307 w 1225543"/>
                  <a:gd name="connsiteY22" fmla="*/ 665253 h 903351"/>
                  <a:gd name="connsiteX23" fmla="*/ 313633 w 1225543"/>
                  <a:gd name="connsiteY23" fmla="*/ 501305 h 903351"/>
                  <a:gd name="connsiteX24" fmla="*/ 400069 w 1225543"/>
                  <a:gd name="connsiteY24" fmla="*/ 501801 h 903351"/>
                  <a:gd name="connsiteX25" fmla="*/ 585006 w 1225543"/>
                  <a:gd name="connsiteY25" fmla="*/ 592369 h 903351"/>
                  <a:gd name="connsiteX26" fmla="*/ 598724 w 1225543"/>
                  <a:gd name="connsiteY26" fmla="*/ 605426 h 903351"/>
                  <a:gd name="connsiteX27" fmla="*/ 609631 w 1225543"/>
                  <a:gd name="connsiteY27" fmla="*/ 594352 h 903351"/>
                  <a:gd name="connsiteX28" fmla="*/ 630456 w 1225543"/>
                  <a:gd name="connsiteY28" fmla="*/ 577164 h 903351"/>
                  <a:gd name="connsiteX29" fmla="*/ 698051 w 1225543"/>
                  <a:gd name="connsiteY29" fmla="*/ 564934 h 903351"/>
                  <a:gd name="connsiteX30" fmla="*/ 710612 w 1225543"/>
                  <a:gd name="connsiteY30" fmla="*/ 566422 h 903351"/>
                  <a:gd name="connsiteX31" fmla="*/ 711273 w 1225543"/>
                  <a:gd name="connsiteY31" fmla="*/ 561629 h 903351"/>
                  <a:gd name="connsiteX32" fmla="*/ 713917 w 1225543"/>
                  <a:gd name="connsiteY32" fmla="*/ 544441 h 903351"/>
                  <a:gd name="connsiteX33" fmla="*/ 884972 w 1225543"/>
                  <a:gd name="connsiteY33" fmla="*/ 415200 h 903351"/>
                  <a:gd name="connsiteX34" fmla="*/ 965458 w 1225543"/>
                  <a:gd name="connsiteY34" fmla="*/ 434536 h 903351"/>
                  <a:gd name="connsiteX35" fmla="*/ 971739 w 1225543"/>
                  <a:gd name="connsiteY35" fmla="*/ 433875 h 903351"/>
                  <a:gd name="connsiteX36" fmla="*/ 992397 w 1225543"/>
                  <a:gd name="connsiteY36" fmla="*/ 405779 h 903351"/>
                  <a:gd name="connsiteX37" fmla="*/ 1056522 w 1225543"/>
                  <a:gd name="connsiteY37" fmla="*/ 310253 h 903351"/>
                  <a:gd name="connsiteX38" fmla="*/ 1163452 w 1225543"/>
                  <a:gd name="connsiteY38" fmla="*/ 52266 h 903351"/>
                  <a:gd name="connsiteX39" fmla="*/ 1179814 w 1225543"/>
                  <a:gd name="connsiteY39" fmla="*/ 8965 h 903351"/>
                  <a:gd name="connsiteX40" fmla="*/ 1192705 w 1225543"/>
                  <a:gd name="connsiteY40" fmla="*/ 702 h 903351"/>
                  <a:gd name="connsiteX41" fmla="*/ 1225098 w 1225543"/>
                  <a:gd name="connsiteY41" fmla="*/ 33425 h 903351"/>
                  <a:gd name="connsiteX42" fmla="*/ 1203943 w 1225543"/>
                  <a:gd name="connsiteY42" fmla="*/ 109119 h 903351"/>
                  <a:gd name="connsiteX43" fmla="*/ 1061976 w 1225543"/>
                  <a:gd name="connsiteY43" fmla="*/ 410076 h 903351"/>
                  <a:gd name="connsiteX44" fmla="*/ 1008759 w 1225543"/>
                  <a:gd name="connsiteY44" fmla="*/ 479820 h 903351"/>
                  <a:gd name="connsiteX45" fmla="*/ 988761 w 1225543"/>
                  <a:gd name="connsiteY45" fmla="*/ 494860 h 903351"/>
                  <a:gd name="connsiteX46" fmla="*/ 988761 w 1225543"/>
                  <a:gd name="connsiteY46" fmla="*/ 494860 h 903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225543" h="903351">
                    <a:moveTo>
                      <a:pt x="988761" y="494529"/>
                    </a:moveTo>
                    <a:cubicBezTo>
                      <a:pt x="974714" y="498991"/>
                      <a:pt x="968433" y="498000"/>
                      <a:pt x="950915" y="488580"/>
                    </a:cubicBezTo>
                    <a:cubicBezTo>
                      <a:pt x="936536" y="480812"/>
                      <a:pt x="926455" y="476845"/>
                      <a:pt x="911250" y="473209"/>
                    </a:cubicBezTo>
                    <a:cubicBezTo>
                      <a:pt x="895384" y="469243"/>
                      <a:pt x="867784" y="468747"/>
                      <a:pt x="852579" y="472053"/>
                    </a:cubicBezTo>
                    <a:cubicBezTo>
                      <a:pt x="820847" y="478994"/>
                      <a:pt x="792090" y="500148"/>
                      <a:pt x="777546" y="527418"/>
                    </a:cubicBezTo>
                    <a:cubicBezTo>
                      <a:pt x="766142" y="548738"/>
                      <a:pt x="762341" y="580470"/>
                      <a:pt x="768291" y="604930"/>
                    </a:cubicBezTo>
                    <a:cubicBezTo>
                      <a:pt x="773414" y="626084"/>
                      <a:pt x="773745" y="630547"/>
                      <a:pt x="771266" y="637488"/>
                    </a:cubicBezTo>
                    <a:cubicBezTo>
                      <a:pt x="768291" y="645586"/>
                      <a:pt x="763168" y="650544"/>
                      <a:pt x="754904" y="653354"/>
                    </a:cubicBezTo>
                    <a:cubicBezTo>
                      <a:pt x="741683" y="657816"/>
                      <a:pt x="733088" y="654180"/>
                      <a:pt x="718379" y="638149"/>
                    </a:cubicBezTo>
                    <a:cubicBezTo>
                      <a:pt x="705488" y="623936"/>
                      <a:pt x="698216" y="619804"/>
                      <a:pt x="685160" y="618647"/>
                    </a:cubicBezTo>
                    <a:cubicBezTo>
                      <a:pt x="671112" y="617325"/>
                      <a:pt x="661031" y="620796"/>
                      <a:pt x="650949" y="630381"/>
                    </a:cubicBezTo>
                    <a:cubicBezTo>
                      <a:pt x="641198" y="639471"/>
                      <a:pt x="639215" y="644429"/>
                      <a:pt x="638389" y="660295"/>
                    </a:cubicBezTo>
                    <a:cubicBezTo>
                      <a:pt x="637728" y="673021"/>
                      <a:pt x="635083" y="679797"/>
                      <a:pt x="628142" y="686243"/>
                    </a:cubicBezTo>
                    <a:cubicBezTo>
                      <a:pt x="618556" y="695333"/>
                      <a:pt x="603517" y="696324"/>
                      <a:pt x="592774" y="688391"/>
                    </a:cubicBezTo>
                    <a:cubicBezTo>
                      <a:pt x="590130" y="686408"/>
                      <a:pt x="584676" y="679962"/>
                      <a:pt x="580048" y="672525"/>
                    </a:cubicBezTo>
                    <a:cubicBezTo>
                      <a:pt x="568479" y="654676"/>
                      <a:pt x="535095" y="619804"/>
                      <a:pt x="517907" y="607078"/>
                    </a:cubicBezTo>
                    <a:cubicBezTo>
                      <a:pt x="440064" y="550060"/>
                      <a:pt x="338919" y="537995"/>
                      <a:pt x="247359" y="574520"/>
                    </a:cubicBezTo>
                    <a:cubicBezTo>
                      <a:pt x="192324" y="596501"/>
                      <a:pt x="144065" y="635009"/>
                      <a:pt x="109193" y="684755"/>
                    </a:cubicBezTo>
                    <a:cubicBezTo>
                      <a:pt x="73825" y="734997"/>
                      <a:pt x="53828" y="800114"/>
                      <a:pt x="54819" y="861760"/>
                    </a:cubicBezTo>
                    <a:cubicBezTo>
                      <a:pt x="55150" y="883080"/>
                      <a:pt x="54324" y="887542"/>
                      <a:pt x="48539" y="895144"/>
                    </a:cubicBezTo>
                    <a:cubicBezTo>
                      <a:pt x="38458" y="908366"/>
                      <a:pt x="14824" y="905060"/>
                      <a:pt x="5404" y="889194"/>
                    </a:cubicBezTo>
                    <a:cubicBezTo>
                      <a:pt x="611" y="881261"/>
                      <a:pt x="-381" y="873163"/>
                      <a:pt x="115" y="849860"/>
                    </a:cubicBezTo>
                    <a:cubicBezTo>
                      <a:pt x="1602" y="784909"/>
                      <a:pt x="21104" y="720784"/>
                      <a:pt x="56307" y="665253"/>
                    </a:cubicBezTo>
                    <a:cubicBezTo>
                      <a:pt x="113325" y="575181"/>
                      <a:pt x="209016" y="514196"/>
                      <a:pt x="313633" y="501305"/>
                    </a:cubicBezTo>
                    <a:cubicBezTo>
                      <a:pt x="337431" y="498330"/>
                      <a:pt x="377262" y="498661"/>
                      <a:pt x="400069" y="501801"/>
                    </a:cubicBezTo>
                    <a:cubicBezTo>
                      <a:pt x="469813" y="511387"/>
                      <a:pt x="531128" y="541466"/>
                      <a:pt x="585006" y="592369"/>
                    </a:cubicBezTo>
                    <a:lnTo>
                      <a:pt x="598724" y="605426"/>
                    </a:lnTo>
                    <a:lnTo>
                      <a:pt x="609631" y="594352"/>
                    </a:lnTo>
                    <a:cubicBezTo>
                      <a:pt x="617234" y="586585"/>
                      <a:pt x="623514" y="581461"/>
                      <a:pt x="630456" y="577164"/>
                    </a:cubicBezTo>
                    <a:cubicBezTo>
                      <a:pt x="649957" y="565430"/>
                      <a:pt x="676070" y="560803"/>
                      <a:pt x="698051" y="564934"/>
                    </a:cubicBezTo>
                    <a:cubicBezTo>
                      <a:pt x="704497" y="566257"/>
                      <a:pt x="710281" y="566918"/>
                      <a:pt x="710612" y="566422"/>
                    </a:cubicBezTo>
                    <a:cubicBezTo>
                      <a:pt x="710942" y="565926"/>
                      <a:pt x="711438" y="563777"/>
                      <a:pt x="711273" y="561629"/>
                    </a:cubicBezTo>
                    <a:cubicBezTo>
                      <a:pt x="711273" y="559480"/>
                      <a:pt x="712430" y="551713"/>
                      <a:pt x="713917" y="544441"/>
                    </a:cubicBezTo>
                    <a:cubicBezTo>
                      <a:pt x="730279" y="465937"/>
                      <a:pt x="800684" y="412720"/>
                      <a:pt x="884972" y="415200"/>
                    </a:cubicBezTo>
                    <a:cubicBezTo>
                      <a:pt x="912241" y="416026"/>
                      <a:pt x="944469" y="423628"/>
                      <a:pt x="965458" y="434536"/>
                    </a:cubicBezTo>
                    <a:cubicBezTo>
                      <a:pt x="968929" y="436354"/>
                      <a:pt x="970086" y="436189"/>
                      <a:pt x="971739" y="433875"/>
                    </a:cubicBezTo>
                    <a:cubicBezTo>
                      <a:pt x="972896" y="432222"/>
                      <a:pt x="982151" y="419662"/>
                      <a:pt x="992397" y="405779"/>
                    </a:cubicBezTo>
                    <a:cubicBezTo>
                      <a:pt x="1012560" y="378675"/>
                      <a:pt x="1042309" y="334217"/>
                      <a:pt x="1056522" y="310253"/>
                    </a:cubicBezTo>
                    <a:cubicBezTo>
                      <a:pt x="1097014" y="241996"/>
                      <a:pt x="1138992" y="140851"/>
                      <a:pt x="1163452" y="52266"/>
                    </a:cubicBezTo>
                    <a:cubicBezTo>
                      <a:pt x="1173038" y="17725"/>
                      <a:pt x="1173864" y="15245"/>
                      <a:pt x="1179814" y="8965"/>
                    </a:cubicBezTo>
                    <a:cubicBezTo>
                      <a:pt x="1184772" y="3511"/>
                      <a:pt x="1187251" y="2024"/>
                      <a:pt x="1192705" y="702"/>
                    </a:cubicBezTo>
                    <a:cubicBezTo>
                      <a:pt x="1211215" y="-3761"/>
                      <a:pt x="1228569" y="13758"/>
                      <a:pt x="1225098" y="33425"/>
                    </a:cubicBezTo>
                    <a:cubicBezTo>
                      <a:pt x="1223445" y="42680"/>
                      <a:pt x="1211711" y="84824"/>
                      <a:pt x="1203943" y="109119"/>
                    </a:cubicBezTo>
                    <a:cubicBezTo>
                      <a:pt x="1171220" y="212413"/>
                      <a:pt x="1115028" y="331242"/>
                      <a:pt x="1061976" y="410076"/>
                    </a:cubicBezTo>
                    <a:cubicBezTo>
                      <a:pt x="1040326" y="442138"/>
                      <a:pt x="1021981" y="466433"/>
                      <a:pt x="1008759" y="479820"/>
                    </a:cubicBezTo>
                    <a:cubicBezTo>
                      <a:pt x="997521" y="491389"/>
                      <a:pt x="996033" y="492546"/>
                      <a:pt x="988761" y="494860"/>
                    </a:cubicBezTo>
                    <a:lnTo>
                      <a:pt x="988761" y="49486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798147BB-34FA-82C1-E0D8-00B58F36C807}"/>
                  </a:ext>
                </a:extLst>
              </p:cNvPr>
              <p:cNvSpPr/>
              <p:nvPr/>
            </p:nvSpPr>
            <p:spPr>
              <a:xfrm>
                <a:off x="8818213" y="1211856"/>
                <a:ext cx="644553" cy="644553"/>
              </a:xfrm>
              <a:custGeom>
                <a:avLst/>
                <a:gdLst>
                  <a:gd name="connsiteX0" fmla="*/ 322277 w 644553"/>
                  <a:gd name="connsiteY0" fmla="*/ 0 h 644553"/>
                  <a:gd name="connsiteX1" fmla="*/ 322277 w 644553"/>
                  <a:gd name="connsiteY1" fmla="*/ 0 h 644553"/>
                  <a:gd name="connsiteX2" fmla="*/ 0 w 644553"/>
                  <a:gd name="connsiteY2" fmla="*/ 322277 h 644553"/>
                  <a:gd name="connsiteX3" fmla="*/ 322277 w 644553"/>
                  <a:gd name="connsiteY3" fmla="*/ 644554 h 644553"/>
                  <a:gd name="connsiteX4" fmla="*/ 322277 w 644553"/>
                  <a:gd name="connsiteY4" fmla="*/ 644554 h 644553"/>
                  <a:gd name="connsiteX5" fmla="*/ 644554 w 644553"/>
                  <a:gd name="connsiteY5" fmla="*/ 322277 h 644553"/>
                  <a:gd name="connsiteX6" fmla="*/ 322277 w 644553"/>
                  <a:gd name="connsiteY6" fmla="*/ 0 h 644553"/>
                  <a:gd name="connsiteX7" fmla="*/ 617945 w 644553"/>
                  <a:gd name="connsiteY7" fmla="*/ 322442 h 644553"/>
                  <a:gd name="connsiteX8" fmla="*/ 506057 w 644553"/>
                  <a:gd name="connsiteY8" fmla="*/ 345249 h 644553"/>
                  <a:gd name="connsiteX9" fmla="*/ 538120 w 644553"/>
                  <a:gd name="connsiteY9" fmla="*/ 302445 h 644553"/>
                  <a:gd name="connsiteX10" fmla="*/ 617945 w 644553"/>
                  <a:gd name="connsiteY10" fmla="*/ 322442 h 644553"/>
                  <a:gd name="connsiteX11" fmla="*/ 557126 w 644553"/>
                  <a:gd name="connsiteY11" fmla="*/ 272531 h 644553"/>
                  <a:gd name="connsiteX12" fmla="*/ 588693 w 644553"/>
                  <a:gd name="connsiteY12" fmla="*/ 193862 h 644553"/>
                  <a:gd name="connsiteX13" fmla="*/ 616293 w 644553"/>
                  <a:gd name="connsiteY13" fmla="*/ 289553 h 644553"/>
                  <a:gd name="connsiteX14" fmla="*/ 600923 w 644553"/>
                  <a:gd name="connsiteY14" fmla="*/ 285256 h 644553"/>
                  <a:gd name="connsiteX15" fmla="*/ 554151 w 644553"/>
                  <a:gd name="connsiteY15" fmla="*/ 277654 h 644553"/>
                  <a:gd name="connsiteX16" fmla="*/ 557126 w 644553"/>
                  <a:gd name="connsiteY16" fmla="*/ 272696 h 644553"/>
                  <a:gd name="connsiteX17" fmla="*/ 548036 w 644553"/>
                  <a:gd name="connsiteY17" fmla="*/ 131720 h 644553"/>
                  <a:gd name="connsiteX18" fmla="*/ 549193 w 644553"/>
                  <a:gd name="connsiteY18" fmla="*/ 133043 h 644553"/>
                  <a:gd name="connsiteX19" fmla="*/ 502752 w 644553"/>
                  <a:gd name="connsiteY19" fmla="*/ 261623 h 644553"/>
                  <a:gd name="connsiteX20" fmla="*/ 471681 w 644553"/>
                  <a:gd name="connsiteY20" fmla="*/ 133043 h 644553"/>
                  <a:gd name="connsiteX21" fmla="*/ 548036 w 644553"/>
                  <a:gd name="connsiteY21" fmla="*/ 131886 h 644553"/>
                  <a:gd name="connsiteX22" fmla="*/ 322277 w 644553"/>
                  <a:gd name="connsiteY22" fmla="*/ 351530 h 644553"/>
                  <a:gd name="connsiteX23" fmla="*/ 168576 w 644553"/>
                  <a:gd name="connsiteY23" fmla="*/ 347233 h 644553"/>
                  <a:gd name="connsiteX24" fmla="*/ 215843 w 644553"/>
                  <a:gd name="connsiteY24" fmla="*/ 295007 h 644553"/>
                  <a:gd name="connsiteX25" fmla="*/ 322277 w 644553"/>
                  <a:gd name="connsiteY25" fmla="*/ 293024 h 644553"/>
                  <a:gd name="connsiteX26" fmla="*/ 475978 w 644553"/>
                  <a:gd name="connsiteY26" fmla="*/ 297321 h 644553"/>
                  <a:gd name="connsiteX27" fmla="*/ 428711 w 644553"/>
                  <a:gd name="connsiteY27" fmla="*/ 349547 h 644553"/>
                  <a:gd name="connsiteX28" fmla="*/ 322277 w 644553"/>
                  <a:gd name="connsiteY28" fmla="*/ 351530 h 644553"/>
                  <a:gd name="connsiteX29" fmla="*/ 399954 w 644553"/>
                  <a:gd name="connsiteY29" fmla="*/ 377147 h 644553"/>
                  <a:gd name="connsiteX30" fmla="*/ 381774 w 644553"/>
                  <a:gd name="connsiteY30" fmla="*/ 393178 h 644553"/>
                  <a:gd name="connsiteX31" fmla="*/ 261292 w 644553"/>
                  <a:gd name="connsiteY31" fmla="*/ 474987 h 644553"/>
                  <a:gd name="connsiteX32" fmla="*/ 198159 w 644553"/>
                  <a:gd name="connsiteY32" fmla="*/ 503248 h 644553"/>
                  <a:gd name="connsiteX33" fmla="*/ 167749 w 644553"/>
                  <a:gd name="connsiteY33" fmla="*/ 374007 h 644553"/>
                  <a:gd name="connsiteX34" fmla="*/ 322442 w 644553"/>
                  <a:gd name="connsiteY34" fmla="*/ 378304 h 644553"/>
                  <a:gd name="connsiteX35" fmla="*/ 400119 w 644553"/>
                  <a:gd name="connsiteY35" fmla="*/ 377312 h 644553"/>
                  <a:gd name="connsiteX36" fmla="*/ 322277 w 644553"/>
                  <a:gd name="connsiteY36" fmla="*/ 266581 h 644553"/>
                  <a:gd name="connsiteX37" fmla="*/ 244600 w 644553"/>
                  <a:gd name="connsiteY37" fmla="*/ 267573 h 644553"/>
                  <a:gd name="connsiteX38" fmla="*/ 262780 w 644553"/>
                  <a:gd name="connsiteY38" fmla="*/ 251541 h 644553"/>
                  <a:gd name="connsiteX39" fmla="*/ 383262 w 644553"/>
                  <a:gd name="connsiteY39" fmla="*/ 169733 h 644553"/>
                  <a:gd name="connsiteX40" fmla="*/ 446395 w 644553"/>
                  <a:gd name="connsiteY40" fmla="*/ 141471 h 644553"/>
                  <a:gd name="connsiteX41" fmla="*/ 476804 w 644553"/>
                  <a:gd name="connsiteY41" fmla="*/ 270713 h 644553"/>
                  <a:gd name="connsiteX42" fmla="*/ 322112 w 644553"/>
                  <a:gd name="connsiteY42" fmla="*/ 266416 h 644553"/>
                  <a:gd name="connsiteX43" fmla="*/ 494819 w 644553"/>
                  <a:gd name="connsiteY43" fmla="*/ 82305 h 644553"/>
                  <a:gd name="connsiteX44" fmla="*/ 449535 w 644553"/>
                  <a:gd name="connsiteY44" fmla="*/ 88089 h 644553"/>
                  <a:gd name="connsiteX45" fmla="*/ 413010 w 644553"/>
                  <a:gd name="connsiteY45" fmla="*/ 40822 h 644553"/>
                  <a:gd name="connsiteX46" fmla="*/ 494819 w 644553"/>
                  <a:gd name="connsiteY46" fmla="*/ 82305 h 644553"/>
                  <a:gd name="connsiteX47" fmla="*/ 322277 w 644553"/>
                  <a:gd name="connsiteY47" fmla="*/ 26608 h 644553"/>
                  <a:gd name="connsiteX48" fmla="*/ 322277 w 644553"/>
                  <a:gd name="connsiteY48" fmla="*/ 26608 h 644553"/>
                  <a:gd name="connsiteX49" fmla="*/ 423257 w 644553"/>
                  <a:gd name="connsiteY49" fmla="*/ 95857 h 644553"/>
                  <a:gd name="connsiteX50" fmla="*/ 412184 w 644553"/>
                  <a:gd name="connsiteY50" fmla="*/ 99823 h 644553"/>
                  <a:gd name="connsiteX51" fmla="*/ 227742 w 644553"/>
                  <a:gd name="connsiteY51" fmla="*/ 209728 h 644553"/>
                  <a:gd name="connsiteX52" fmla="*/ 168080 w 644553"/>
                  <a:gd name="connsiteY52" fmla="*/ 265920 h 644553"/>
                  <a:gd name="connsiteX53" fmla="*/ 322277 w 644553"/>
                  <a:gd name="connsiteY53" fmla="*/ 26608 h 644553"/>
                  <a:gd name="connsiteX54" fmla="*/ 231544 w 644553"/>
                  <a:gd name="connsiteY54" fmla="*/ 40822 h 644553"/>
                  <a:gd name="connsiteX55" fmla="*/ 140645 w 644553"/>
                  <a:gd name="connsiteY55" fmla="*/ 272696 h 644553"/>
                  <a:gd name="connsiteX56" fmla="*/ 110566 w 644553"/>
                  <a:gd name="connsiteY56" fmla="*/ 275340 h 644553"/>
                  <a:gd name="connsiteX57" fmla="*/ 43797 w 644553"/>
                  <a:gd name="connsiteY57" fmla="*/ 285256 h 644553"/>
                  <a:gd name="connsiteX58" fmla="*/ 28427 w 644553"/>
                  <a:gd name="connsiteY58" fmla="*/ 289553 h 644553"/>
                  <a:gd name="connsiteX59" fmla="*/ 231544 w 644553"/>
                  <a:gd name="connsiteY59" fmla="*/ 40987 h 644553"/>
                  <a:gd name="connsiteX60" fmla="*/ 26609 w 644553"/>
                  <a:gd name="connsiteY60" fmla="*/ 322442 h 644553"/>
                  <a:gd name="connsiteX61" fmla="*/ 138496 w 644553"/>
                  <a:gd name="connsiteY61" fmla="*/ 299635 h 644553"/>
                  <a:gd name="connsiteX62" fmla="*/ 106434 w 644553"/>
                  <a:gd name="connsiteY62" fmla="*/ 342440 h 644553"/>
                  <a:gd name="connsiteX63" fmla="*/ 26609 w 644553"/>
                  <a:gd name="connsiteY63" fmla="*/ 322442 h 644553"/>
                  <a:gd name="connsiteX64" fmla="*/ 87428 w 644553"/>
                  <a:gd name="connsiteY64" fmla="*/ 372189 h 644553"/>
                  <a:gd name="connsiteX65" fmla="*/ 55861 w 644553"/>
                  <a:gd name="connsiteY65" fmla="*/ 450857 h 644553"/>
                  <a:gd name="connsiteX66" fmla="*/ 28261 w 644553"/>
                  <a:gd name="connsiteY66" fmla="*/ 355166 h 644553"/>
                  <a:gd name="connsiteX67" fmla="*/ 43631 w 644553"/>
                  <a:gd name="connsiteY67" fmla="*/ 359463 h 644553"/>
                  <a:gd name="connsiteX68" fmla="*/ 90403 w 644553"/>
                  <a:gd name="connsiteY68" fmla="*/ 367065 h 644553"/>
                  <a:gd name="connsiteX69" fmla="*/ 87428 w 644553"/>
                  <a:gd name="connsiteY69" fmla="*/ 372023 h 644553"/>
                  <a:gd name="connsiteX70" fmla="*/ 96353 w 644553"/>
                  <a:gd name="connsiteY70" fmla="*/ 513164 h 644553"/>
                  <a:gd name="connsiteX71" fmla="*/ 95196 w 644553"/>
                  <a:gd name="connsiteY71" fmla="*/ 511842 h 644553"/>
                  <a:gd name="connsiteX72" fmla="*/ 141636 w 644553"/>
                  <a:gd name="connsiteY72" fmla="*/ 383262 h 644553"/>
                  <a:gd name="connsiteX73" fmla="*/ 172707 w 644553"/>
                  <a:gd name="connsiteY73" fmla="*/ 511842 h 644553"/>
                  <a:gd name="connsiteX74" fmla="*/ 96353 w 644553"/>
                  <a:gd name="connsiteY74" fmla="*/ 512999 h 644553"/>
                  <a:gd name="connsiteX75" fmla="*/ 149735 w 644553"/>
                  <a:gd name="connsiteY75" fmla="*/ 562415 h 644553"/>
                  <a:gd name="connsiteX76" fmla="*/ 195019 w 644553"/>
                  <a:gd name="connsiteY76" fmla="*/ 556630 h 644553"/>
                  <a:gd name="connsiteX77" fmla="*/ 231544 w 644553"/>
                  <a:gd name="connsiteY77" fmla="*/ 603897 h 644553"/>
                  <a:gd name="connsiteX78" fmla="*/ 149735 w 644553"/>
                  <a:gd name="connsiteY78" fmla="*/ 562415 h 644553"/>
                  <a:gd name="connsiteX79" fmla="*/ 322277 w 644553"/>
                  <a:gd name="connsiteY79" fmla="*/ 618111 h 644553"/>
                  <a:gd name="connsiteX80" fmla="*/ 221297 w 644553"/>
                  <a:gd name="connsiteY80" fmla="*/ 548862 h 644553"/>
                  <a:gd name="connsiteX81" fmla="*/ 232370 w 644553"/>
                  <a:gd name="connsiteY81" fmla="*/ 544896 h 644553"/>
                  <a:gd name="connsiteX82" fmla="*/ 416812 w 644553"/>
                  <a:gd name="connsiteY82" fmla="*/ 434991 h 644553"/>
                  <a:gd name="connsiteX83" fmla="*/ 476474 w 644553"/>
                  <a:gd name="connsiteY83" fmla="*/ 378799 h 644553"/>
                  <a:gd name="connsiteX84" fmla="*/ 322277 w 644553"/>
                  <a:gd name="connsiteY84" fmla="*/ 618111 h 644553"/>
                  <a:gd name="connsiteX85" fmla="*/ 413010 w 644553"/>
                  <a:gd name="connsiteY85" fmla="*/ 603897 h 644553"/>
                  <a:gd name="connsiteX86" fmla="*/ 503909 w 644553"/>
                  <a:gd name="connsiteY86" fmla="*/ 372023 h 644553"/>
                  <a:gd name="connsiteX87" fmla="*/ 533988 w 644553"/>
                  <a:gd name="connsiteY87" fmla="*/ 369379 h 644553"/>
                  <a:gd name="connsiteX88" fmla="*/ 600757 w 644553"/>
                  <a:gd name="connsiteY88" fmla="*/ 359463 h 644553"/>
                  <a:gd name="connsiteX89" fmla="*/ 616127 w 644553"/>
                  <a:gd name="connsiteY89" fmla="*/ 355166 h 644553"/>
                  <a:gd name="connsiteX90" fmla="*/ 413010 w 644553"/>
                  <a:gd name="connsiteY90" fmla="*/ 603732 h 644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44553" h="644553">
                    <a:moveTo>
                      <a:pt x="322277" y="0"/>
                    </a:moveTo>
                    <a:lnTo>
                      <a:pt x="322277" y="0"/>
                    </a:lnTo>
                    <a:cubicBezTo>
                      <a:pt x="144611" y="0"/>
                      <a:pt x="0" y="144611"/>
                      <a:pt x="0" y="322277"/>
                    </a:cubicBezTo>
                    <a:cubicBezTo>
                      <a:pt x="0" y="499942"/>
                      <a:pt x="144611" y="644554"/>
                      <a:pt x="322277" y="644554"/>
                    </a:cubicBezTo>
                    <a:lnTo>
                      <a:pt x="322277" y="644554"/>
                    </a:lnTo>
                    <a:cubicBezTo>
                      <a:pt x="499942" y="644554"/>
                      <a:pt x="644554" y="499942"/>
                      <a:pt x="644554" y="322277"/>
                    </a:cubicBezTo>
                    <a:cubicBezTo>
                      <a:pt x="644554" y="144611"/>
                      <a:pt x="499942" y="0"/>
                      <a:pt x="322277" y="0"/>
                    </a:cubicBezTo>
                    <a:close/>
                    <a:moveTo>
                      <a:pt x="617945" y="322442"/>
                    </a:moveTo>
                    <a:cubicBezTo>
                      <a:pt x="617945" y="331697"/>
                      <a:pt x="574149" y="339961"/>
                      <a:pt x="506057" y="345249"/>
                    </a:cubicBezTo>
                    <a:cubicBezTo>
                      <a:pt x="517461" y="331367"/>
                      <a:pt x="528204" y="317154"/>
                      <a:pt x="538120" y="302445"/>
                    </a:cubicBezTo>
                    <a:cubicBezTo>
                      <a:pt x="587701" y="307733"/>
                      <a:pt x="617945" y="314674"/>
                      <a:pt x="617945" y="322442"/>
                    </a:cubicBezTo>
                    <a:close/>
                    <a:moveTo>
                      <a:pt x="557126" y="272531"/>
                    </a:moveTo>
                    <a:cubicBezTo>
                      <a:pt x="570678" y="249393"/>
                      <a:pt x="584230" y="221958"/>
                      <a:pt x="588693" y="193862"/>
                    </a:cubicBezTo>
                    <a:cubicBezTo>
                      <a:pt x="602906" y="223280"/>
                      <a:pt x="612491" y="255508"/>
                      <a:pt x="616293" y="289553"/>
                    </a:cubicBezTo>
                    <a:cubicBezTo>
                      <a:pt x="610508" y="287405"/>
                      <a:pt x="604889" y="286083"/>
                      <a:pt x="600923" y="285256"/>
                    </a:cubicBezTo>
                    <a:cubicBezTo>
                      <a:pt x="588858" y="282447"/>
                      <a:pt x="573157" y="279803"/>
                      <a:pt x="554151" y="277654"/>
                    </a:cubicBezTo>
                    <a:cubicBezTo>
                      <a:pt x="555143" y="276001"/>
                      <a:pt x="556134" y="274349"/>
                      <a:pt x="557126" y="272696"/>
                    </a:cubicBezTo>
                    <a:close/>
                    <a:moveTo>
                      <a:pt x="548036" y="131720"/>
                    </a:moveTo>
                    <a:cubicBezTo>
                      <a:pt x="548036" y="131720"/>
                      <a:pt x="548697" y="132547"/>
                      <a:pt x="549193" y="133043"/>
                    </a:cubicBezTo>
                    <a:cubicBezTo>
                      <a:pt x="567373" y="157337"/>
                      <a:pt x="529030" y="222784"/>
                      <a:pt x="502752" y="261623"/>
                    </a:cubicBezTo>
                    <a:cubicBezTo>
                      <a:pt x="497794" y="214025"/>
                      <a:pt x="487051" y="170394"/>
                      <a:pt x="471681" y="133043"/>
                    </a:cubicBezTo>
                    <a:cubicBezTo>
                      <a:pt x="503909" y="123126"/>
                      <a:pt x="535310" y="118499"/>
                      <a:pt x="548036" y="131886"/>
                    </a:cubicBezTo>
                    <a:close/>
                    <a:moveTo>
                      <a:pt x="322277" y="351530"/>
                    </a:moveTo>
                    <a:cubicBezTo>
                      <a:pt x="265920" y="351530"/>
                      <a:pt x="213364" y="350042"/>
                      <a:pt x="168576" y="347233"/>
                    </a:cubicBezTo>
                    <a:cubicBezTo>
                      <a:pt x="183285" y="329218"/>
                      <a:pt x="199151" y="311865"/>
                      <a:pt x="215843" y="295007"/>
                    </a:cubicBezTo>
                    <a:cubicBezTo>
                      <a:pt x="248897" y="293685"/>
                      <a:pt x="284761" y="293024"/>
                      <a:pt x="322277" y="293024"/>
                    </a:cubicBezTo>
                    <a:cubicBezTo>
                      <a:pt x="378634" y="293024"/>
                      <a:pt x="431190" y="294512"/>
                      <a:pt x="475978" y="297321"/>
                    </a:cubicBezTo>
                    <a:cubicBezTo>
                      <a:pt x="461269" y="315336"/>
                      <a:pt x="445403" y="332689"/>
                      <a:pt x="428711" y="349547"/>
                    </a:cubicBezTo>
                    <a:cubicBezTo>
                      <a:pt x="395657" y="350869"/>
                      <a:pt x="359793" y="351530"/>
                      <a:pt x="322277" y="351530"/>
                    </a:cubicBezTo>
                    <a:close/>
                    <a:moveTo>
                      <a:pt x="399954" y="377147"/>
                    </a:moveTo>
                    <a:cubicBezTo>
                      <a:pt x="394004" y="382601"/>
                      <a:pt x="387889" y="387889"/>
                      <a:pt x="381774" y="393178"/>
                    </a:cubicBezTo>
                    <a:cubicBezTo>
                      <a:pt x="344093" y="424579"/>
                      <a:pt x="303271" y="452014"/>
                      <a:pt x="261292" y="474987"/>
                    </a:cubicBezTo>
                    <a:cubicBezTo>
                      <a:pt x="252864" y="479614"/>
                      <a:pt x="227081" y="492340"/>
                      <a:pt x="198159" y="503248"/>
                    </a:cubicBezTo>
                    <a:cubicBezTo>
                      <a:pt x="182954" y="466062"/>
                      <a:pt x="172212" y="422100"/>
                      <a:pt x="167749" y="374007"/>
                    </a:cubicBezTo>
                    <a:cubicBezTo>
                      <a:pt x="214025" y="376816"/>
                      <a:pt x="267077" y="378304"/>
                      <a:pt x="322442" y="378304"/>
                    </a:cubicBezTo>
                    <a:cubicBezTo>
                      <a:pt x="349051" y="378304"/>
                      <a:pt x="374998" y="377973"/>
                      <a:pt x="400119" y="377312"/>
                    </a:cubicBezTo>
                    <a:close/>
                    <a:moveTo>
                      <a:pt x="322277" y="266581"/>
                    </a:moveTo>
                    <a:cubicBezTo>
                      <a:pt x="295668" y="266581"/>
                      <a:pt x="269721" y="266911"/>
                      <a:pt x="244600" y="267573"/>
                    </a:cubicBezTo>
                    <a:cubicBezTo>
                      <a:pt x="250549" y="262119"/>
                      <a:pt x="256665" y="256830"/>
                      <a:pt x="262780" y="251541"/>
                    </a:cubicBezTo>
                    <a:cubicBezTo>
                      <a:pt x="300461" y="220140"/>
                      <a:pt x="341283" y="192705"/>
                      <a:pt x="383262" y="169733"/>
                    </a:cubicBezTo>
                    <a:cubicBezTo>
                      <a:pt x="391690" y="165105"/>
                      <a:pt x="417473" y="152379"/>
                      <a:pt x="446395" y="141471"/>
                    </a:cubicBezTo>
                    <a:cubicBezTo>
                      <a:pt x="461600" y="178657"/>
                      <a:pt x="472342" y="222619"/>
                      <a:pt x="476804" y="270713"/>
                    </a:cubicBezTo>
                    <a:cubicBezTo>
                      <a:pt x="430529" y="267903"/>
                      <a:pt x="377477" y="266416"/>
                      <a:pt x="322112" y="266416"/>
                    </a:cubicBezTo>
                    <a:close/>
                    <a:moveTo>
                      <a:pt x="494819" y="82305"/>
                    </a:moveTo>
                    <a:cubicBezTo>
                      <a:pt x="479779" y="82139"/>
                      <a:pt x="464409" y="84453"/>
                      <a:pt x="449535" y="88089"/>
                    </a:cubicBezTo>
                    <a:cubicBezTo>
                      <a:pt x="438627" y="69744"/>
                      <a:pt x="426397" y="53878"/>
                      <a:pt x="413010" y="40822"/>
                    </a:cubicBezTo>
                    <a:cubicBezTo>
                      <a:pt x="442594" y="50407"/>
                      <a:pt x="470029" y="64455"/>
                      <a:pt x="494819" y="82305"/>
                    </a:cubicBezTo>
                    <a:close/>
                    <a:moveTo>
                      <a:pt x="322277" y="26608"/>
                    </a:moveTo>
                    <a:lnTo>
                      <a:pt x="322277" y="26608"/>
                    </a:lnTo>
                    <a:cubicBezTo>
                      <a:pt x="360620" y="26608"/>
                      <a:pt x="395822" y="52721"/>
                      <a:pt x="423257" y="95857"/>
                    </a:cubicBezTo>
                    <a:cubicBezTo>
                      <a:pt x="419456" y="97179"/>
                      <a:pt x="415820" y="98501"/>
                      <a:pt x="412184" y="99823"/>
                    </a:cubicBezTo>
                    <a:cubicBezTo>
                      <a:pt x="346406" y="124283"/>
                      <a:pt x="283438" y="162791"/>
                      <a:pt x="227742" y="209728"/>
                    </a:cubicBezTo>
                    <a:cubicBezTo>
                      <a:pt x="206753" y="227247"/>
                      <a:pt x="186755" y="246087"/>
                      <a:pt x="168080" y="265920"/>
                    </a:cubicBezTo>
                    <a:cubicBezTo>
                      <a:pt x="182128" y="129737"/>
                      <a:pt x="245922" y="26608"/>
                      <a:pt x="322277" y="26608"/>
                    </a:cubicBezTo>
                    <a:close/>
                    <a:moveTo>
                      <a:pt x="231544" y="40822"/>
                    </a:moveTo>
                    <a:cubicBezTo>
                      <a:pt x="183450" y="87924"/>
                      <a:pt x="149239" y="171881"/>
                      <a:pt x="140645" y="272696"/>
                    </a:cubicBezTo>
                    <a:cubicBezTo>
                      <a:pt x="130233" y="273522"/>
                      <a:pt x="120151" y="274349"/>
                      <a:pt x="110566" y="275340"/>
                    </a:cubicBezTo>
                    <a:cubicBezTo>
                      <a:pt x="82305" y="278150"/>
                      <a:pt x="59828" y="281455"/>
                      <a:pt x="43797" y="285256"/>
                    </a:cubicBezTo>
                    <a:cubicBezTo>
                      <a:pt x="39830" y="286248"/>
                      <a:pt x="34211" y="287570"/>
                      <a:pt x="28427" y="289553"/>
                    </a:cubicBezTo>
                    <a:cubicBezTo>
                      <a:pt x="41483" y="172542"/>
                      <a:pt x="122796" y="76024"/>
                      <a:pt x="231544" y="40987"/>
                    </a:cubicBezTo>
                    <a:close/>
                    <a:moveTo>
                      <a:pt x="26609" y="322442"/>
                    </a:moveTo>
                    <a:cubicBezTo>
                      <a:pt x="26609" y="313187"/>
                      <a:pt x="70405" y="304924"/>
                      <a:pt x="138496" y="299635"/>
                    </a:cubicBezTo>
                    <a:cubicBezTo>
                      <a:pt x="127093" y="313518"/>
                      <a:pt x="116350" y="327731"/>
                      <a:pt x="106434" y="342440"/>
                    </a:cubicBezTo>
                    <a:cubicBezTo>
                      <a:pt x="56853" y="337151"/>
                      <a:pt x="26609" y="330210"/>
                      <a:pt x="26609" y="322442"/>
                    </a:cubicBezTo>
                    <a:close/>
                    <a:moveTo>
                      <a:pt x="87428" y="372189"/>
                    </a:moveTo>
                    <a:cubicBezTo>
                      <a:pt x="73876" y="395326"/>
                      <a:pt x="60324" y="422761"/>
                      <a:pt x="55861" y="450857"/>
                    </a:cubicBezTo>
                    <a:cubicBezTo>
                      <a:pt x="41648" y="421439"/>
                      <a:pt x="32062" y="389211"/>
                      <a:pt x="28261" y="355166"/>
                    </a:cubicBezTo>
                    <a:cubicBezTo>
                      <a:pt x="34046" y="357314"/>
                      <a:pt x="39665" y="358636"/>
                      <a:pt x="43631" y="359463"/>
                    </a:cubicBezTo>
                    <a:cubicBezTo>
                      <a:pt x="55696" y="362272"/>
                      <a:pt x="71397" y="364917"/>
                      <a:pt x="90403" y="367065"/>
                    </a:cubicBezTo>
                    <a:cubicBezTo>
                      <a:pt x="89411" y="368718"/>
                      <a:pt x="88419" y="370371"/>
                      <a:pt x="87428" y="372023"/>
                    </a:cubicBezTo>
                    <a:close/>
                    <a:moveTo>
                      <a:pt x="96353" y="513164"/>
                    </a:moveTo>
                    <a:cubicBezTo>
                      <a:pt x="96353" y="513164"/>
                      <a:pt x="95691" y="512338"/>
                      <a:pt x="95196" y="511842"/>
                    </a:cubicBezTo>
                    <a:cubicBezTo>
                      <a:pt x="77016" y="487547"/>
                      <a:pt x="115359" y="422100"/>
                      <a:pt x="141636" y="383262"/>
                    </a:cubicBezTo>
                    <a:cubicBezTo>
                      <a:pt x="146595" y="430859"/>
                      <a:pt x="157337" y="474491"/>
                      <a:pt x="172707" y="511842"/>
                    </a:cubicBezTo>
                    <a:cubicBezTo>
                      <a:pt x="140480" y="521758"/>
                      <a:pt x="109078" y="526386"/>
                      <a:pt x="96353" y="512999"/>
                    </a:cubicBezTo>
                    <a:close/>
                    <a:moveTo>
                      <a:pt x="149735" y="562415"/>
                    </a:moveTo>
                    <a:cubicBezTo>
                      <a:pt x="164774" y="562580"/>
                      <a:pt x="180144" y="560266"/>
                      <a:pt x="195019" y="556630"/>
                    </a:cubicBezTo>
                    <a:cubicBezTo>
                      <a:pt x="205927" y="574975"/>
                      <a:pt x="218157" y="590841"/>
                      <a:pt x="231544" y="603897"/>
                    </a:cubicBezTo>
                    <a:cubicBezTo>
                      <a:pt x="201960" y="594312"/>
                      <a:pt x="174525" y="580264"/>
                      <a:pt x="149735" y="562415"/>
                    </a:cubicBezTo>
                    <a:close/>
                    <a:moveTo>
                      <a:pt x="322277" y="618111"/>
                    </a:moveTo>
                    <a:cubicBezTo>
                      <a:pt x="283934" y="618111"/>
                      <a:pt x="248732" y="591998"/>
                      <a:pt x="221297" y="548862"/>
                    </a:cubicBezTo>
                    <a:cubicBezTo>
                      <a:pt x="225098" y="547540"/>
                      <a:pt x="228734" y="546218"/>
                      <a:pt x="232370" y="544896"/>
                    </a:cubicBezTo>
                    <a:cubicBezTo>
                      <a:pt x="298147" y="520436"/>
                      <a:pt x="361115" y="481928"/>
                      <a:pt x="416812" y="434991"/>
                    </a:cubicBezTo>
                    <a:cubicBezTo>
                      <a:pt x="437801" y="417473"/>
                      <a:pt x="457799" y="398632"/>
                      <a:pt x="476474" y="378799"/>
                    </a:cubicBezTo>
                    <a:cubicBezTo>
                      <a:pt x="462426" y="514982"/>
                      <a:pt x="398632" y="618111"/>
                      <a:pt x="322277" y="618111"/>
                    </a:cubicBezTo>
                    <a:close/>
                    <a:moveTo>
                      <a:pt x="413010" y="603897"/>
                    </a:moveTo>
                    <a:cubicBezTo>
                      <a:pt x="461104" y="556795"/>
                      <a:pt x="495315" y="472838"/>
                      <a:pt x="503909" y="372023"/>
                    </a:cubicBezTo>
                    <a:cubicBezTo>
                      <a:pt x="514486" y="371197"/>
                      <a:pt x="524402" y="370371"/>
                      <a:pt x="533988" y="369379"/>
                    </a:cubicBezTo>
                    <a:cubicBezTo>
                      <a:pt x="562249" y="366569"/>
                      <a:pt x="584726" y="363264"/>
                      <a:pt x="600757" y="359463"/>
                    </a:cubicBezTo>
                    <a:cubicBezTo>
                      <a:pt x="604724" y="358471"/>
                      <a:pt x="610343" y="357149"/>
                      <a:pt x="616127" y="355166"/>
                    </a:cubicBezTo>
                    <a:cubicBezTo>
                      <a:pt x="603071" y="472177"/>
                      <a:pt x="521758" y="568695"/>
                      <a:pt x="413010" y="60373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9449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Abstract Photo Light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glass&#10;&#10;Description automatically generated">
            <a:extLst>
              <a:ext uri="{FF2B5EF4-FFF2-40B4-BE49-F238E27FC236}">
                <a16:creationId xmlns:a16="http://schemas.microsoft.com/office/drawing/2014/main" id="{2B28DF2B-AFB7-EE9B-21A3-3C3205C33B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DDA6759-FE31-55DB-880A-9DD3FD25CA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0E29A858-2A50-483C-7D4C-F78225DAD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593B722-E41D-24FA-DEB2-CF42BA53F0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A9E7AB7-A40B-B207-FCDB-70D9524F11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902124"/>
            <a:ext cx="50007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8346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aphic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green and white curves on a black background&#10;&#10;Description automatically generated">
            <a:extLst>
              <a:ext uri="{FF2B5EF4-FFF2-40B4-BE49-F238E27FC236}">
                <a16:creationId xmlns:a16="http://schemas.microsoft.com/office/drawing/2014/main" id="{6018376F-C964-89EF-6C02-915025D7F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CB2CCAE-4B5A-FCBB-2D39-8A959D60AE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02E906A8-4ABF-9D0B-9270-7494694E1A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2B5BBF-BD05-9947-FC9E-F7F6619954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4C90EC0-069B-11FC-32DD-53858E882A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902124"/>
            <a:ext cx="50007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7048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aphic Dark Teal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and black spiral&#10;&#10;Description automatically generated with medium confidence">
            <a:extLst>
              <a:ext uri="{FF2B5EF4-FFF2-40B4-BE49-F238E27FC236}">
                <a16:creationId xmlns:a16="http://schemas.microsoft.com/office/drawing/2014/main" id="{DA94B671-7870-0439-F820-D93EB1D88F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788" b="-7167"/>
          <a:stretch/>
        </p:blipFill>
        <p:spPr>
          <a:xfrm>
            <a:off x="6524369" y="0"/>
            <a:ext cx="5667632" cy="6477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A2FD02-365F-DD57-9FD8-E68DD73FA1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B786649-AE2F-61AA-C253-9342B29072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4CE1952-B071-8C30-0340-D40C75B164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B5F3490-E3A3-3851-C06A-1CEB6A8FBB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902124"/>
            <a:ext cx="50007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5314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aphic Light Teal BG">
    <p:bg>
      <p:bgPr>
        <a:solidFill>
          <a:srgbClr val="D1E0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green spiral&#10;&#10;Description automatically generated with medium confidence">
            <a:extLst>
              <a:ext uri="{FF2B5EF4-FFF2-40B4-BE49-F238E27FC236}">
                <a16:creationId xmlns:a16="http://schemas.microsoft.com/office/drawing/2014/main" id="{68259633-A34D-43FC-1512-F0DAD72CF0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659393" y="0"/>
            <a:ext cx="6532606" cy="6116594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DDA6759-FE31-55DB-880A-9DD3FD25CA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0E29A858-2A50-483C-7D4C-F78225DAD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DF69EC7-A3BA-50B1-3ADC-B1551A7D03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B23F5B6-2315-0297-2E17-597FADD6DD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902124"/>
            <a:ext cx="50007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6572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White Grid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erial view of a city from above&#10;&#10;Description automatically generated">
            <a:extLst>
              <a:ext uri="{FF2B5EF4-FFF2-40B4-BE49-F238E27FC236}">
                <a16:creationId xmlns:a16="http://schemas.microsoft.com/office/drawing/2014/main" id="{2BBF5B3A-C77D-F9C0-EFF2-8F7ADE5D46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455C680-DF74-DF00-28A8-A742EBC061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DDA6759-FE31-55DB-880A-9DD3FD25CA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0E29A858-2A50-483C-7D4C-F78225DAD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3" name="Picture 12" descr="A grid with blue lines&#10;&#10;Description automatically generated">
            <a:extLst>
              <a:ext uri="{FF2B5EF4-FFF2-40B4-BE49-F238E27FC236}">
                <a16:creationId xmlns:a16="http://schemas.microsoft.com/office/drawing/2014/main" id="{57DB4EC1-4957-CFF5-15BE-280F2EA890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75029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E548B49-3818-3DB4-ECE5-163E60B33DAC}"/>
              </a:ext>
            </a:extLst>
          </p:cNvPr>
          <p:cNvSpPr/>
          <p:nvPr userDrawn="1"/>
        </p:nvSpPr>
        <p:spPr>
          <a:xfrm flipH="1">
            <a:off x="-391886" y="1747157"/>
            <a:ext cx="6462486" cy="228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6B80A6C-E739-8D85-DC42-F51E49C7C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46300"/>
            <a:ext cx="5285232" cy="1886857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B8F5B67-51AA-6326-6B64-6CCE118BAEE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310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ight Teal Grid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erial view of a city from above&#10;&#10;Description automatically generated">
            <a:extLst>
              <a:ext uri="{FF2B5EF4-FFF2-40B4-BE49-F238E27FC236}">
                <a16:creationId xmlns:a16="http://schemas.microsoft.com/office/drawing/2014/main" id="{2BBF5B3A-C77D-F9C0-EFF2-8F7ADE5D46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455C680-DF74-DF00-28A8-A742EBC061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DDA6759-FE31-55DB-880A-9DD3FD25CA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0E29A858-2A50-483C-7D4C-F78225DAD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3" name="Picture 12" descr="A grid with blue lines&#10;&#10;Description automatically generated">
            <a:extLst>
              <a:ext uri="{FF2B5EF4-FFF2-40B4-BE49-F238E27FC236}">
                <a16:creationId xmlns:a16="http://schemas.microsoft.com/office/drawing/2014/main" id="{57DB4EC1-4957-CFF5-15BE-280F2EA890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4252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AB72FDA-DB11-3C27-4C76-FF676DEE2D55}"/>
              </a:ext>
            </a:extLst>
          </p:cNvPr>
          <p:cNvSpPr/>
          <p:nvPr userDrawn="1"/>
        </p:nvSpPr>
        <p:spPr>
          <a:xfrm flipH="1">
            <a:off x="-391886" y="1747157"/>
            <a:ext cx="6462486" cy="228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32C1F2E-156B-7117-C078-A6DFEDC300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46300"/>
            <a:ext cx="5285232" cy="1886857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83ABC56-0B1B-CF24-6856-B5BED7FA7A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780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off slide Graph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een and white curves on a black background&#10;&#10;Description automatically generated">
            <a:extLst>
              <a:ext uri="{FF2B5EF4-FFF2-40B4-BE49-F238E27FC236}">
                <a16:creationId xmlns:a16="http://schemas.microsoft.com/office/drawing/2014/main" id="{D9BD77B5-1083-90EB-DFE4-D882387E1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694"/>
          <a:stretch/>
        </p:blipFill>
        <p:spPr>
          <a:xfrm rot="10800000">
            <a:off x="5669280" y="0"/>
            <a:ext cx="6522720" cy="6858000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05F0F10-5E7F-C786-5D2A-9D457CCC99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AFE95B6-FDEE-C963-DF20-2B4C6D6868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902124"/>
            <a:ext cx="50007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4104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off slide Glass abstrac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green object&#10;&#10;Description automatically generated">
            <a:extLst>
              <a:ext uri="{FF2B5EF4-FFF2-40B4-BE49-F238E27FC236}">
                <a16:creationId xmlns:a16="http://schemas.microsoft.com/office/drawing/2014/main" id="{1265B575-12A9-3CDB-D727-DEAAB83498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AC278F6-E8C1-24A2-40A7-9DDC3825FB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F87F14D-22C8-EC52-D43A-CE0FAD2E37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902124"/>
            <a:ext cx="5000752" cy="2149890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1259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64F04B8-17D4-4122-BA10-A213AA40EAE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81928" y="1828800"/>
            <a:ext cx="5300546" cy="441960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ra" pitchFamily="2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marL="171450" lvl="0" indent="-171450" algn="l" defTabSz="914377" rtl="0" eaLnBrk="1" latinLnBrk="0" hangingPunct="1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959F69-8B3C-4734-418A-FF47DE252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A103984-1767-730E-C776-E07531298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225D3CDF-DD5A-092D-2B7B-20820631A3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0B6FAA-44B5-2C0B-3972-7B6C3912956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1828800"/>
            <a:ext cx="5300546" cy="441960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ra" pitchFamily="2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marL="171450" lvl="0" indent="-171450" algn="l" defTabSz="914377" rtl="0" eaLnBrk="1" latinLnBrk="0" hangingPunct="1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1A4A86F-645A-9093-0420-24BF7AAB079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597" y="1371600"/>
            <a:ext cx="5300476" cy="457200"/>
          </a:xfrm>
          <a:prstGeom prst="rect">
            <a:avLst/>
          </a:prstGeom>
          <a:ln w="12700"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30B265F-C450-A73B-2A8E-04437E996D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83888" y="1371600"/>
            <a:ext cx="5300476" cy="457200"/>
          </a:xfrm>
          <a:prstGeom prst="rect">
            <a:avLst/>
          </a:prstGeom>
          <a:ln w="12700"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</p:spTree>
    <p:extLst>
      <p:ext uri="{BB962C8B-B14F-4D97-AF65-F5344CB8AC3E}">
        <p14:creationId xmlns:p14="http://schemas.microsoft.com/office/powerpoint/2010/main" val="36736636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gnoff slide Graph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30B15E09-00F5-9AF3-13F5-324C1FA92A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BA6A317-AAAC-0320-DC0F-1B0307922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8D7D9E-45F0-784F-AC58-961C13B769F4}"/>
              </a:ext>
            </a:extLst>
          </p:cNvPr>
          <p:cNvSpPr/>
          <p:nvPr userDrawn="1"/>
        </p:nvSpPr>
        <p:spPr>
          <a:xfrm flipH="1">
            <a:off x="-391886" y="1747157"/>
            <a:ext cx="6462486" cy="228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CEC0125-C666-5F86-BD18-EEE91EE5524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97" y="452438"/>
            <a:ext cx="3643324" cy="982028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9BAE9CC-8C60-5525-6E63-74C5102721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11517" y="467149"/>
            <a:ext cx="5024215" cy="560266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1CC2DD9-20EA-0B54-A7D9-23483EC9EC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1946728"/>
            <a:ext cx="5285232" cy="1886857"/>
          </a:xfrm>
        </p:spPr>
        <p:txBody>
          <a:bodyPr wrap="square" lIns="0" tIns="0" rIns="0" bIns="0" anchor="ctr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9090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gnoff slide Graph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30B15E09-00F5-9AF3-13F5-324C1FA92A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t="17971" r="1" b="-258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2182CC6-79C9-5769-9CCF-C434BE74D350}"/>
              </a:ext>
            </a:extLst>
          </p:cNvPr>
          <p:cNvSpPr/>
          <p:nvPr userDrawn="1"/>
        </p:nvSpPr>
        <p:spPr>
          <a:xfrm rot="5400000">
            <a:off x="2665585" y="-2667002"/>
            <a:ext cx="6858000" cy="12192003"/>
          </a:xfrm>
          <a:prstGeom prst="rect">
            <a:avLst/>
          </a:prstGeom>
          <a:gradFill>
            <a:gsLst>
              <a:gs pos="0">
                <a:schemeClr val="tx1"/>
              </a:gs>
              <a:gs pos="46000">
                <a:schemeClr val="tx1">
                  <a:alpha val="56000"/>
                </a:schemeClr>
              </a:gs>
              <a:gs pos="100000">
                <a:schemeClr val="tx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8D7D9E-45F0-784F-AC58-961C13B769F4}"/>
              </a:ext>
            </a:extLst>
          </p:cNvPr>
          <p:cNvSpPr/>
          <p:nvPr userDrawn="1"/>
        </p:nvSpPr>
        <p:spPr>
          <a:xfrm flipH="1">
            <a:off x="-391886" y="1747157"/>
            <a:ext cx="6462486" cy="228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EA0FC6F-0A23-4812-834A-F1A45C72BF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1946728"/>
            <a:ext cx="5285232" cy="1886857"/>
          </a:xfrm>
        </p:spPr>
        <p:txBody>
          <a:bodyPr wrap="square" lIns="0" tIns="0" rIns="0" bIns="0" anchor="ctr" anchorCtr="0">
            <a:normAutofit/>
          </a:bodyPr>
          <a:lstStyle>
            <a:lvl1pPr algn="l">
              <a:defRPr sz="4000" b="0" i="0">
                <a:solidFill>
                  <a:schemeClr val="tx2"/>
                </a:solidFill>
                <a:latin typeface="Sora" pitchFamily="2" charset="0"/>
                <a:cs typeface="Sor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D610526-6537-738C-515C-5F68B8AE0151}"/>
              </a:ext>
            </a:extLst>
          </p:cNvPr>
          <p:cNvGrpSpPr/>
          <p:nvPr userDrawn="1"/>
        </p:nvGrpSpPr>
        <p:grpSpPr>
          <a:xfrm>
            <a:off x="609091" y="453130"/>
            <a:ext cx="3643324" cy="981336"/>
            <a:chOff x="2752724" y="1340236"/>
            <a:chExt cx="6765655" cy="1822342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35EECD9-125E-199B-835B-968F3B2EEEE0}"/>
                </a:ext>
              </a:extLst>
            </p:cNvPr>
            <p:cNvSpPr/>
            <p:nvPr/>
          </p:nvSpPr>
          <p:spPr>
            <a:xfrm>
              <a:off x="2752724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2780D9C-F379-3AC6-A568-682C54253974}"/>
                </a:ext>
              </a:extLst>
            </p:cNvPr>
            <p:cNvSpPr/>
            <p:nvPr/>
          </p:nvSpPr>
          <p:spPr>
            <a:xfrm>
              <a:off x="3466614" y="1873968"/>
              <a:ext cx="782018" cy="719173"/>
            </a:xfrm>
            <a:custGeom>
              <a:avLst/>
              <a:gdLst>
                <a:gd name="connsiteX0" fmla="*/ 136075 w 782018"/>
                <a:gd name="connsiteY0" fmla="*/ 719173 h 719173"/>
                <a:gd name="connsiteX1" fmla="*/ 0 w 782018"/>
                <a:gd name="connsiteY1" fmla="*/ 719173 h 719173"/>
                <a:gd name="connsiteX2" fmla="*/ 248104 w 782018"/>
                <a:gd name="connsiteY2" fmla="*/ 91081 h 719173"/>
                <a:gd name="connsiteX3" fmla="*/ 396748 w 782018"/>
                <a:gd name="connsiteY3" fmla="*/ 0 h 719173"/>
                <a:gd name="connsiteX4" fmla="*/ 543387 w 782018"/>
                <a:gd name="connsiteY4" fmla="*/ 91081 h 719173"/>
                <a:gd name="connsiteX5" fmla="*/ 782019 w 782018"/>
                <a:gd name="connsiteY5" fmla="*/ 719173 h 719173"/>
                <a:gd name="connsiteX6" fmla="*/ 644851 w 782018"/>
                <a:gd name="connsiteY6" fmla="*/ 719173 h 719173"/>
                <a:gd name="connsiteX7" fmla="*/ 430265 w 782018"/>
                <a:gd name="connsiteY7" fmla="*/ 150830 h 719173"/>
                <a:gd name="connsiteX8" fmla="*/ 395655 w 782018"/>
                <a:gd name="connsiteY8" fmla="*/ 126784 h 719173"/>
                <a:gd name="connsiteX9" fmla="*/ 360133 w 782018"/>
                <a:gd name="connsiteY9" fmla="*/ 150830 h 719173"/>
                <a:gd name="connsiteX10" fmla="*/ 136075 w 782018"/>
                <a:gd name="connsiteY10" fmla="*/ 719173 h 719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2018" h="719173">
                  <a:moveTo>
                    <a:pt x="136075" y="719173"/>
                  </a:moveTo>
                  <a:lnTo>
                    <a:pt x="0" y="719173"/>
                  </a:lnTo>
                  <a:lnTo>
                    <a:pt x="248104" y="91081"/>
                  </a:lnTo>
                  <a:cubicBezTo>
                    <a:pt x="274335" y="25138"/>
                    <a:pt x="322426" y="0"/>
                    <a:pt x="396748" y="0"/>
                  </a:cubicBezTo>
                  <a:cubicBezTo>
                    <a:pt x="471069" y="0"/>
                    <a:pt x="518249" y="25138"/>
                    <a:pt x="543387" y="91081"/>
                  </a:cubicBezTo>
                  <a:lnTo>
                    <a:pt x="782019" y="719173"/>
                  </a:lnTo>
                  <a:lnTo>
                    <a:pt x="644851" y="719173"/>
                  </a:lnTo>
                  <a:lnTo>
                    <a:pt x="430265" y="150830"/>
                  </a:lnTo>
                  <a:cubicBezTo>
                    <a:pt x="424072" y="134071"/>
                    <a:pt x="412413" y="126784"/>
                    <a:pt x="395655" y="126784"/>
                  </a:cubicBezTo>
                  <a:cubicBezTo>
                    <a:pt x="378896" y="126784"/>
                    <a:pt x="367420" y="134071"/>
                    <a:pt x="360133" y="150830"/>
                  </a:cubicBezTo>
                  <a:lnTo>
                    <a:pt x="136075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EC8B147-586C-55AD-3045-E62319280630}"/>
                </a:ext>
              </a:extLst>
            </p:cNvPr>
            <p:cNvSpPr/>
            <p:nvPr/>
          </p:nvSpPr>
          <p:spPr>
            <a:xfrm>
              <a:off x="5026280" y="1886355"/>
              <a:ext cx="634103" cy="706604"/>
            </a:xfrm>
            <a:custGeom>
              <a:avLst/>
              <a:gdLst>
                <a:gd name="connsiteX0" fmla="*/ 123323 w 634103"/>
                <a:gd name="connsiteY0" fmla="*/ 182 h 706604"/>
                <a:gd name="connsiteX1" fmla="*/ 123323 w 634103"/>
                <a:gd name="connsiteY1" fmla="*/ 299473 h 706604"/>
                <a:gd name="connsiteX2" fmla="*/ 191269 w 634103"/>
                <a:gd name="connsiteY2" fmla="*/ 299473 h 706604"/>
                <a:gd name="connsiteX3" fmla="*/ 372338 w 634103"/>
                <a:gd name="connsiteY3" fmla="*/ 211489 h 706604"/>
                <a:gd name="connsiteX4" fmla="*/ 480177 w 634103"/>
                <a:gd name="connsiteY4" fmla="*/ 0 h 706604"/>
                <a:gd name="connsiteX5" fmla="*/ 613155 w 634103"/>
                <a:gd name="connsiteY5" fmla="*/ 0 h 706604"/>
                <a:gd name="connsiteX6" fmla="*/ 502219 w 634103"/>
                <a:gd name="connsiteY6" fmla="*/ 219869 h 706604"/>
                <a:gd name="connsiteX7" fmla="*/ 379807 w 634103"/>
                <a:gd name="connsiteY7" fmla="*/ 348657 h 706604"/>
                <a:gd name="connsiteX8" fmla="*/ 520071 w 634103"/>
                <a:gd name="connsiteY8" fmla="*/ 484732 h 706604"/>
                <a:gd name="connsiteX9" fmla="*/ 634104 w 634103"/>
                <a:gd name="connsiteY9" fmla="*/ 706604 h 706604"/>
                <a:gd name="connsiteX10" fmla="*/ 496025 w 634103"/>
                <a:gd name="connsiteY10" fmla="*/ 706604 h 706604"/>
                <a:gd name="connsiteX11" fmla="*/ 388186 w 634103"/>
                <a:gd name="connsiteY11" fmla="*/ 497301 h 706604"/>
                <a:gd name="connsiteX12" fmla="*/ 191452 w 634103"/>
                <a:gd name="connsiteY12" fmla="*/ 411503 h 706604"/>
                <a:gd name="connsiteX13" fmla="*/ 123505 w 634103"/>
                <a:gd name="connsiteY13" fmla="*/ 411503 h 706604"/>
                <a:gd name="connsiteX14" fmla="*/ 123505 w 634103"/>
                <a:gd name="connsiteY14" fmla="*/ 706604 h 706604"/>
                <a:gd name="connsiteX15" fmla="*/ 0 w 634103"/>
                <a:gd name="connsiteY15" fmla="*/ 706604 h 706604"/>
                <a:gd name="connsiteX16" fmla="*/ 0 w 634103"/>
                <a:gd name="connsiteY16" fmla="*/ 182 h 706604"/>
                <a:gd name="connsiteX17" fmla="*/ 123505 w 634103"/>
                <a:gd name="connsiteY17" fmla="*/ 182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4103" h="706604">
                  <a:moveTo>
                    <a:pt x="123323" y="182"/>
                  </a:moveTo>
                  <a:lnTo>
                    <a:pt x="123323" y="299473"/>
                  </a:lnTo>
                  <a:lnTo>
                    <a:pt x="191269" y="299473"/>
                  </a:lnTo>
                  <a:cubicBezTo>
                    <a:pt x="312771" y="299473"/>
                    <a:pt x="332627" y="289090"/>
                    <a:pt x="372338" y="211489"/>
                  </a:cubicBezTo>
                  <a:lnTo>
                    <a:pt x="480177" y="0"/>
                  </a:lnTo>
                  <a:lnTo>
                    <a:pt x="613155" y="0"/>
                  </a:lnTo>
                  <a:lnTo>
                    <a:pt x="502219" y="219869"/>
                  </a:lnTo>
                  <a:cubicBezTo>
                    <a:pt x="470887" y="282715"/>
                    <a:pt x="437370" y="323519"/>
                    <a:pt x="379807" y="348657"/>
                  </a:cubicBezTo>
                  <a:cubicBezTo>
                    <a:pt x="445749" y="366509"/>
                    <a:pt x="478174" y="403123"/>
                    <a:pt x="520071" y="484732"/>
                  </a:cubicBezTo>
                  <a:lnTo>
                    <a:pt x="634104" y="706604"/>
                  </a:lnTo>
                  <a:lnTo>
                    <a:pt x="496025" y="706604"/>
                  </a:lnTo>
                  <a:lnTo>
                    <a:pt x="388186" y="497301"/>
                  </a:lnTo>
                  <a:cubicBezTo>
                    <a:pt x="349386" y="421886"/>
                    <a:pt x="324247" y="411503"/>
                    <a:pt x="191452" y="411503"/>
                  </a:cubicBez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182"/>
                  </a:lnTo>
                  <a:lnTo>
                    <a:pt x="123505" y="182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11298D-EE72-5B0F-2D15-BB0693B5099B}"/>
                </a:ext>
              </a:extLst>
            </p:cNvPr>
            <p:cNvSpPr/>
            <p:nvPr/>
          </p:nvSpPr>
          <p:spPr>
            <a:xfrm>
              <a:off x="5468932" y="1893460"/>
              <a:ext cx="1035223" cy="1269118"/>
            </a:xfrm>
            <a:custGeom>
              <a:avLst/>
              <a:gdLst>
                <a:gd name="connsiteX0" fmla="*/ 136075 w 1035223"/>
                <a:gd name="connsiteY0" fmla="*/ 1269119 h 1269118"/>
                <a:gd name="connsiteX1" fmla="*/ 0 w 1035223"/>
                <a:gd name="connsiteY1" fmla="*/ 1269119 h 1269118"/>
                <a:gd name="connsiteX2" fmla="*/ 501308 w 1035223"/>
                <a:gd name="connsiteY2" fmla="*/ 91081 h 1269118"/>
                <a:gd name="connsiteX3" fmla="*/ 649952 w 1035223"/>
                <a:gd name="connsiteY3" fmla="*/ 0 h 1269118"/>
                <a:gd name="connsiteX4" fmla="*/ 796592 w 1035223"/>
                <a:gd name="connsiteY4" fmla="*/ 91081 h 1269118"/>
                <a:gd name="connsiteX5" fmla="*/ 1035223 w 1035223"/>
                <a:gd name="connsiteY5" fmla="*/ 719173 h 1269118"/>
                <a:gd name="connsiteX6" fmla="*/ 898056 w 1035223"/>
                <a:gd name="connsiteY6" fmla="*/ 719173 h 1269118"/>
                <a:gd name="connsiteX7" fmla="*/ 683470 w 1035223"/>
                <a:gd name="connsiteY7" fmla="*/ 150830 h 1269118"/>
                <a:gd name="connsiteX8" fmla="*/ 648859 w 1035223"/>
                <a:gd name="connsiteY8" fmla="*/ 126784 h 1269118"/>
                <a:gd name="connsiteX9" fmla="*/ 613337 w 1035223"/>
                <a:gd name="connsiteY9" fmla="*/ 150830 h 1269118"/>
                <a:gd name="connsiteX10" fmla="*/ 136075 w 1035223"/>
                <a:gd name="connsiteY10" fmla="*/ 1269119 h 126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5223" h="1269118">
                  <a:moveTo>
                    <a:pt x="136075" y="1269119"/>
                  </a:moveTo>
                  <a:lnTo>
                    <a:pt x="0" y="1269119"/>
                  </a:lnTo>
                  <a:lnTo>
                    <a:pt x="501308" y="91081"/>
                  </a:lnTo>
                  <a:cubicBezTo>
                    <a:pt x="527540" y="25138"/>
                    <a:pt x="575630" y="0"/>
                    <a:pt x="649952" y="0"/>
                  </a:cubicBezTo>
                  <a:cubicBezTo>
                    <a:pt x="724274" y="0"/>
                    <a:pt x="771454" y="25138"/>
                    <a:pt x="796592" y="91081"/>
                  </a:cubicBezTo>
                  <a:lnTo>
                    <a:pt x="1035223" y="719173"/>
                  </a:lnTo>
                  <a:lnTo>
                    <a:pt x="898056" y="719173"/>
                  </a:lnTo>
                  <a:lnTo>
                    <a:pt x="683470" y="150830"/>
                  </a:lnTo>
                  <a:cubicBezTo>
                    <a:pt x="677276" y="134071"/>
                    <a:pt x="665618" y="126784"/>
                    <a:pt x="648859" y="126784"/>
                  </a:cubicBezTo>
                  <a:cubicBezTo>
                    <a:pt x="632100" y="126784"/>
                    <a:pt x="620624" y="134071"/>
                    <a:pt x="613337" y="150830"/>
                  </a:cubicBezTo>
                  <a:lnTo>
                    <a:pt x="136075" y="1269119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4612B61-C273-ACA7-FE36-C0C59BB05EF5}"/>
                </a:ext>
              </a:extLst>
            </p:cNvPr>
            <p:cNvSpPr/>
            <p:nvPr/>
          </p:nvSpPr>
          <p:spPr>
            <a:xfrm>
              <a:off x="6481021" y="1886538"/>
              <a:ext cx="537011" cy="706421"/>
            </a:xfrm>
            <a:custGeom>
              <a:avLst/>
              <a:gdLst>
                <a:gd name="connsiteX0" fmla="*/ 537012 w 537011"/>
                <a:gd name="connsiteY0" fmla="*/ 0 h 706421"/>
                <a:gd name="connsiteX1" fmla="*/ 537012 w 537011"/>
                <a:gd name="connsiteY1" fmla="*/ 123505 h 706421"/>
                <a:gd name="connsiteX2" fmla="*/ 330805 w 537011"/>
                <a:gd name="connsiteY2" fmla="*/ 123505 h 706421"/>
                <a:gd name="connsiteX3" fmla="*/ 330805 w 537011"/>
                <a:gd name="connsiteY3" fmla="*/ 706422 h 706421"/>
                <a:gd name="connsiteX4" fmla="*/ 206207 w 537011"/>
                <a:gd name="connsiteY4" fmla="*/ 706422 h 706421"/>
                <a:gd name="connsiteX5" fmla="*/ 206207 w 537011"/>
                <a:gd name="connsiteY5" fmla="*/ 123505 h 706421"/>
                <a:gd name="connsiteX6" fmla="*/ 0 w 537011"/>
                <a:gd name="connsiteY6" fmla="*/ 123505 h 706421"/>
                <a:gd name="connsiteX7" fmla="*/ 0 w 537011"/>
                <a:gd name="connsiteY7" fmla="*/ 0 h 706421"/>
                <a:gd name="connsiteX8" fmla="*/ 537012 w 537011"/>
                <a:gd name="connsiteY8" fmla="*/ 0 h 70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011" h="706421">
                  <a:moveTo>
                    <a:pt x="537012" y="0"/>
                  </a:moveTo>
                  <a:lnTo>
                    <a:pt x="537012" y="123505"/>
                  </a:lnTo>
                  <a:lnTo>
                    <a:pt x="330805" y="123505"/>
                  </a:lnTo>
                  <a:lnTo>
                    <a:pt x="330805" y="706422"/>
                  </a:lnTo>
                  <a:lnTo>
                    <a:pt x="206207" y="706422"/>
                  </a:lnTo>
                  <a:lnTo>
                    <a:pt x="206207" y="123505"/>
                  </a:lnTo>
                  <a:lnTo>
                    <a:pt x="0" y="123505"/>
                  </a:lnTo>
                  <a:lnTo>
                    <a:pt x="0" y="0"/>
                  </a:lnTo>
                  <a:lnTo>
                    <a:pt x="537012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66FB76C-16C1-911B-ABB0-E7208673A803}"/>
                </a:ext>
              </a:extLst>
            </p:cNvPr>
            <p:cNvSpPr/>
            <p:nvPr/>
          </p:nvSpPr>
          <p:spPr>
            <a:xfrm>
              <a:off x="7134252" y="1886538"/>
              <a:ext cx="609147" cy="706604"/>
            </a:xfrm>
            <a:custGeom>
              <a:avLst/>
              <a:gdLst>
                <a:gd name="connsiteX0" fmla="*/ 123505 w 609147"/>
                <a:gd name="connsiteY0" fmla="*/ 0 h 706604"/>
                <a:gd name="connsiteX1" fmla="*/ 123505 w 609147"/>
                <a:gd name="connsiteY1" fmla="*/ 287815 h 706604"/>
                <a:gd name="connsiteX2" fmla="*/ 484549 w 609147"/>
                <a:gd name="connsiteY2" fmla="*/ 287815 h 706604"/>
                <a:gd name="connsiteX3" fmla="*/ 484549 w 609147"/>
                <a:gd name="connsiteY3" fmla="*/ 0 h 706604"/>
                <a:gd name="connsiteX4" fmla="*/ 609148 w 609147"/>
                <a:gd name="connsiteY4" fmla="*/ 0 h 706604"/>
                <a:gd name="connsiteX5" fmla="*/ 609148 w 609147"/>
                <a:gd name="connsiteY5" fmla="*/ 706604 h 706604"/>
                <a:gd name="connsiteX6" fmla="*/ 484549 w 609147"/>
                <a:gd name="connsiteY6" fmla="*/ 706604 h 706604"/>
                <a:gd name="connsiteX7" fmla="*/ 484549 w 609147"/>
                <a:gd name="connsiteY7" fmla="*/ 411503 h 706604"/>
                <a:gd name="connsiteX8" fmla="*/ 123505 w 609147"/>
                <a:gd name="connsiteY8" fmla="*/ 411503 h 706604"/>
                <a:gd name="connsiteX9" fmla="*/ 123505 w 609147"/>
                <a:gd name="connsiteY9" fmla="*/ 706604 h 706604"/>
                <a:gd name="connsiteX10" fmla="*/ 0 w 609147"/>
                <a:gd name="connsiteY10" fmla="*/ 706604 h 706604"/>
                <a:gd name="connsiteX11" fmla="*/ 0 w 609147"/>
                <a:gd name="connsiteY11" fmla="*/ 0 h 706604"/>
                <a:gd name="connsiteX12" fmla="*/ 123505 w 609147"/>
                <a:gd name="connsiteY12" fmla="*/ 0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147" h="706604">
                  <a:moveTo>
                    <a:pt x="123505" y="0"/>
                  </a:moveTo>
                  <a:lnTo>
                    <a:pt x="123505" y="287815"/>
                  </a:lnTo>
                  <a:lnTo>
                    <a:pt x="484549" y="287815"/>
                  </a:lnTo>
                  <a:lnTo>
                    <a:pt x="484549" y="0"/>
                  </a:lnTo>
                  <a:lnTo>
                    <a:pt x="609148" y="0"/>
                  </a:lnTo>
                  <a:lnTo>
                    <a:pt x="609148" y="706604"/>
                  </a:lnTo>
                  <a:lnTo>
                    <a:pt x="484549" y="706604"/>
                  </a:lnTo>
                  <a:lnTo>
                    <a:pt x="484549" y="411503"/>
                  </a:lnTo>
                  <a:lnTo>
                    <a:pt x="123505" y="411503"/>
                  </a:lnTo>
                  <a:lnTo>
                    <a:pt x="123505" y="706604"/>
                  </a:lnTo>
                  <a:lnTo>
                    <a:pt x="0" y="706604"/>
                  </a:lnTo>
                  <a:lnTo>
                    <a:pt x="0" y="0"/>
                  </a:lnTo>
                  <a:lnTo>
                    <a:pt x="123505" y="0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455159-D361-1236-BFB0-C4671D2DA631}"/>
                </a:ext>
              </a:extLst>
            </p:cNvPr>
            <p:cNvSpPr/>
            <p:nvPr/>
          </p:nvSpPr>
          <p:spPr>
            <a:xfrm>
              <a:off x="8766964" y="1873968"/>
              <a:ext cx="751415" cy="731742"/>
            </a:xfrm>
            <a:custGeom>
              <a:avLst/>
              <a:gdLst>
                <a:gd name="connsiteX0" fmla="*/ 123505 w 751415"/>
                <a:gd name="connsiteY0" fmla="*/ 719173 h 731742"/>
                <a:gd name="connsiteX1" fmla="*/ 0 w 751415"/>
                <a:gd name="connsiteY1" fmla="*/ 719173 h 731742"/>
                <a:gd name="connsiteX2" fmla="*/ 0 w 751415"/>
                <a:gd name="connsiteY2" fmla="*/ 153926 h 731742"/>
                <a:gd name="connsiteX3" fmla="*/ 162124 w 751415"/>
                <a:gd name="connsiteY3" fmla="*/ 0 h 731742"/>
                <a:gd name="connsiteX4" fmla="*/ 333720 w 751415"/>
                <a:gd name="connsiteY4" fmla="*/ 130792 h 731742"/>
                <a:gd name="connsiteX5" fmla="*/ 539926 w 751415"/>
                <a:gd name="connsiteY5" fmla="*/ 582006 h 731742"/>
                <a:gd name="connsiteX6" fmla="*/ 584920 w 751415"/>
                <a:gd name="connsiteY6" fmla="*/ 611334 h 731742"/>
                <a:gd name="connsiteX7" fmla="*/ 626817 w 751415"/>
                <a:gd name="connsiteY7" fmla="*/ 571623 h 731742"/>
                <a:gd name="connsiteX8" fmla="*/ 626817 w 751415"/>
                <a:gd name="connsiteY8" fmla="*/ 12751 h 731742"/>
                <a:gd name="connsiteX9" fmla="*/ 751416 w 751415"/>
                <a:gd name="connsiteY9" fmla="*/ 12751 h 731742"/>
                <a:gd name="connsiteX10" fmla="*/ 751416 w 751415"/>
                <a:gd name="connsiteY10" fmla="*/ 576905 h 731742"/>
                <a:gd name="connsiteX11" fmla="*/ 589110 w 751415"/>
                <a:gd name="connsiteY11" fmla="*/ 731742 h 731742"/>
                <a:gd name="connsiteX12" fmla="*/ 416421 w 751415"/>
                <a:gd name="connsiteY12" fmla="*/ 600951 h 731742"/>
                <a:gd name="connsiteX13" fmla="*/ 210214 w 751415"/>
                <a:gd name="connsiteY13" fmla="*/ 149919 h 731742"/>
                <a:gd name="connsiteX14" fmla="*/ 166313 w 751415"/>
                <a:gd name="connsiteY14" fmla="*/ 119498 h 731742"/>
                <a:gd name="connsiteX15" fmla="*/ 123323 w 751415"/>
                <a:gd name="connsiteY15" fmla="*/ 160302 h 731742"/>
                <a:gd name="connsiteX16" fmla="*/ 123323 w 751415"/>
                <a:gd name="connsiteY16" fmla="*/ 719173 h 731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51415" h="731742">
                  <a:moveTo>
                    <a:pt x="123505" y="719173"/>
                  </a:moveTo>
                  <a:lnTo>
                    <a:pt x="0" y="719173"/>
                  </a:lnTo>
                  <a:lnTo>
                    <a:pt x="0" y="153926"/>
                  </a:lnTo>
                  <a:cubicBezTo>
                    <a:pt x="0" y="61753"/>
                    <a:pt x="52280" y="0"/>
                    <a:pt x="162124" y="0"/>
                  </a:cubicBezTo>
                  <a:cubicBezTo>
                    <a:pt x="260491" y="0"/>
                    <a:pt x="304574" y="50277"/>
                    <a:pt x="333720" y="130792"/>
                  </a:cubicBezTo>
                  <a:lnTo>
                    <a:pt x="539926" y="582006"/>
                  </a:lnTo>
                  <a:cubicBezTo>
                    <a:pt x="548306" y="598765"/>
                    <a:pt x="561968" y="611334"/>
                    <a:pt x="584920" y="611334"/>
                  </a:cubicBezTo>
                  <a:cubicBezTo>
                    <a:pt x="611151" y="611334"/>
                    <a:pt x="626817" y="595668"/>
                    <a:pt x="626817" y="571623"/>
                  </a:cubicBezTo>
                  <a:lnTo>
                    <a:pt x="626817" y="12751"/>
                  </a:lnTo>
                  <a:lnTo>
                    <a:pt x="751416" y="12751"/>
                  </a:lnTo>
                  <a:lnTo>
                    <a:pt x="751416" y="576905"/>
                  </a:lnTo>
                  <a:cubicBezTo>
                    <a:pt x="751416" y="669990"/>
                    <a:pt x="698043" y="731742"/>
                    <a:pt x="589110" y="731742"/>
                  </a:cubicBezTo>
                  <a:cubicBezTo>
                    <a:pt x="490743" y="731742"/>
                    <a:pt x="445749" y="681466"/>
                    <a:pt x="416421" y="600951"/>
                  </a:cubicBezTo>
                  <a:lnTo>
                    <a:pt x="210214" y="149919"/>
                  </a:lnTo>
                  <a:cubicBezTo>
                    <a:pt x="200742" y="128970"/>
                    <a:pt x="188172" y="119498"/>
                    <a:pt x="166313" y="119498"/>
                  </a:cubicBezTo>
                  <a:cubicBezTo>
                    <a:pt x="138078" y="119498"/>
                    <a:pt x="123323" y="135164"/>
                    <a:pt x="123323" y="160302"/>
                  </a:cubicBezTo>
                  <a:lnTo>
                    <a:pt x="123323" y="719173"/>
                  </a:ln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93A6440-0195-ED84-DEB7-038E93B9CFCD}"/>
                </a:ext>
              </a:extLst>
            </p:cNvPr>
            <p:cNvSpPr/>
            <p:nvPr/>
          </p:nvSpPr>
          <p:spPr>
            <a:xfrm>
              <a:off x="7906069" y="1886538"/>
              <a:ext cx="734839" cy="706604"/>
            </a:xfrm>
            <a:custGeom>
              <a:avLst/>
              <a:gdLst>
                <a:gd name="connsiteX0" fmla="*/ 415510 w 734839"/>
                <a:gd name="connsiteY0" fmla="*/ 0 h 706604"/>
                <a:gd name="connsiteX1" fmla="*/ 319147 w 734839"/>
                <a:gd name="connsiteY1" fmla="*/ 0 h 706604"/>
                <a:gd name="connsiteX2" fmla="*/ 0 w 734839"/>
                <a:gd name="connsiteY2" fmla="*/ 354850 h 706604"/>
                <a:gd name="connsiteX3" fmla="*/ 319147 w 734839"/>
                <a:gd name="connsiteY3" fmla="*/ 706604 h 706604"/>
                <a:gd name="connsiteX4" fmla="*/ 415510 w 734839"/>
                <a:gd name="connsiteY4" fmla="*/ 706604 h 706604"/>
                <a:gd name="connsiteX5" fmla="*/ 734839 w 734839"/>
                <a:gd name="connsiteY5" fmla="*/ 354850 h 706604"/>
                <a:gd name="connsiteX6" fmla="*/ 415510 w 734839"/>
                <a:gd name="connsiteY6" fmla="*/ 0 h 706604"/>
                <a:gd name="connsiteX7" fmla="*/ 415510 w 734839"/>
                <a:gd name="connsiteY7" fmla="*/ 583099 h 706604"/>
                <a:gd name="connsiteX8" fmla="*/ 319147 w 734839"/>
                <a:gd name="connsiteY8" fmla="*/ 583099 h 706604"/>
                <a:gd name="connsiteX9" fmla="*/ 123324 w 734839"/>
                <a:gd name="connsiteY9" fmla="*/ 355033 h 706604"/>
                <a:gd name="connsiteX10" fmla="*/ 319147 w 734839"/>
                <a:gd name="connsiteY10" fmla="*/ 123688 h 706604"/>
                <a:gd name="connsiteX11" fmla="*/ 415510 w 734839"/>
                <a:gd name="connsiteY11" fmla="*/ 123688 h 706604"/>
                <a:gd name="connsiteX12" fmla="*/ 610241 w 734839"/>
                <a:gd name="connsiteY12" fmla="*/ 353940 h 706604"/>
                <a:gd name="connsiteX13" fmla="*/ 415510 w 734839"/>
                <a:gd name="connsiteY13" fmla="*/ 583099 h 70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839" h="706604">
                  <a:moveTo>
                    <a:pt x="415510" y="0"/>
                  </a:moveTo>
                  <a:lnTo>
                    <a:pt x="319147" y="0"/>
                  </a:lnTo>
                  <a:cubicBezTo>
                    <a:pt x="114033" y="0"/>
                    <a:pt x="0" y="117130"/>
                    <a:pt x="0" y="354850"/>
                  </a:cubicBezTo>
                  <a:cubicBezTo>
                    <a:pt x="0" y="592571"/>
                    <a:pt x="113122" y="706604"/>
                    <a:pt x="319147" y="706604"/>
                  </a:cubicBezTo>
                  <a:lnTo>
                    <a:pt x="415510" y="706604"/>
                  </a:lnTo>
                  <a:cubicBezTo>
                    <a:pt x="621717" y="706604"/>
                    <a:pt x="734839" y="591478"/>
                    <a:pt x="734839" y="354850"/>
                  </a:cubicBezTo>
                  <a:cubicBezTo>
                    <a:pt x="734839" y="118223"/>
                    <a:pt x="620806" y="0"/>
                    <a:pt x="415510" y="0"/>
                  </a:cubicBezTo>
                  <a:close/>
                  <a:moveTo>
                    <a:pt x="415510" y="583099"/>
                  </a:moveTo>
                  <a:lnTo>
                    <a:pt x="319147" y="583099"/>
                  </a:lnTo>
                  <a:cubicBezTo>
                    <a:pt x="181980" y="583099"/>
                    <a:pt x="123324" y="516063"/>
                    <a:pt x="123324" y="355033"/>
                  </a:cubicBezTo>
                  <a:cubicBezTo>
                    <a:pt x="123324" y="194002"/>
                    <a:pt x="183073" y="123688"/>
                    <a:pt x="319147" y="123688"/>
                  </a:cubicBezTo>
                  <a:lnTo>
                    <a:pt x="415510" y="123688"/>
                  </a:lnTo>
                  <a:cubicBezTo>
                    <a:pt x="551585" y="123688"/>
                    <a:pt x="610241" y="192727"/>
                    <a:pt x="610241" y="353940"/>
                  </a:cubicBezTo>
                  <a:cubicBezTo>
                    <a:pt x="610241" y="515152"/>
                    <a:pt x="551585" y="583099"/>
                    <a:pt x="415510" y="583099"/>
                  </a:cubicBezTo>
                  <a:close/>
                </a:path>
              </a:pathLst>
            </a:custGeom>
            <a:solidFill>
              <a:srgbClr val="FFFFFF"/>
            </a:solidFill>
            <a:ln w="182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C35D324-C4C3-0543-8115-1FAF290B830F}"/>
                </a:ext>
              </a:extLst>
            </p:cNvPr>
            <p:cNvGrpSpPr/>
            <p:nvPr userDrawn="1"/>
          </p:nvGrpSpPr>
          <p:grpSpPr>
            <a:xfrm>
              <a:off x="2752724" y="1340236"/>
              <a:ext cx="6742703" cy="1822342"/>
              <a:chOff x="2752724" y="1340236"/>
              <a:chExt cx="6742703" cy="1822342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436B2613-852E-1C8B-965C-8973BA279ECD}"/>
                  </a:ext>
                </a:extLst>
              </p:cNvPr>
              <p:cNvSpPr/>
              <p:nvPr/>
            </p:nvSpPr>
            <p:spPr>
              <a:xfrm>
                <a:off x="4281604" y="1938818"/>
                <a:ext cx="601496" cy="618437"/>
              </a:xfrm>
              <a:custGeom>
                <a:avLst/>
                <a:gdLst>
                  <a:gd name="connsiteX0" fmla="*/ 601497 w 601496"/>
                  <a:gd name="connsiteY0" fmla="*/ 0 h 618437"/>
                  <a:gd name="connsiteX1" fmla="*/ 58110 w 601496"/>
                  <a:gd name="connsiteY1" fmla="*/ 214586 h 618437"/>
                  <a:gd name="connsiteX2" fmla="*/ 0 w 601496"/>
                  <a:gd name="connsiteY2" fmla="*/ 309857 h 618437"/>
                  <a:gd name="connsiteX3" fmla="*/ 58292 w 601496"/>
                  <a:gd name="connsiteY3" fmla="*/ 405127 h 618437"/>
                  <a:gd name="connsiteX4" fmla="*/ 601497 w 601496"/>
                  <a:gd name="connsiteY4" fmla="*/ 618438 h 618437"/>
                  <a:gd name="connsiteX5" fmla="*/ 601497 w 601496"/>
                  <a:gd name="connsiteY5" fmla="*/ 495479 h 618437"/>
                  <a:gd name="connsiteX6" fmla="*/ 122048 w 601496"/>
                  <a:gd name="connsiteY6" fmla="*/ 309857 h 618437"/>
                  <a:gd name="connsiteX7" fmla="*/ 601497 w 601496"/>
                  <a:gd name="connsiteY7" fmla="*/ 124052 h 618437"/>
                  <a:gd name="connsiteX8" fmla="*/ 601497 w 601496"/>
                  <a:gd name="connsiteY8" fmla="*/ 0 h 61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1496" h="618437">
                    <a:moveTo>
                      <a:pt x="601497" y="0"/>
                    </a:moveTo>
                    <a:lnTo>
                      <a:pt x="58110" y="214586"/>
                    </a:lnTo>
                    <a:cubicBezTo>
                      <a:pt x="18580" y="230616"/>
                      <a:pt x="0" y="261037"/>
                      <a:pt x="0" y="309857"/>
                    </a:cubicBezTo>
                    <a:cubicBezTo>
                      <a:pt x="0" y="358676"/>
                      <a:pt x="19127" y="390554"/>
                      <a:pt x="58292" y="405127"/>
                    </a:cubicBezTo>
                    <a:lnTo>
                      <a:pt x="601497" y="618438"/>
                    </a:lnTo>
                    <a:lnTo>
                      <a:pt x="601497" y="495479"/>
                    </a:lnTo>
                    <a:lnTo>
                      <a:pt x="122048" y="309857"/>
                    </a:lnTo>
                    <a:lnTo>
                      <a:pt x="601497" y="124052"/>
                    </a:lnTo>
                    <a:lnTo>
                      <a:pt x="60149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1" name="Graphic 5">
                <a:extLst>
                  <a:ext uri="{FF2B5EF4-FFF2-40B4-BE49-F238E27FC236}">
                    <a16:creationId xmlns:a16="http://schemas.microsoft.com/office/drawing/2014/main" id="{17551B3F-525A-7527-7011-33D886DAB8E5}"/>
                  </a:ext>
                </a:extLst>
              </p:cNvPr>
              <p:cNvGrpSpPr/>
              <p:nvPr/>
            </p:nvGrpSpPr>
            <p:grpSpPr>
              <a:xfrm>
                <a:off x="5771867" y="2752351"/>
                <a:ext cx="3723560" cy="410227"/>
                <a:chOff x="5771867" y="2752351"/>
                <a:chExt cx="3723560" cy="410227"/>
              </a:xfrm>
              <a:solidFill>
                <a:schemeClr val="accent2"/>
              </a:solidFill>
            </p:grpSpPr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55E888D8-C1FB-030C-7217-0D90F839BCEC}"/>
                    </a:ext>
                  </a:extLst>
                </p:cNvPr>
                <p:cNvSpPr/>
                <p:nvPr/>
              </p:nvSpPr>
              <p:spPr>
                <a:xfrm>
                  <a:off x="5771867" y="2752351"/>
                  <a:ext cx="623902" cy="410227"/>
                </a:xfrm>
                <a:custGeom>
                  <a:avLst/>
                  <a:gdLst>
                    <a:gd name="connsiteX0" fmla="*/ 73957 w 623902"/>
                    <a:gd name="connsiteY0" fmla="*/ 403305 h 410227"/>
                    <a:gd name="connsiteX1" fmla="*/ 0 w 623902"/>
                    <a:gd name="connsiteY1" fmla="*/ 403305 h 410227"/>
                    <a:gd name="connsiteX2" fmla="*/ 122777 w 623902"/>
                    <a:gd name="connsiteY2" fmla="*/ 73411 h 410227"/>
                    <a:gd name="connsiteX3" fmla="*/ 216043 w 623902"/>
                    <a:gd name="connsiteY3" fmla="*/ 0 h 410227"/>
                    <a:gd name="connsiteX4" fmla="*/ 304027 w 623902"/>
                    <a:gd name="connsiteY4" fmla="*/ 86345 h 410227"/>
                    <a:gd name="connsiteX5" fmla="*/ 304027 w 623902"/>
                    <a:gd name="connsiteY5" fmla="*/ 320604 h 410227"/>
                    <a:gd name="connsiteX6" fmla="*/ 324065 w 623902"/>
                    <a:gd name="connsiteY6" fmla="*/ 342828 h 410227"/>
                    <a:gd name="connsiteX7" fmla="*/ 346289 w 623902"/>
                    <a:gd name="connsiteY7" fmla="*/ 326251 h 410227"/>
                    <a:gd name="connsiteX8" fmla="*/ 442652 w 623902"/>
                    <a:gd name="connsiteY8" fmla="*/ 73411 h 410227"/>
                    <a:gd name="connsiteX9" fmla="*/ 535919 w 623902"/>
                    <a:gd name="connsiteY9" fmla="*/ 0 h 410227"/>
                    <a:gd name="connsiteX10" fmla="*/ 623903 w 623902"/>
                    <a:gd name="connsiteY10" fmla="*/ 86345 h 410227"/>
                    <a:gd name="connsiteX11" fmla="*/ 623903 w 623902"/>
                    <a:gd name="connsiteY11" fmla="*/ 403305 h 410227"/>
                    <a:gd name="connsiteX12" fmla="*/ 553953 w 623902"/>
                    <a:gd name="connsiteY12" fmla="*/ 403305 h 410227"/>
                    <a:gd name="connsiteX13" fmla="*/ 553953 w 623902"/>
                    <a:gd name="connsiteY13" fmla="*/ 89806 h 410227"/>
                    <a:gd name="connsiteX14" fmla="*/ 534097 w 623902"/>
                    <a:gd name="connsiteY14" fmla="*/ 66853 h 410227"/>
                    <a:gd name="connsiteX15" fmla="*/ 512420 w 623902"/>
                    <a:gd name="connsiteY15" fmla="*/ 83794 h 410227"/>
                    <a:gd name="connsiteX16" fmla="*/ 416057 w 623902"/>
                    <a:gd name="connsiteY16" fmla="*/ 336817 h 410227"/>
                    <a:gd name="connsiteX17" fmla="*/ 322061 w 623902"/>
                    <a:gd name="connsiteY17" fmla="*/ 410228 h 410227"/>
                    <a:gd name="connsiteX18" fmla="*/ 234624 w 623902"/>
                    <a:gd name="connsiteY18" fmla="*/ 323337 h 410227"/>
                    <a:gd name="connsiteX19" fmla="*/ 234624 w 623902"/>
                    <a:gd name="connsiteY19" fmla="*/ 89806 h 410227"/>
                    <a:gd name="connsiteX20" fmla="*/ 214040 w 623902"/>
                    <a:gd name="connsiteY20" fmla="*/ 66853 h 410227"/>
                    <a:gd name="connsiteX21" fmla="*/ 192362 w 623902"/>
                    <a:gd name="connsiteY21" fmla="*/ 83794 h 410227"/>
                    <a:gd name="connsiteX22" fmla="*/ 73775 w 623902"/>
                    <a:gd name="connsiteY22" fmla="*/ 403123 h 410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623902" h="410227">
                      <a:moveTo>
                        <a:pt x="73957" y="403305"/>
                      </a:moveTo>
                      <a:lnTo>
                        <a:pt x="0" y="403305"/>
                      </a:lnTo>
                      <a:lnTo>
                        <a:pt x="122777" y="73411"/>
                      </a:lnTo>
                      <a:cubicBezTo>
                        <a:pt x="137896" y="28235"/>
                        <a:pt x="163216" y="0"/>
                        <a:pt x="216043" y="0"/>
                      </a:cubicBezTo>
                      <a:cubicBezTo>
                        <a:pt x="274699" y="0"/>
                        <a:pt x="304027" y="34611"/>
                        <a:pt x="304027" y="86345"/>
                      </a:cubicBezTo>
                      <a:lnTo>
                        <a:pt x="304027" y="320604"/>
                      </a:lnTo>
                      <a:cubicBezTo>
                        <a:pt x="304027" y="334084"/>
                        <a:pt x="312225" y="342828"/>
                        <a:pt x="324065" y="342828"/>
                      </a:cubicBezTo>
                      <a:cubicBezTo>
                        <a:pt x="334630" y="342828"/>
                        <a:pt x="342828" y="336452"/>
                        <a:pt x="346289" y="326251"/>
                      </a:cubicBezTo>
                      <a:lnTo>
                        <a:pt x="442652" y="73411"/>
                      </a:lnTo>
                      <a:cubicBezTo>
                        <a:pt x="457954" y="28235"/>
                        <a:pt x="483092" y="0"/>
                        <a:pt x="535919" y="0"/>
                      </a:cubicBezTo>
                      <a:cubicBezTo>
                        <a:pt x="594575" y="0"/>
                        <a:pt x="623903" y="34611"/>
                        <a:pt x="623903" y="86345"/>
                      </a:cubicBezTo>
                      <a:lnTo>
                        <a:pt x="623903" y="403305"/>
                      </a:lnTo>
                      <a:lnTo>
                        <a:pt x="553953" y="403305"/>
                      </a:lnTo>
                      <a:lnTo>
                        <a:pt x="553953" y="89806"/>
                      </a:lnTo>
                      <a:cubicBezTo>
                        <a:pt x="553953" y="75597"/>
                        <a:pt x="545755" y="66853"/>
                        <a:pt x="534097" y="66853"/>
                      </a:cubicBezTo>
                      <a:cubicBezTo>
                        <a:pt x="524078" y="66853"/>
                        <a:pt x="515881" y="73958"/>
                        <a:pt x="512420" y="83794"/>
                      </a:cubicBezTo>
                      <a:lnTo>
                        <a:pt x="416057" y="336817"/>
                      </a:lnTo>
                      <a:cubicBezTo>
                        <a:pt x="400755" y="381992"/>
                        <a:pt x="374888" y="410228"/>
                        <a:pt x="322061" y="410228"/>
                      </a:cubicBezTo>
                      <a:cubicBezTo>
                        <a:pt x="263952" y="410228"/>
                        <a:pt x="234624" y="375617"/>
                        <a:pt x="234624" y="323337"/>
                      </a:cubicBezTo>
                      <a:lnTo>
                        <a:pt x="234624" y="89806"/>
                      </a:lnTo>
                      <a:cubicBezTo>
                        <a:pt x="234624" y="75597"/>
                        <a:pt x="225880" y="66853"/>
                        <a:pt x="214040" y="66853"/>
                      </a:cubicBezTo>
                      <a:cubicBezTo>
                        <a:pt x="203474" y="66853"/>
                        <a:pt x="196370" y="73958"/>
                        <a:pt x="192362" y="83794"/>
                      </a:cubicBezTo>
                      <a:lnTo>
                        <a:pt x="73775" y="403123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" name="Freeform: Shape 26">
                  <a:extLst>
                    <a:ext uri="{FF2B5EF4-FFF2-40B4-BE49-F238E27FC236}">
                      <a16:creationId xmlns:a16="http://schemas.microsoft.com/office/drawing/2014/main" id="{BC58FD2D-7AE3-E57C-E353-FA38352809C5}"/>
                    </a:ext>
                  </a:extLst>
                </p:cNvPr>
                <p:cNvSpPr/>
                <p:nvPr/>
              </p:nvSpPr>
              <p:spPr>
                <a:xfrm>
                  <a:off x="6448961" y="2752351"/>
                  <a:ext cx="438462" cy="403305"/>
                </a:xfrm>
                <a:custGeom>
                  <a:avLst/>
                  <a:gdLst>
                    <a:gd name="connsiteX0" fmla="*/ 76326 w 438462"/>
                    <a:gd name="connsiteY0" fmla="*/ 403305 h 403305"/>
                    <a:gd name="connsiteX1" fmla="*/ 0 w 438462"/>
                    <a:gd name="connsiteY1" fmla="*/ 403305 h 403305"/>
                    <a:gd name="connsiteX2" fmla="*/ 138989 w 438462"/>
                    <a:gd name="connsiteY2" fmla="*/ 51187 h 403305"/>
                    <a:gd name="connsiteX3" fmla="*/ 222419 w 438462"/>
                    <a:gd name="connsiteY3" fmla="*/ 0 h 403305"/>
                    <a:gd name="connsiteX4" fmla="*/ 304574 w 438462"/>
                    <a:gd name="connsiteY4" fmla="*/ 51187 h 403305"/>
                    <a:gd name="connsiteX5" fmla="*/ 438462 w 438462"/>
                    <a:gd name="connsiteY5" fmla="*/ 403305 h 403305"/>
                    <a:gd name="connsiteX6" fmla="*/ 361590 w 438462"/>
                    <a:gd name="connsiteY6" fmla="*/ 403305 h 403305"/>
                    <a:gd name="connsiteX7" fmla="*/ 241364 w 438462"/>
                    <a:gd name="connsiteY7" fmla="*/ 84523 h 403305"/>
                    <a:gd name="connsiteX8" fmla="*/ 222055 w 438462"/>
                    <a:gd name="connsiteY8" fmla="*/ 71043 h 403305"/>
                    <a:gd name="connsiteX9" fmla="*/ 202017 w 438462"/>
                    <a:gd name="connsiteY9" fmla="*/ 84523 h 403305"/>
                    <a:gd name="connsiteX10" fmla="*/ 76508 w 438462"/>
                    <a:gd name="connsiteY10" fmla="*/ 403305 h 40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8462" h="403305">
                      <a:moveTo>
                        <a:pt x="76326" y="403305"/>
                      </a:moveTo>
                      <a:lnTo>
                        <a:pt x="0" y="403305"/>
                      </a:lnTo>
                      <a:lnTo>
                        <a:pt x="138989" y="51187"/>
                      </a:lnTo>
                      <a:cubicBezTo>
                        <a:pt x="153744" y="14209"/>
                        <a:pt x="180704" y="0"/>
                        <a:pt x="222419" y="0"/>
                      </a:cubicBezTo>
                      <a:cubicBezTo>
                        <a:pt x="264134" y="0"/>
                        <a:pt x="290547" y="14209"/>
                        <a:pt x="304574" y="51187"/>
                      </a:cubicBezTo>
                      <a:lnTo>
                        <a:pt x="438462" y="403305"/>
                      </a:lnTo>
                      <a:lnTo>
                        <a:pt x="361590" y="403305"/>
                      </a:lnTo>
                      <a:lnTo>
                        <a:pt x="241364" y="84523"/>
                      </a:lnTo>
                      <a:cubicBezTo>
                        <a:pt x="237903" y="75051"/>
                        <a:pt x="231345" y="71043"/>
                        <a:pt x="222055" y="71043"/>
                      </a:cubicBezTo>
                      <a:cubicBezTo>
                        <a:pt x="212764" y="71043"/>
                        <a:pt x="206207" y="75051"/>
                        <a:pt x="202017" y="84523"/>
                      </a:cubicBezTo>
                      <a:lnTo>
                        <a:pt x="76508" y="403305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E6DC1FB2-FC14-0AE5-2404-C03B140AC457}"/>
                    </a:ext>
                  </a:extLst>
                </p:cNvPr>
                <p:cNvSpPr/>
                <p:nvPr/>
              </p:nvSpPr>
              <p:spPr>
                <a:xfrm>
                  <a:off x="6939339" y="2759273"/>
                  <a:ext cx="350296" cy="396383"/>
                </a:xfrm>
                <a:custGeom>
                  <a:avLst/>
                  <a:gdLst>
                    <a:gd name="connsiteX0" fmla="*/ 214768 w 350296"/>
                    <a:gd name="connsiteY0" fmla="*/ 182 h 396383"/>
                    <a:gd name="connsiteX1" fmla="*/ 342099 w 350296"/>
                    <a:gd name="connsiteY1" fmla="*/ 118769 h 396383"/>
                    <a:gd name="connsiteX2" fmla="*/ 258123 w 350296"/>
                    <a:gd name="connsiteY2" fmla="*/ 237903 h 396383"/>
                    <a:gd name="connsiteX3" fmla="*/ 350296 w 350296"/>
                    <a:gd name="connsiteY3" fmla="*/ 396383 h 396383"/>
                    <a:gd name="connsiteX4" fmla="*/ 273424 w 350296"/>
                    <a:gd name="connsiteY4" fmla="*/ 396383 h 396383"/>
                    <a:gd name="connsiteX5" fmla="*/ 183072 w 350296"/>
                    <a:gd name="connsiteY5" fmla="*/ 243185 h 396383"/>
                    <a:gd name="connsiteX6" fmla="*/ 79787 w 350296"/>
                    <a:gd name="connsiteY6" fmla="*/ 243185 h 396383"/>
                    <a:gd name="connsiteX7" fmla="*/ 69768 w 350296"/>
                    <a:gd name="connsiteY7" fmla="*/ 253204 h 396383"/>
                    <a:gd name="connsiteX8" fmla="*/ 69768 w 350296"/>
                    <a:gd name="connsiteY8" fmla="*/ 396383 h 396383"/>
                    <a:gd name="connsiteX9" fmla="*/ 546 w 350296"/>
                    <a:gd name="connsiteY9" fmla="*/ 396383 h 396383"/>
                    <a:gd name="connsiteX10" fmla="*/ 546 w 350296"/>
                    <a:gd name="connsiteY10" fmla="*/ 239724 h 396383"/>
                    <a:gd name="connsiteX11" fmla="*/ 62846 w 350296"/>
                    <a:gd name="connsiteY11" fmla="*/ 176879 h 396383"/>
                    <a:gd name="connsiteX12" fmla="*/ 217136 w 350296"/>
                    <a:gd name="connsiteY12" fmla="*/ 176879 h 396383"/>
                    <a:gd name="connsiteX13" fmla="*/ 272331 w 350296"/>
                    <a:gd name="connsiteY13" fmla="*/ 121684 h 396383"/>
                    <a:gd name="connsiteX14" fmla="*/ 217136 w 350296"/>
                    <a:gd name="connsiteY14" fmla="*/ 69403 h 396383"/>
                    <a:gd name="connsiteX15" fmla="*/ 0 w 350296"/>
                    <a:gd name="connsiteY15" fmla="*/ 69403 h 396383"/>
                    <a:gd name="connsiteX16" fmla="*/ 0 w 350296"/>
                    <a:gd name="connsiteY16" fmla="*/ 0 h 396383"/>
                    <a:gd name="connsiteX17" fmla="*/ 214768 w 350296"/>
                    <a:gd name="connsiteY17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50296" h="396383">
                      <a:moveTo>
                        <a:pt x="214768" y="182"/>
                      </a:moveTo>
                      <a:cubicBezTo>
                        <a:pt x="304027" y="182"/>
                        <a:pt x="342099" y="55377"/>
                        <a:pt x="342099" y="118769"/>
                      </a:cubicBezTo>
                      <a:cubicBezTo>
                        <a:pt x="342099" y="168135"/>
                        <a:pt x="318600" y="220962"/>
                        <a:pt x="258123" y="237903"/>
                      </a:cubicBezTo>
                      <a:lnTo>
                        <a:pt x="350296" y="396383"/>
                      </a:lnTo>
                      <a:lnTo>
                        <a:pt x="273424" y="396383"/>
                      </a:lnTo>
                      <a:lnTo>
                        <a:pt x="183072" y="243185"/>
                      </a:lnTo>
                      <a:lnTo>
                        <a:pt x="79787" y="243185"/>
                      </a:lnTo>
                      <a:cubicBezTo>
                        <a:pt x="73411" y="243185"/>
                        <a:pt x="69768" y="246100"/>
                        <a:pt x="69768" y="253204"/>
                      </a:cubicBezTo>
                      <a:lnTo>
                        <a:pt x="69768" y="396383"/>
                      </a:lnTo>
                      <a:lnTo>
                        <a:pt x="546" y="396383"/>
                      </a:lnTo>
                      <a:lnTo>
                        <a:pt x="546" y="239724"/>
                      </a:lnTo>
                      <a:cubicBezTo>
                        <a:pt x="546" y="195095"/>
                        <a:pt x="19309" y="176879"/>
                        <a:pt x="62846" y="176879"/>
                      </a:cubicBezTo>
                      <a:lnTo>
                        <a:pt x="217136" y="176879"/>
                      </a:lnTo>
                      <a:cubicBezTo>
                        <a:pt x="256483" y="176879"/>
                        <a:pt x="272331" y="149919"/>
                        <a:pt x="272331" y="121684"/>
                      </a:cubicBezTo>
                      <a:cubicBezTo>
                        <a:pt x="272331" y="93449"/>
                        <a:pt x="255208" y="69403"/>
                        <a:pt x="217136" y="69403"/>
                      </a:cubicBezTo>
                      <a:lnTo>
                        <a:pt x="0" y="69403"/>
                      </a:lnTo>
                      <a:lnTo>
                        <a:pt x="0" y="0"/>
                      </a:lnTo>
                      <a:lnTo>
                        <a:pt x="214768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4C8F6D18-88EB-F421-3582-64A9CFC9588E}"/>
                    </a:ext>
                  </a:extLst>
                </p:cNvPr>
                <p:cNvSpPr/>
                <p:nvPr/>
              </p:nvSpPr>
              <p:spPr>
                <a:xfrm>
                  <a:off x="7335358" y="2759455"/>
                  <a:ext cx="354121" cy="396383"/>
                </a:xfrm>
                <a:custGeom>
                  <a:avLst/>
                  <a:gdLst>
                    <a:gd name="connsiteX0" fmla="*/ 324429 w 354121"/>
                    <a:gd name="connsiteY0" fmla="*/ 0 h 396383"/>
                    <a:gd name="connsiteX1" fmla="*/ 324429 w 354121"/>
                    <a:gd name="connsiteY1" fmla="*/ 69403 h 396383"/>
                    <a:gd name="connsiteX2" fmla="*/ 121320 w 354121"/>
                    <a:gd name="connsiteY2" fmla="*/ 69403 h 396383"/>
                    <a:gd name="connsiteX3" fmla="*/ 69586 w 354121"/>
                    <a:gd name="connsiteY3" fmla="*/ 116401 h 396383"/>
                    <a:gd name="connsiteX4" fmla="*/ 128241 w 354121"/>
                    <a:gd name="connsiteY4" fmla="*/ 163399 h 396383"/>
                    <a:gd name="connsiteX5" fmla="*/ 220962 w 354121"/>
                    <a:gd name="connsiteY5" fmla="*/ 163399 h 396383"/>
                    <a:gd name="connsiteX6" fmla="*/ 354122 w 354121"/>
                    <a:gd name="connsiteY6" fmla="*/ 280164 h 396383"/>
                    <a:gd name="connsiteX7" fmla="*/ 227884 w 354121"/>
                    <a:gd name="connsiteY7" fmla="*/ 396383 h 396383"/>
                    <a:gd name="connsiteX8" fmla="*/ 7286 w 354121"/>
                    <a:gd name="connsiteY8" fmla="*/ 396383 h 396383"/>
                    <a:gd name="connsiteX9" fmla="*/ 7286 w 354121"/>
                    <a:gd name="connsiteY9" fmla="*/ 327162 h 396383"/>
                    <a:gd name="connsiteX10" fmla="*/ 230252 w 354121"/>
                    <a:gd name="connsiteY10" fmla="*/ 327162 h 396383"/>
                    <a:gd name="connsiteX11" fmla="*/ 284718 w 354121"/>
                    <a:gd name="connsiteY11" fmla="*/ 277796 h 396383"/>
                    <a:gd name="connsiteX12" fmla="*/ 222419 w 354121"/>
                    <a:gd name="connsiteY12" fmla="*/ 228430 h 396383"/>
                    <a:gd name="connsiteX13" fmla="*/ 130245 w 354121"/>
                    <a:gd name="connsiteY13" fmla="*/ 228430 h 396383"/>
                    <a:gd name="connsiteX14" fmla="*/ 0 w 354121"/>
                    <a:gd name="connsiteY14" fmla="*/ 114033 h 396383"/>
                    <a:gd name="connsiteX15" fmla="*/ 123323 w 354121"/>
                    <a:gd name="connsiteY15" fmla="*/ 182 h 396383"/>
                    <a:gd name="connsiteX16" fmla="*/ 324065 w 354121"/>
                    <a:gd name="connsiteY16" fmla="*/ 182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54121" h="396383">
                      <a:moveTo>
                        <a:pt x="324429" y="0"/>
                      </a:moveTo>
                      <a:lnTo>
                        <a:pt x="324429" y="69403"/>
                      </a:lnTo>
                      <a:lnTo>
                        <a:pt x="121320" y="69403"/>
                      </a:lnTo>
                      <a:cubicBezTo>
                        <a:pt x="85616" y="69403"/>
                        <a:pt x="69586" y="88713"/>
                        <a:pt x="69586" y="116401"/>
                      </a:cubicBezTo>
                      <a:cubicBezTo>
                        <a:pt x="69586" y="140446"/>
                        <a:pt x="81973" y="163399"/>
                        <a:pt x="128241" y="163399"/>
                      </a:cubicBezTo>
                      <a:lnTo>
                        <a:pt x="220962" y="163399"/>
                      </a:lnTo>
                      <a:cubicBezTo>
                        <a:pt x="328983" y="163399"/>
                        <a:pt x="354122" y="223330"/>
                        <a:pt x="354122" y="280164"/>
                      </a:cubicBezTo>
                      <a:cubicBezTo>
                        <a:pt x="354122" y="347017"/>
                        <a:pt x="318418" y="396383"/>
                        <a:pt x="227884" y="396383"/>
                      </a:cubicBezTo>
                      <a:lnTo>
                        <a:pt x="7286" y="396383"/>
                      </a:lnTo>
                      <a:lnTo>
                        <a:pt x="7286" y="327162"/>
                      </a:lnTo>
                      <a:lnTo>
                        <a:pt x="230252" y="327162"/>
                      </a:lnTo>
                      <a:cubicBezTo>
                        <a:pt x="267777" y="327162"/>
                        <a:pt x="284718" y="306578"/>
                        <a:pt x="284718" y="277796"/>
                      </a:cubicBezTo>
                      <a:cubicBezTo>
                        <a:pt x="284718" y="251929"/>
                        <a:pt x="271238" y="228430"/>
                        <a:pt x="222419" y="228430"/>
                      </a:cubicBezTo>
                      <a:lnTo>
                        <a:pt x="130245" y="228430"/>
                      </a:lnTo>
                      <a:cubicBezTo>
                        <a:pt x="24592" y="228430"/>
                        <a:pt x="0" y="169228"/>
                        <a:pt x="0" y="114033"/>
                      </a:cubicBezTo>
                      <a:cubicBezTo>
                        <a:pt x="0" y="48273"/>
                        <a:pt x="35339" y="182"/>
                        <a:pt x="123323" y="182"/>
                      </a:cubicBezTo>
                      <a:lnTo>
                        <a:pt x="324065" y="182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56BD92A8-4F8F-52FE-45A0-3597497A1234}"/>
                    </a:ext>
                  </a:extLst>
                </p:cNvPr>
                <p:cNvSpPr/>
                <p:nvPr/>
              </p:nvSpPr>
              <p:spPr>
                <a:xfrm>
                  <a:off x="7902973" y="2759091"/>
                  <a:ext cx="359222" cy="396383"/>
                </a:xfrm>
                <a:custGeom>
                  <a:avLst/>
                  <a:gdLst>
                    <a:gd name="connsiteX0" fmla="*/ 240089 w 359222"/>
                    <a:gd name="connsiteY0" fmla="*/ 364 h 396383"/>
                    <a:gd name="connsiteX1" fmla="*/ 359222 w 359222"/>
                    <a:gd name="connsiteY1" fmla="*/ 112576 h 396383"/>
                    <a:gd name="connsiteX2" fmla="*/ 267049 w 359222"/>
                    <a:gd name="connsiteY2" fmla="*/ 218776 h 396383"/>
                    <a:gd name="connsiteX3" fmla="*/ 102010 w 359222"/>
                    <a:gd name="connsiteY3" fmla="*/ 255755 h 396383"/>
                    <a:gd name="connsiteX4" fmla="*/ 69221 w 359222"/>
                    <a:gd name="connsiteY4" fmla="*/ 299109 h 396383"/>
                    <a:gd name="connsiteX5" fmla="*/ 69221 w 359222"/>
                    <a:gd name="connsiteY5" fmla="*/ 318965 h 396383"/>
                    <a:gd name="connsiteX6" fmla="*/ 76872 w 359222"/>
                    <a:gd name="connsiteY6" fmla="*/ 327162 h 396383"/>
                    <a:gd name="connsiteX7" fmla="*/ 348657 w 359222"/>
                    <a:gd name="connsiteY7" fmla="*/ 327162 h 396383"/>
                    <a:gd name="connsiteX8" fmla="*/ 348657 w 359222"/>
                    <a:gd name="connsiteY8" fmla="*/ 396383 h 396383"/>
                    <a:gd name="connsiteX9" fmla="*/ 32789 w 359222"/>
                    <a:gd name="connsiteY9" fmla="*/ 396383 h 396383"/>
                    <a:gd name="connsiteX10" fmla="*/ 0 w 359222"/>
                    <a:gd name="connsiteY10" fmla="*/ 364141 h 396383"/>
                    <a:gd name="connsiteX11" fmla="*/ 0 w 359222"/>
                    <a:gd name="connsiteY11" fmla="*/ 304209 h 396383"/>
                    <a:gd name="connsiteX12" fmla="*/ 86891 w 359222"/>
                    <a:gd name="connsiteY12" fmla="*/ 190359 h 396383"/>
                    <a:gd name="connsiteX13" fmla="*/ 253568 w 359222"/>
                    <a:gd name="connsiteY13" fmla="*/ 152287 h 396383"/>
                    <a:gd name="connsiteX14" fmla="*/ 290547 w 359222"/>
                    <a:gd name="connsiteY14" fmla="*/ 113487 h 396383"/>
                    <a:gd name="connsiteX15" fmla="*/ 241728 w 359222"/>
                    <a:gd name="connsiteY15" fmla="*/ 69403 h 396383"/>
                    <a:gd name="connsiteX16" fmla="*/ 12751 w 359222"/>
                    <a:gd name="connsiteY16" fmla="*/ 69403 h 396383"/>
                    <a:gd name="connsiteX17" fmla="*/ 12751 w 359222"/>
                    <a:gd name="connsiteY17" fmla="*/ 0 h 396383"/>
                    <a:gd name="connsiteX18" fmla="*/ 239906 w 359222"/>
                    <a:gd name="connsiteY18" fmla="*/ 0 h 396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9222" h="396383">
                      <a:moveTo>
                        <a:pt x="240089" y="364"/>
                      </a:moveTo>
                      <a:cubicBezTo>
                        <a:pt x="316414" y="364"/>
                        <a:pt x="359222" y="39711"/>
                        <a:pt x="359222" y="112576"/>
                      </a:cubicBezTo>
                      <a:cubicBezTo>
                        <a:pt x="359222" y="171232"/>
                        <a:pt x="330987" y="204203"/>
                        <a:pt x="267049" y="218776"/>
                      </a:cubicBezTo>
                      <a:lnTo>
                        <a:pt x="102010" y="255755"/>
                      </a:lnTo>
                      <a:cubicBezTo>
                        <a:pt x="74504" y="262130"/>
                        <a:pt x="69221" y="276885"/>
                        <a:pt x="69221" y="299109"/>
                      </a:cubicBezTo>
                      <a:lnTo>
                        <a:pt x="69221" y="318965"/>
                      </a:lnTo>
                      <a:cubicBezTo>
                        <a:pt x="69221" y="325340"/>
                        <a:pt x="71589" y="327162"/>
                        <a:pt x="76872" y="327162"/>
                      </a:cubicBezTo>
                      <a:lnTo>
                        <a:pt x="348657" y="327162"/>
                      </a:lnTo>
                      <a:lnTo>
                        <a:pt x="348657" y="396383"/>
                      </a:lnTo>
                      <a:lnTo>
                        <a:pt x="32789" y="396383"/>
                      </a:lnTo>
                      <a:cubicBezTo>
                        <a:pt x="10565" y="396383"/>
                        <a:pt x="0" y="385818"/>
                        <a:pt x="0" y="364141"/>
                      </a:cubicBezTo>
                      <a:lnTo>
                        <a:pt x="0" y="304209"/>
                      </a:lnTo>
                      <a:cubicBezTo>
                        <a:pt x="0" y="239542"/>
                        <a:pt x="19309" y="205478"/>
                        <a:pt x="86891" y="190359"/>
                      </a:cubicBezTo>
                      <a:lnTo>
                        <a:pt x="253568" y="152287"/>
                      </a:lnTo>
                      <a:cubicBezTo>
                        <a:pt x="281804" y="145911"/>
                        <a:pt x="290547" y="132431"/>
                        <a:pt x="290547" y="113487"/>
                      </a:cubicBezTo>
                      <a:cubicBezTo>
                        <a:pt x="290547" y="87073"/>
                        <a:pt x="273424" y="69403"/>
                        <a:pt x="241728" y="69403"/>
                      </a:cubicBezTo>
                      <a:lnTo>
                        <a:pt x="12751" y="69403"/>
                      </a:lnTo>
                      <a:lnTo>
                        <a:pt x="12751" y="0"/>
                      </a:lnTo>
                      <a:lnTo>
                        <a:pt x="239906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922448FC-55DB-B451-61F4-F9AEE9F30D02}"/>
                    </a:ext>
                  </a:extLst>
                </p:cNvPr>
                <p:cNvSpPr/>
                <p:nvPr/>
              </p:nvSpPr>
              <p:spPr>
                <a:xfrm>
                  <a:off x="8309922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4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4 w 358129"/>
                    <a:gd name="connsiteY3" fmla="*/ 0 h 407859"/>
                    <a:gd name="connsiteX4" fmla="*/ 358129 w 358129"/>
                    <a:gd name="connsiteY4" fmla="*/ 204203 h 407859"/>
                    <a:gd name="connsiteX5" fmla="*/ 68128 w 358129"/>
                    <a:gd name="connsiteY5" fmla="*/ 203656 h 407859"/>
                    <a:gd name="connsiteX6" fmla="*/ 179064 w 358129"/>
                    <a:gd name="connsiteY6" fmla="*/ 338638 h 407859"/>
                    <a:gd name="connsiteX7" fmla="*/ 289454 w 358129"/>
                    <a:gd name="connsiteY7" fmla="*/ 203656 h 407859"/>
                    <a:gd name="connsiteX8" fmla="*/ 179064 w 358129"/>
                    <a:gd name="connsiteY8" fmla="*/ 69221 h 407859"/>
                    <a:gd name="connsiteX9" fmla="*/ 68128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7" y="407860"/>
                        <a:pt x="179064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8" y="0"/>
                        <a:pt x="179064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128" y="203656"/>
                      </a:moveTo>
                      <a:cubicBezTo>
                        <a:pt x="68128" y="294555"/>
                        <a:pt x="101646" y="338638"/>
                        <a:pt x="179064" y="338638"/>
                      </a:cubicBezTo>
                      <a:cubicBezTo>
                        <a:pt x="256483" y="338638"/>
                        <a:pt x="289454" y="294555"/>
                        <a:pt x="289454" y="203656"/>
                      </a:cubicBezTo>
                      <a:cubicBezTo>
                        <a:pt x="289454" y="112758"/>
                        <a:pt x="255937" y="69221"/>
                        <a:pt x="179064" y="69221"/>
                      </a:cubicBezTo>
                      <a:cubicBezTo>
                        <a:pt x="102192" y="69221"/>
                        <a:pt x="68128" y="113304"/>
                        <a:pt x="68128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B88AB0B2-1CCF-36D6-9745-69D8F9944063}"/>
                    </a:ext>
                  </a:extLst>
                </p:cNvPr>
                <p:cNvSpPr/>
                <p:nvPr/>
              </p:nvSpPr>
              <p:spPr>
                <a:xfrm>
                  <a:off x="8744558" y="2759273"/>
                  <a:ext cx="332262" cy="396201"/>
                </a:xfrm>
                <a:custGeom>
                  <a:avLst/>
                  <a:gdLst>
                    <a:gd name="connsiteX0" fmla="*/ 198374 w 332262"/>
                    <a:gd name="connsiteY0" fmla="*/ 182 h 396201"/>
                    <a:gd name="connsiteX1" fmla="*/ 330988 w 332262"/>
                    <a:gd name="connsiteY1" fmla="*/ 106382 h 396201"/>
                    <a:gd name="connsiteX2" fmla="*/ 274700 w 332262"/>
                    <a:gd name="connsiteY2" fmla="*/ 197281 h 396201"/>
                    <a:gd name="connsiteX3" fmla="*/ 332263 w 332262"/>
                    <a:gd name="connsiteY3" fmla="*/ 290001 h 396201"/>
                    <a:gd name="connsiteX4" fmla="*/ 200196 w 332262"/>
                    <a:gd name="connsiteY4" fmla="*/ 396201 h 396201"/>
                    <a:gd name="connsiteX5" fmla="*/ 0 w 332262"/>
                    <a:gd name="connsiteY5" fmla="*/ 396201 h 396201"/>
                    <a:gd name="connsiteX6" fmla="*/ 0 w 332262"/>
                    <a:gd name="connsiteY6" fmla="*/ 326980 h 396201"/>
                    <a:gd name="connsiteX7" fmla="*/ 200196 w 332262"/>
                    <a:gd name="connsiteY7" fmla="*/ 326980 h 396201"/>
                    <a:gd name="connsiteX8" fmla="*/ 260126 w 332262"/>
                    <a:gd name="connsiteY8" fmla="*/ 276521 h 396201"/>
                    <a:gd name="connsiteX9" fmla="*/ 199649 w 332262"/>
                    <a:gd name="connsiteY9" fmla="*/ 228977 h 396201"/>
                    <a:gd name="connsiteX10" fmla="*/ 77601 w 332262"/>
                    <a:gd name="connsiteY10" fmla="*/ 228977 h 396201"/>
                    <a:gd name="connsiteX11" fmla="*/ 77601 w 332262"/>
                    <a:gd name="connsiteY11" fmla="*/ 166131 h 396201"/>
                    <a:gd name="connsiteX12" fmla="*/ 197828 w 332262"/>
                    <a:gd name="connsiteY12" fmla="*/ 166131 h 396201"/>
                    <a:gd name="connsiteX13" fmla="*/ 258305 w 332262"/>
                    <a:gd name="connsiteY13" fmla="*/ 118587 h 396201"/>
                    <a:gd name="connsiteX14" fmla="*/ 198374 w 332262"/>
                    <a:gd name="connsiteY14" fmla="*/ 69403 h 396201"/>
                    <a:gd name="connsiteX15" fmla="*/ 546 w 332262"/>
                    <a:gd name="connsiteY15" fmla="*/ 69403 h 396201"/>
                    <a:gd name="connsiteX16" fmla="*/ 546 w 332262"/>
                    <a:gd name="connsiteY16" fmla="*/ 0 h 396201"/>
                    <a:gd name="connsiteX17" fmla="*/ 198374 w 332262"/>
                    <a:gd name="connsiteY17" fmla="*/ 0 h 39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262" h="396201">
                      <a:moveTo>
                        <a:pt x="198374" y="182"/>
                      </a:moveTo>
                      <a:cubicBezTo>
                        <a:pt x="291641" y="182"/>
                        <a:pt x="330988" y="45358"/>
                        <a:pt x="330988" y="106382"/>
                      </a:cubicBezTo>
                      <a:cubicBezTo>
                        <a:pt x="330988" y="153380"/>
                        <a:pt x="310950" y="182161"/>
                        <a:pt x="274700" y="197281"/>
                      </a:cubicBezTo>
                      <a:cubicBezTo>
                        <a:pt x="312225" y="213129"/>
                        <a:pt x="332263" y="242457"/>
                        <a:pt x="332263" y="290001"/>
                      </a:cubicBezTo>
                      <a:cubicBezTo>
                        <a:pt x="332263" y="349203"/>
                        <a:pt x="293462" y="396201"/>
                        <a:pt x="200196" y="396201"/>
                      </a:cubicBezTo>
                      <a:lnTo>
                        <a:pt x="0" y="396201"/>
                      </a:lnTo>
                      <a:lnTo>
                        <a:pt x="0" y="326980"/>
                      </a:lnTo>
                      <a:lnTo>
                        <a:pt x="200196" y="326980"/>
                      </a:lnTo>
                      <a:cubicBezTo>
                        <a:pt x="240636" y="326980"/>
                        <a:pt x="260126" y="308217"/>
                        <a:pt x="260126" y="276521"/>
                      </a:cubicBezTo>
                      <a:cubicBezTo>
                        <a:pt x="260126" y="244825"/>
                        <a:pt x="239542" y="228977"/>
                        <a:pt x="199649" y="228977"/>
                      </a:cubicBezTo>
                      <a:lnTo>
                        <a:pt x="77601" y="228977"/>
                      </a:lnTo>
                      <a:lnTo>
                        <a:pt x="77601" y="166131"/>
                      </a:lnTo>
                      <a:lnTo>
                        <a:pt x="197828" y="166131"/>
                      </a:lnTo>
                      <a:cubicBezTo>
                        <a:pt x="238267" y="166131"/>
                        <a:pt x="258305" y="151558"/>
                        <a:pt x="258305" y="118587"/>
                      </a:cubicBezTo>
                      <a:cubicBezTo>
                        <a:pt x="258305" y="88713"/>
                        <a:pt x="240089" y="69403"/>
                        <a:pt x="198374" y="69403"/>
                      </a:cubicBezTo>
                      <a:lnTo>
                        <a:pt x="546" y="69403"/>
                      </a:lnTo>
                      <a:lnTo>
                        <a:pt x="546" y="0"/>
                      </a:lnTo>
                      <a:lnTo>
                        <a:pt x="198374" y="0"/>
                      </a:ln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84D24856-B3DB-3EEC-4271-BD61951DE1F2}"/>
                    </a:ext>
                  </a:extLst>
                </p:cNvPr>
                <p:cNvSpPr/>
                <p:nvPr/>
              </p:nvSpPr>
              <p:spPr>
                <a:xfrm>
                  <a:off x="9137298" y="2753626"/>
                  <a:ext cx="358129" cy="407859"/>
                </a:xfrm>
                <a:custGeom>
                  <a:avLst/>
                  <a:gdLst>
                    <a:gd name="connsiteX0" fmla="*/ 358129 w 358129"/>
                    <a:gd name="connsiteY0" fmla="*/ 204203 h 407859"/>
                    <a:gd name="connsiteX1" fmla="*/ 179065 w 358129"/>
                    <a:gd name="connsiteY1" fmla="*/ 407860 h 407859"/>
                    <a:gd name="connsiteX2" fmla="*/ 0 w 358129"/>
                    <a:gd name="connsiteY2" fmla="*/ 204203 h 407859"/>
                    <a:gd name="connsiteX3" fmla="*/ 179065 w 358129"/>
                    <a:gd name="connsiteY3" fmla="*/ 0 h 407859"/>
                    <a:gd name="connsiteX4" fmla="*/ 358129 w 358129"/>
                    <a:gd name="connsiteY4" fmla="*/ 204203 h 407859"/>
                    <a:gd name="connsiteX5" fmla="*/ 68311 w 358129"/>
                    <a:gd name="connsiteY5" fmla="*/ 203656 h 407859"/>
                    <a:gd name="connsiteX6" fmla="*/ 179247 w 358129"/>
                    <a:gd name="connsiteY6" fmla="*/ 338638 h 407859"/>
                    <a:gd name="connsiteX7" fmla="*/ 289637 w 358129"/>
                    <a:gd name="connsiteY7" fmla="*/ 203656 h 407859"/>
                    <a:gd name="connsiteX8" fmla="*/ 179247 w 358129"/>
                    <a:gd name="connsiteY8" fmla="*/ 69221 h 407859"/>
                    <a:gd name="connsiteX9" fmla="*/ 68311 w 358129"/>
                    <a:gd name="connsiteY9" fmla="*/ 203656 h 407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8129" h="407859">
                      <a:moveTo>
                        <a:pt x="358129" y="204203"/>
                      </a:moveTo>
                      <a:cubicBezTo>
                        <a:pt x="358129" y="336817"/>
                        <a:pt x="294738" y="407860"/>
                        <a:pt x="179065" y="407860"/>
                      </a:cubicBezTo>
                      <a:cubicBezTo>
                        <a:pt x="63392" y="407860"/>
                        <a:pt x="0" y="336817"/>
                        <a:pt x="0" y="204203"/>
                      </a:cubicBezTo>
                      <a:cubicBezTo>
                        <a:pt x="0" y="71589"/>
                        <a:pt x="63939" y="0"/>
                        <a:pt x="179065" y="0"/>
                      </a:cubicBezTo>
                      <a:cubicBezTo>
                        <a:pt x="294191" y="0"/>
                        <a:pt x="358129" y="71043"/>
                        <a:pt x="358129" y="204203"/>
                      </a:cubicBezTo>
                      <a:close/>
                      <a:moveTo>
                        <a:pt x="68311" y="203656"/>
                      </a:moveTo>
                      <a:cubicBezTo>
                        <a:pt x="68311" y="294555"/>
                        <a:pt x="101646" y="338638"/>
                        <a:pt x="179247" y="338638"/>
                      </a:cubicBezTo>
                      <a:cubicBezTo>
                        <a:pt x="256848" y="338638"/>
                        <a:pt x="289637" y="294555"/>
                        <a:pt x="289637" y="203656"/>
                      </a:cubicBezTo>
                      <a:cubicBezTo>
                        <a:pt x="289637" y="112758"/>
                        <a:pt x="256301" y="69221"/>
                        <a:pt x="179247" y="69221"/>
                      </a:cubicBezTo>
                      <a:cubicBezTo>
                        <a:pt x="102193" y="69221"/>
                        <a:pt x="68311" y="113304"/>
                        <a:pt x="68311" y="203656"/>
                      </a:cubicBezTo>
                      <a:close/>
                    </a:path>
                  </a:pathLst>
                </a:custGeom>
                <a:grpFill/>
                <a:ln w="182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9731256-AE51-8874-2E5A-8FC922D36B6F}"/>
                  </a:ext>
                </a:extLst>
              </p:cNvPr>
              <p:cNvSpPr/>
              <p:nvPr/>
            </p:nvSpPr>
            <p:spPr>
              <a:xfrm>
                <a:off x="2752724" y="1340236"/>
                <a:ext cx="2907478" cy="415692"/>
              </a:xfrm>
              <a:custGeom>
                <a:avLst/>
                <a:gdLst>
                  <a:gd name="connsiteX0" fmla="*/ 591296 w 2907478"/>
                  <a:gd name="connsiteY0" fmla="*/ 82701 h 415692"/>
                  <a:gd name="connsiteX1" fmla="*/ 676547 w 2907478"/>
                  <a:gd name="connsiteY1" fmla="*/ 82701 h 415692"/>
                  <a:gd name="connsiteX2" fmla="*/ 766535 w 2907478"/>
                  <a:gd name="connsiteY2" fmla="*/ 277978 h 415692"/>
                  <a:gd name="connsiteX3" fmla="*/ 772729 w 2907478"/>
                  <a:gd name="connsiteY3" fmla="*/ 277978 h 415692"/>
                  <a:gd name="connsiteX4" fmla="*/ 772729 w 2907478"/>
                  <a:gd name="connsiteY4" fmla="*/ 82701 h 415692"/>
                  <a:gd name="connsiteX5" fmla="*/ 821548 w 2907478"/>
                  <a:gd name="connsiteY5" fmla="*/ 82701 h 415692"/>
                  <a:gd name="connsiteX6" fmla="*/ 821548 w 2907478"/>
                  <a:gd name="connsiteY6" fmla="*/ 332991 h 415692"/>
                  <a:gd name="connsiteX7" fmla="*/ 736296 w 2907478"/>
                  <a:gd name="connsiteY7" fmla="*/ 332991 h 415692"/>
                  <a:gd name="connsiteX8" fmla="*/ 645944 w 2907478"/>
                  <a:gd name="connsiteY8" fmla="*/ 137714 h 415692"/>
                  <a:gd name="connsiteX9" fmla="*/ 640115 w 2907478"/>
                  <a:gd name="connsiteY9" fmla="*/ 137714 h 415692"/>
                  <a:gd name="connsiteX10" fmla="*/ 640115 w 2907478"/>
                  <a:gd name="connsiteY10" fmla="*/ 332991 h 415692"/>
                  <a:gd name="connsiteX11" fmla="*/ 591296 w 2907478"/>
                  <a:gd name="connsiteY11" fmla="*/ 332991 h 415692"/>
                  <a:gd name="connsiteX12" fmla="*/ 591296 w 2907478"/>
                  <a:gd name="connsiteY12" fmla="*/ 82701 h 415692"/>
                  <a:gd name="connsiteX13" fmla="*/ 869274 w 2907478"/>
                  <a:gd name="connsiteY13" fmla="*/ 207846 h 415692"/>
                  <a:gd name="connsiteX14" fmla="*/ 997152 w 2907478"/>
                  <a:gd name="connsiteY14" fmla="*/ 76872 h 415692"/>
                  <a:gd name="connsiteX15" fmla="*/ 1113371 w 2907478"/>
                  <a:gd name="connsiteY15" fmla="*/ 174328 h 415692"/>
                  <a:gd name="connsiteX16" fmla="*/ 1063276 w 2907478"/>
                  <a:gd name="connsiteY16" fmla="*/ 174328 h 415692"/>
                  <a:gd name="connsiteX17" fmla="*/ 1010085 w 2907478"/>
                  <a:gd name="connsiteY17" fmla="*/ 122777 h 415692"/>
                  <a:gd name="connsiteX18" fmla="*/ 981850 w 2907478"/>
                  <a:gd name="connsiteY18" fmla="*/ 122777 h 415692"/>
                  <a:gd name="connsiteX19" fmla="*/ 919733 w 2907478"/>
                  <a:gd name="connsiteY19" fmla="*/ 208028 h 415692"/>
                  <a:gd name="connsiteX20" fmla="*/ 981850 w 2907478"/>
                  <a:gd name="connsiteY20" fmla="*/ 293280 h 415692"/>
                  <a:gd name="connsiteX21" fmla="*/ 1010085 w 2907478"/>
                  <a:gd name="connsiteY21" fmla="*/ 293280 h 415692"/>
                  <a:gd name="connsiteX22" fmla="*/ 1064005 w 2907478"/>
                  <a:gd name="connsiteY22" fmla="*/ 241728 h 415692"/>
                  <a:gd name="connsiteX23" fmla="*/ 1114099 w 2907478"/>
                  <a:gd name="connsiteY23" fmla="*/ 241728 h 415692"/>
                  <a:gd name="connsiteX24" fmla="*/ 995512 w 2907478"/>
                  <a:gd name="connsiteY24" fmla="*/ 339185 h 415692"/>
                  <a:gd name="connsiteX25" fmla="*/ 869092 w 2907478"/>
                  <a:gd name="connsiteY25" fmla="*/ 208210 h 415692"/>
                  <a:gd name="connsiteX26" fmla="*/ 1162736 w 2907478"/>
                  <a:gd name="connsiteY26" fmla="*/ 82701 h 415692"/>
                  <a:gd name="connsiteX27" fmla="*/ 1280413 w 2907478"/>
                  <a:gd name="connsiteY27" fmla="*/ 82701 h 415692"/>
                  <a:gd name="connsiteX28" fmla="*/ 1363296 w 2907478"/>
                  <a:gd name="connsiteY28" fmla="*/ 158663 h 415692"/>
                  <a:gd name="connsiteX29" fmla="*/ 1314841 w 2907478"/>
                  <a:gd name="connsiteY29" fmla="*/ 227520 h 415692"/>
                  <a:gd name="connsiteX30" fmla="*/ 1373133 w 2907478"/>
                  <a:gd name="connsiteY30" fmla="*/ 333173 h 415692"/>
                  <a:gd name="connsiteX31" fmla="*/ 1317574 w 2907478"/>
                  <a:gd name="connsiteY31" fmla="*/ 333173 h 415692"/>
                  <a:gd name="connsiteX32" fmla="*/ 1264018 w 2907478"/>
                  <a:gd name="connsiteY32" fmla="*/ 234988 h 415692"/>
                  <a:gd name="connsiteX33" fmla="*/ 1212466 w 2907478"/>
                  <a:gd name="connsiteY33" fmla="*/ 234988 h 415692"/>
                  <a:gd name="connsiteX34" fmla="*/ 1212466 w 2907478"/>
                  <a:gd name="connsiteY34" fmla="*/ 333173 h 415692"/>
                  <a:gd name="connsiteX35" fmla="*/ 1162736 w 2907478"/>
                  <a:gd name="connsiteY35" fmla="*/ 333173 h 415692"/>
                  <a:gd name="connsiteX36" fmla="*/ 1162736 w 2907478"/>
                  <a:gd name="connsiteY36" fmla="*/ 82701 h 415692"/>
                  <a:gd name="connsiteX37" fmla="*/ 1276951 w 2907478"/>
                  <a:gd name="connsiteY37" fmla="*/ 194548 h 415692"/>
                  <a:gd name="connsiteX38" fmla="*/ 1313748 w 2907478"/>
                  <a:gd name="connsiteY38" fmla="*/ 159756 h 415692"/>
                  <a:gd name="connsiteX39" fmla="*/ 1276951 w 2907478"/>
                  <a:gd name="connsiteY39" fmla="*/ 124963 h 415692"/>
                  <a:gd name="connsiteX40" fmla="*/ 1212466 w 2907478"/>
                  <a:gd name="connsiteY40" fmla="*/ 124963 h 415692"/>
                  <a:gd name="connsiteX41" fmla="*/ 1212466 w 2907478"/>
                  <a:gd name="connsiteY41" fmla="*/ 194548 h 415692"/>
                  <a:gd name="connsiteX42" fmla="*/ 1276951 w 2907478"/>
                  <a:gd name="connsiteY42" fmla="*/ 194548 h 415692"/>
                  <a:gd name="connsiteX43" fmla="*/ 1555841 w 2907478"/>
                  <a:gd name="connsiteY43" fmla="*/ 82701 h 415692"/>
                  <a:gd name="connsiteX44" fmla="*/ 1645100 w 2907478"/>
                  <a:gd name="connsiteY44" fmla="*/ 82701 h 415692"/>
                  <a:gd name="connsiteX45" fmla="*/ 1728347 w 2907478"/>
                  <a:gd name="connsiteY45" fmla="*/ 332991 h 415692"/>
                  <a:gd name="connsiteX46" fmla="*/ 1677160 w 2907478"/>
                  <a:gd name="connsiteY46" fmla="*/ 332991 h 415692"/>
                  <a:gd name="connsiteX47" fmla="*/ 1656394 w 2907478"/>
                  <a:gd name="connsiteY47" fmla="*/ 270874 h 415692"/>
                  <a:gd name="connsiteX48" fmla="*/ 1543271 w 2907478"/>
                  <a:gd name="connsiteY48" fmla="*/ 270874 h 415692"/>
                  <a:gd name="connsiteX49" fmla="*/ 1522505 w 2907478"/>
                  <a:gd name="connsiteY49" fmla="*/ 332991 h 415692"/>
                  <a:gd name="connsiteX50" fmla="*/ 1472411 w 2907478"/>
                  <a:gd name="connsiteY50" fmla="*/ 332991 h 415692"/>
                  <a:gd name="connsiteX51" fmla="*/ 1555658 w 2907478"/>
                  <a:gd name="connsiteY51" fmla="*/ 82701 h 415692"/>
                  <a:gd name="connsiteX52" fmla="*/ 1641821 w 2907478"/>
                  <a:gd name="connsiteY52" fmla="*/ 227702 h 415692"/>
                  <a:gd name="connsiteX53" fmla="*/ 1609760 w 2907478"/>
                  <a:gd name="connsiteY53" fmla="*/ 131521 h 415692"/>
                  <a:gd name="connsiteX54" fmla="*/ 1589358 w 2907478"/>
                  <a:gd name="connsiteY54" fmla="*/ 131521 h 415692"/>
                  <a:gd name="connsiteX55" fmla="*/ 1557298 w 2907478"/>
                  <a:gd name="connsiteY55" fmla="*/ 227702 h 415692"/>
                  <a:gd name="connsiteX56" fmla="*/ 1641821 w 2907478"/>
                  <a:gd name="connsiteY56" fmla="*/ 227702 h 415692"/>
                  <a:gd name="connsiteX57" fmla="*/ 1797751 w 2907478"/>
                  <a:gd name="connsiteY57" fmla="*/ 127149 h 415692"/>
                  <a:gd name="connsiteX58" fmla="*/ 1719604 w 2907478"/>
                  <a:gd name="connsiteY58" fmla="*/ 127149 h 415692"/>
                  <a:gd name="connsiteX59" fmla="*/ 1719604 w 2907478"/>
                  <a:gd name="connsiteY59" fmla="*/ 82519 h 415692"/>
                  <a:gd name="connsiteX60" fmla="*/ 1925446 w 2907478"/>
                  <a:gd name="connsiteY60" fmla="*/ 82519 h 415692"/>
                  <a:gd name="connsiteX61" fmla="*/ 1925446 w 2907478"/>
                  <a:gd name="connsiteY61" fmla="*/ 127149 h 415692"/>
                  <a:gd name="connsiteX62" fmla="*/ 1847663 w 2907478"/>
                  <a:gd name="connsiteY62" fmla="*/ 127149 h 415692"/>
                  <a:gd name="connsiteX63" fmla="*/ 1847663 w 2907478"/>
                  <a:gd name="connsiteY63" fmla="*/ 332991 h 415692"/>
                  <a:gd name="connsiteX64" fmla="*/ 1797933 w 2907478"/>
                  <a:gd name="connsiteY64" fmla="*/ 332991 h 415692"/>
                  <a:gd name="connsiteX65" fmla="*/ 1797933 w 2907478"/>
                  <a:gd name="connsiteY65" fmla="*/ 127149 h 415692"/>
                  <a:gd name="connsiteX66" fmla="*/ 1969165 w 2907478"/>
                  <a:gd name="connsiteY66" fmla="*/ 82701 h 415692"/>
                  <a:gd name="connsiteX67" fmla="*/ 2018895 w 2907478"/>
                  <a:gd name="connsiteY67" fmla="*/ 82701 h 415692"/>
                  <a:gd name="connsiteX68" fmla="*/ 2018895 w 2907478"/>
                  <a:gd name="connsiteY68" fmla="*/ 288544 h 415692"/>
                  <a:gd name="connsiteX69" fmla="*/ 2144768 w 2907478"/>
                  <a:gd name="connsiteY69" fmla="*/ 288544 h 415692"/>
                  <a:gd name="connsiteX70" fmla="*/ 2144768 w 2907478"/>
                  <a:gd name="connsiteY70" fmla="*/ 333173 h 415692"/>
                  <a:gd name="connsiteX71" fmla="*/ 1969165 w 2907478"/>
                  <a:gd name="connsiteY71" fmla="*/ 333173 h 415692"/>
                  <a:gd name="connsiteX72" fmla="*/ 1969165 w 2907478"/>
                  <a:gd name="connsiteY72" fmla="*/ 82701 h 415692"/>
                  <a:gd name="connsiteX73" fmla="*/ 2188305 w 2907478"/>
                  <a:gd name="connsiteY73" fmla="*/ 82701 h 415692"/>
                  <a:gd name="connsiteX74" fmla="*/ 2371742 w 2907478"/>
                  <a:gd name="connsiteY74" fmla="*/ 82701 h 415692"/>
                  <a:gd name="connsiteX75" fmla="*/ 2371742 w 2907478"/>
                  <a:gd name="connsiteY75" fmla="*/ 124963 h 415692"/>
                  <a:gd name="connsiteX76" fmla="*/ 2237489 w 2907478"/>
                  <a:gd name="connsiteY76" fmla="*/ 124963 h 415692"/>
                  <a:gd name="connsiteX77" fmla="*/ 2237489 w 2907478"/>
                  <a:gd name="connsiteY77" fmla="*/ 183983 h 415692"/>
                  <a:gd name="connsiteX78" fmla="*/ 2361905 w 2907478"/>
                  <a:gd name="connsiteY78" fmla="*/ 183983 h 415692"/>
                  <a:gd name="connsiteX79" fmla="*/ 2361905 w 2907478"/>
                  <a:gd name="connsiteY79" fmla="*/ 225516 h 415692"/>
                  <a:gd name="connsiteX80" fmla="*/ 2237489 w 2907478"/>
                  <a:gd name="connsiteY80" fmla="*/ 225516 h 415692"/>
                  <a:gd name="connsiteX81" fmla="*/ 2237489 w 2907478"/>
                  <a:gd name="connsiteY81" fmla="*/ 290912 h 415692"/>
                  <a:gd name="connsiteX82" fmla="*/ 2373563 w 2907478"/>
                  <a:gd name="connsiteY82" fmla="*/ 290912 h 415692"/>
                  <a:gd name="connsiteX83" fmla="*/ 2373563 w 2907478"/>
                  <a:gd name="connsiteY83" fmla="*/ 333173 h 415692"/>
                  <a:gd name="connsiteX84" fmla="*/ 2188123 w 2907478"/>
                  <a:gd name="connsiteY84" fmla="*/ 333173 h 415692"/>
                  <a:gd name="connsiteX85" fmla="*/ 2188123 w 2907478"/>
                  <a:gd name="connsiteY85" fmla="*/ 82701 h 415692"/>
                  <a:gd name="connsiteX86" fmla="*/ 2409085 w 2907478"/>
                  <a:gd name="connsiteY86" fmla="*/ 207846 h 415692"/>
                  <a:gd name="connsiteX87" fmla="*/ 2538601 w 2907478"/>
                  <a:gd name="connsiteY87" fmla="*/ 76872 h 415692"/>
                  <a:gd name="connsiteX88" fmla="*/ 2667754 w 2907478"/>
                  <a:gd name="connsiteY88" fmla="*/ 207846 h 415692"/>
                  <a:gd name="connsiteX89" fmla="*/ 2538601 w 2907478"/>
                  <a:gd name="connsiteY89" fmla="*/ 338820 h 415692"/>
                  <a:gd name="connsiteX90" fmla="*/ 2409085 w 2907478"/>
                  <a:gd name="connsiteY90" fmla="*/ 207846 h 415692"/>
                  <a:gd name="connsiteX91" fmla="*/ 2525121 w 2907478"/>
                  <a:gd name="connsiteY91" fmla="*/ 293098 h 415692"/>
                  <a:gd name="connsiteX92" fmla="*/ 2552081 w 2907478"/>
                  <a:gd name="connsiteY92" fmla="*/ 293098 h 415692"/>
                  <a:gd name="connsiteX93" fmla="*/ 2616566 w 2907478"/>
                  <a:gd name="connsiteY93" fmla="*/ 207846 h 415692"/>
                  <a:gd name="connsiteX94" fmla="*/ 2552081 w 2907478"/>
                  <a:gd name="connsiteY94" fmla="*/ 122595 h 415692"/>
                  <a:gd name="connsiteX95" fmla="*/ 2525121 w 2907478"/>
                  <a:gd name="connsiteY95" fmla="*/ 122595 h 415692"/>
                  <a:gd name="connsiteX96" fmla="*/ 2459726 w 2907478"/>
                  <a:gd name="connsiteY96" fmla="*/ 207846 h 415692"/>
                  <a:gd name="connsiteX97" fmla="*/ 2525121 w 2907478"/>
                  <a:gd name="connsiteY97" fmla="*/ 293098 h 415692"/>
                  <a:gd name="connsiteX98" fmla="*/ 2701089 w 2907478"/>
                  <a:gd name="connsiteY98" fmla="*/ 255937 h 415692"/>
                  <a:gd name="connsiteX99" fmla="*/ 2751913 w 2907478"/>
                  <a:gd name="connsiteY99" fmla="*/ 255937 h 415692"/>
                  <a:gd name="connsiteX100" fmla="*/ 2791806 w 2907478"/>
                  <a:gd name="connsiteY100" fmla="*/ 294191 h 415692"/>
                  <a:gd name="connsiteX101" fmla="*/ 2823866 w 2907478"/>
                  <a:gd name="connsiteY101" fmla="*/ 294191 h 415692"/>
                  <a:gd name="connsiteX102" fmla="*/ 2858295 w 2907478"/>
                  <a:gd name="connsiteY102" fmla="*/ 262859 h 415692"/>
                  <a:gd name="connsiteX103" fmla="*/ 2828967 w 2907478"/>
                  <a:gd name="connsiteY103" fmla="*/ 232802 h 415692"/>
                  <a:gd name="connsiteX104" fmla="*/ 2775776 w 2907478"/>
                  <a:gd name="connsiteY104" fmla="*/ 226973 h 415692"/>
                  <a:gd name="connsiteX105" fmla="*/ 2707647 w 2907478"/>
                  <a:gd name="connsiteY105" fmla="*/ 154655 h 415692"/>
                  <a:gd name="connsiteX106" fmla="*/ 2803828 w 2907478"/>
                  <a:gd name="connsiteY106" fmla="*/ 76872 h 415692"/>
                  <a:gd name="connsiteX107" fmla="*/ 2902013 w 2907478"/>
                  <a:gd name="connsiteY107" fmla="*/ 159391 h 415692"/>
                  <a:gd name="connsiteX108" fmla="*/ 2851555 w 2907478"/>
                  <a:gd name="connsiteY108" fmla="*/ 159391 h 415692"/>
                  <a:gd name="connsiteX109" fmla="*/ 2815122 w 2907478"/>
                  <a:gd name="connsiteY109" fmla="*/ 121502 h 415692"/>
                  <a:gd name="connsiteX110" fmla="*/ 2788527 w 2907478"/>
                  <a:gd name="connsiteY110" fmla="*/ 121502 h 415692"/>
                  <a:gd name="connsiteX111" fmla="*/ 2756467 w 2907478"/>
                  <a:gd name="connsiteY111" fmla="*/ 151194 h 415692"/>
                  <a:gd name="connsiteX112" fmla="*/ 2787434 w 2907478"/>
                  <a:gd name="connsiteY112" fmla="*/ 182526 h 415692"/>
                  <a:gd name="connsiteX113" fmla="*/ 2840625 w 2907478"/>
                  <a:gd name="connsiteY113" fmla="*/ 188355 h 415692"/>
                  <a:gd name="connsiteX114" fmla="*/ 2907478 w 2907478"/>
                  <a:gd name="connsiteY114" fmla="*/ 260309 h 415692"/>
                  <a:gd name="connsiteX115" fmla="*/ 2804557 w 2907478"/>
                  <a:gd name="connsiteY115" fmla="*/ 339002 h 415692"/>
                  <a:gd name="connsiteX116" fmla="*/ 2700907 w 2907478"/>
                  <a:gd name="connsiteY116" fmla="*/ 256119 h 415692"/>
                  <a:gd name="connsiteX117" fmla="*/ 207846 w 2907478"/>
                  <a:gd name="connsiteY117" fmla="*/ 0 h 415692"/>
                  <a:gd name="connsiteX118" fmla="*/ 207846 w 2907478"/>
                  <a:gd name="connsiteY118" fmla="*/ 0 h 415692"/>
                  <a:gd name="connsiteX119" fmla="*/ 0 w 2907478"/>
                  <a:gd name="connsiteY119" fmla="*/ 207846 h 415692"/>
                  <a:gd name="connsiteX120" fmla="*/ 207846 w 2907478"/>
                  <a:gd name="connsiteY120" fmla="*/ 415692 h 415692"/>
                  <a:gd name="connsiteX121" fmla="*/ 207846 w 2907478"/>
                  <a:gd name="connsiteY121" fmla="*/ 415692 h 415692"/>
                  <a:gd name="connsiteX122" fmla="*/ 415692 w 2907478"/>
                  <a:gd name="connsiteY122" fmla="*/ 207846 h 415692"/>
                  <a:gd name="connsiteX123" fmla="*/ 207846 w 2907478"/>
                  <a:gd name="connsiteY123" fmla="*/ 0 h 415692"/>
                  <a:gd name="connsiteX124" fmla="*/ 207846 w 2907478"/>
                  <a:gd name="connsiteY124" fmla="*/ 398569 h 415692"/>
                  <a:gd name="connsiteX125" fmla="*/ 142815 w 2907478"/>
                  <a:gd name="connsiteY125" fmla="*/ 353940 h 415692"/>
                  <a:gd name="connsiteX126" fmla="*/ 149919 w 2907478"/>
                  <a:gd name="connsiteY126" fmla="*/ 351389 h 415692"/>
                  <a:gd name="connsiteX127" fmla="*/ 268870 w 2907478"/>
                  <a:gd name="connsiteY127" fmla="*/ 280529 h 415692"/>
                  <a:gd name="connsiteX128" fmla="*/ 307306 w 2907478"/>
                  <a:gd name="connsiteY128" fmla="*/ 244278 h 415692"/>
                  <a:gd name="connsiteX129" fmla="*/ 207846 w 2907478"/>
                  <a:gd name="connsiteY129" fmla="*/ 398569 h 415692"/>
                  <a:gd name="connsiteX130" fmla="*/ 62117 w 2907478"/>
                  <a:gd name="connsiteY130" fmla="*/ 330805 h 415692"/>
                  <a:gd name="connsiteX131" fmla="*/ 61388 w 2907478"/>
                  <a:gd name="connsiteY131" fmla="*/ 330076 h 415692"/>
                  <a:gd name="connsiteX132" fmla="*/ 91263 w 2907478"/>
                  <a:gd name="connsiteY132" fmla="*/ 247193 h 415692"/>
                  <a:gd name="connsiteX133" fmla="*/ 111301 w 2907478"/>
                  <a:gd name="connsiteY133" fmla="*/ 330076 h 415692"/>
                  <a:gd name="connsiteX134" fmla="*/ 62117 w 2907478"/>
                  <a:gd name="connsiteY134" fmla="*/ 330805 h 415692"/>
                  <a:gd name="connsiteX135" fmla="*/ 207846 w 2907478"/>
                  <a:gd name="connsiteY135" fmla="*/ 17123 h 415692"/>
                  <a:gd name="connsiteX136" fmla="*/ 207846 w 2907478"/>
                  <a:gd name="connsiteY136" fmla="*/ 17123 h 415692"/>
                  <a:gd name="connsiteX137" fmla="*/ 272878 w 2907478"/>
                  <a:gd name="connsiteY137" fmla="*/ 61753 h 415692"/>
                  <a:gd name="connsiteX138" fmla="*/ 265774 w 2907478"/>
                  <a:gd name="connsiteY138" fmla="*/ 64303 h 415692"/>
                  <a:gd name="connsiteX139" fmla="*/ 146822 w 2907478"/>
                  <a:gd name="connsiteY139" fmla="*/ 135164 h 415692"/>
                  <a:gd name="connsiteX140" fmla="*/ 108386 w 2907478"/>
                  <a:gd name="connsiteY140" fmla="*/ 171414 h 415692"/>
                  <a:gd name="connsiteX141" fmla="*/ 207846 w 2907478"/>
                  <a:gd name="connsiteY141" fmla="*/ 17123 h 415692"/>
                  <a:gd name="connsiteX142" fmla="*/ 353393 w 2907478"/>
                  <a:gd name="connsiteY142" fmla="*/ 84887 h 415692"/>
                  <a:gd name="connsiteX143" fmla="*/ 354122 w 2907478"/>
                  <a:gd name="connsiteY143" fmla="*/ 85616 h 415692"/>
                  <a:gd name="connsiteX144" fmla="*/ 324247 w 2907478"/>
                  <a:gd name="connsiteY144" fmla="*/ 168499 h 415692"/>
                  <a:gd name="connsiteX145" fmla="*/ 304210 w 2907478"/>
                  <a:gd name="connsiteY145" fmla="*/ 85616 h 415692"/>
                  <a:gd name="connsiteX146" fmla="*/ 353393 w 2907478"/>
                  <a:gd name="connsiteY146" fmla="*/ 84887 h 415692"/>
                  <a:gd name="connsiteX147" fmla="*/ 139171 w 2907478"/>
                  <a:gd name="connsiteY147" fmla="*/ 190177 h 415692"/>
                  <a:gd name="connsiteX148" fmla="*/ 207846 w 2907478"/>
                  <a:gd name="connsiteY148" fmla="*/ 188901 h 415692"/>
                  <a:gd name="connsiteX149" fmla="*/ 306942 w 2907478"/>
                  <a:gd name="connsiteY149" fmla="*/ 191634 h 415692"/>
                  <a:gd name="connsiteX150" fmla="*/ 276521 w 2907478"/>
                  <a:gd name="connsiteY150" fmla="*/ 225334 h 415692"/>
                  <a:gd name="connsiteX151" fmla="*/ 207846 w 2907478"/>
                  <a:gd name="connsiteY151" fmla="*/ 226609 h 415692"/>
                  <a:gd name="connsiteX152" fmla="*/ 108750 w 2907478"/>
                  <a:gd name="connsiteY152" fmla="*/ 223876 h 415692"/>
                  <a:gd name="connsiteX153" fmla="*/ 139171 w 2907478"/>
                  <a:gd name="connsiteY153" fmla="*/ 190177 h 415692"/>
                  <a:gd name="connsiteX154" fmla="*/ 307488 w 2907478"/>
                  <a:gd name="connsiteY154" fmla="*/ 174693 h 415692"/>
                  <a:gd name="connsiteX155" fmla="*/ 207664 w 2907478"/>
                  <a:gd name="connsiteY155" fmla="*/ 171960 h 415692"/>
                  <a:gd name="connsiteX156" fmla="*/ 157570 w 2907478"/>
                  <a:gd name="connsiteY156" fmla="*/ 172689 h 415692"/>
                  <a:gd name="connsiteX157" fmla="*/ 169410 w 2907478"/>
                  <a:gd name="connsiteY157" fmla="*/ 162306 h 415692"/>
                  <a:gd name="connsiteX158" fmla="*/ 247193 w 2907478"/>
                  <a:gd name="connsiteY158" fmla="*/ 109661 h 415692"/>
                  <a:gd name="connsiteX159" fmla="*/ 287815 w 2907478"/>
                  <a:gd name="connsiteY159" fmla="*/ 91445 h 415692"/>
                  <a:gd name="connsiteX160" fmla="*/ 307488 w 2907478"/>
                  <a:gd name="connsiteY160" fmla="*/ 174875 h 415692"/>
                  <a:gd name="connsiteX161" fmla="*/ 68675 w 2907478"/>
                  <a:gd name="connsiteY161" fmla="*/ 220597 h 415692"/>
                  <a:gd name="connsiteX162" fmla="*/ 17123 w 2907478"/>
                  <a:gd name="connsiteY162" fmla="*/ 207664 h 415692"/>
                  <a:gd name="connsiteX163" fmla="*/ 89259 w 2907478"/>
                  <a:gd name="connsiteY163" fmla="*/ 192909 h 415692"/>
                  <a:gd name="connsiteX164" fmla="*/ 68675 w 2907478"/>
                  <a:gd name="connsiteY164" fmla="*/ 220597 h 415692"/>
                  <a:gd name="connsiteX165" fmla="*/ 28235 w 2907478"/>
                  <a:gd name="connsiteY165" fmla="*/ 231709 h 415692"/>
                  <a:gd name="connsiteX166" fmla="*/ 58292 w 2907478"/>
                  <a:gd name="connsiteY166" fmla="*/ 236628 h 415692"/>
                  <a:gd name="connsiteX167" fmla="*/ 56288 w 2907478"/>
                  <a:gd name="connsiteY167" fmla="*/ 239907 h 415692"/>
                  <a:gd name="connsiteX168" fmla="*/ 35886 w 2907478"/>
                  <a:gd name="connsiteY168" fmla="*/ 290547 h 415692"/>
                  <a:gd name="connsiteX169" fmla="*/ 18216 w 2907478"/>
                  <a:gd name="connsiteY169" fmla="*/ 228977 h 415692"/>
                  <a:gd name="connsiteX170" fmla="*/ 28235 w 2907478"/>
                  <a:gd name="connsiteY170" fmla="*/ 231709 h 415692"/>
                  <a:gd name="connsiteX171" fmla="*/ 108022 w 2907478"/>
                  <a:gd name="connsiteY171" fmla="*/ 241000 h 415692"/>
                  <a:gd name="connsiteX172" fmla="*/ 207846 w 2907478"/>
                  <a:gd name="connsiteY172" fmla="*/ 243732 h 415692"/>
                  <a:gd name="connsiteX173" fmla="*/ 257941 w 2907478"/>
                  <a:gd name="connsiteY173" fmla="*/ 243003 h 415692"/>
                  <a:gd name="connsiteX174" fmla="*/ 246100 w 2907478"/>
                  <a:gd name="connsiteY174" fmla="*/ 253387 h 415692"/>
                  <a:gd name="connsiteX175" fmla="*/ 168317 w 2907478"/>
                  <a:gd name="connsiteY175" fmla="*/ 306031 h 415692"/>
                  <a:gd name="connsiteX176" fmla="*/ 127695 w 2907478"/>
                  <a:gd name="connsiteY176" fmla="*/ 324247 h 415692"/>
                  <a:gd name="connsiteX177" fmla="*/ 108022 w 2907478"/>
                  <a:gd name="connsiteY177" fmla="*/ 240817 h 415692"/>
                  <a:gd name="connsiteX178" fmla="*/ 347017 w 2907478"/>
                  <a:gd name="connsiteY178" fmla="*/ 194913 h 415692"/>
                  <a:gd name="connsiteX179" fmla="*/ 398569 w 2907478"/>
                  <a:gd name="connsiteY179" fmla="*/ 207846 h 415692"/>
                  <a:gd name="connsiteX180" fmla="*/ 326433 w 2907478"/>
                  <a:gd name="connsiteY180" fmla="*/ 222601 h 415692"/>
                  <a:gd name="connsiteX181" fmla="*/ 347017 w 2907478"/>
                  <a:gd name="connsiteY181" fmla="*/ 194913 h 415692"/>
                  <a:gd name="connsiteX182" fmla="*/ 387275 w 2907478"/>
                  <a:gd name="connsiteY182" fmla="*/ 183801 h 415692"/>
                  <a:gd name="connsiteX183" fmla="*/ 357219 w 2907478"/>
                  <a:gd name="connsiteY183" fmla="*/ 178882 h 415692"/>
                  <a:gd name="connsiteX184" fmla="*/ 359222 w 2907478"/>
                  <a:gd name="connsiteY184" fmla="*/ 175604 h 415692"/>
                  <a:gd name="connsiteX185" fmla="*/ 379624 w 2907478"/>
                  <a:gd name="connsiteY185" fmla="*/ 124963 h 415692"/>
                  <a:gd name="connsiteX186" fmla="*/ 397294 w 2907478"/>
                  <a:gd name="connsiteY186" fmla="*/ 186533 h 415692"/>
                  <a:gd name="connsiteX187" fmla="*/ 387275 w 2907478"/>
                  <a:gd name="connsiteY187" fmla="*/ 183801 h 415692"/>
                  <a:gd name="connsiteX188" fmla="*/ 318965 w 2907478"/>
                  <a:gd name="connsiteY188" fmla="*/ 53009 h 415692"/>
                  <a:gd name="connsiteX189" fmla="*/ 289819 w 2907478"/>
                  <a:gd name="connsiteY189" fmla="*/ 56652 h 415692"/>
                  <a:gd name="connsiteX190" fmla="*/ 266320 w 2907478"/>
                  <a:gd name="connsiteY190" fmla="*/ 26231 h 415692"/>
                  <a:gd name="connsiteX191" fmla="*/ 318965 w 2907478"/>
                  <a:gd name="connsiteY191" fmla="*/ 53009 h 415692"/>
                  <a:gd name="connsiteX192" fmla="*/ 149372 w 2907478"/>
                  <a:gd name="connsiteY192" fmla="*/ 26413 h 415692"/>
                  <a:gd name="connsiteX193" fmla="*/ 90716 w 2907478"/>
                  <a:gd name="connsiteY193" fmla="*/ 175786 h 415692"/>
                  <a:gd name="connsiteX194" fmla="*/ 71407 w 2907478"/>
                  <a:gd name="connsiteY194" fmla="*/ 177425 h 415692"/>
                  <a:gd name="connsiteX195" fmla="*/ 28417 w 2907478"/>
                  <a:gd name="connsiteY195" fmla="*/ 183801 h 415692"/>
                  <a:gd name="connsiteX196" fmla="*/ 18398 w 2907478"/>
                  <a:gd name="connsiteY196" fmla="*/ 186533 h 415692"/>
                  <a:gd name="connsiteX197" fmla="*/ 149372 w 2907478"/>
                  <a:gd name="connsiteY197" fmla="*/ 26231 h 415692"/>
                  <a:gd name="connsiteX198" fmla="*/ 96546 w 2907478"/>
                  <a:gd name="connsiteY198" fmla="*/ 362501 h 415692"/>
                  <a:gd name="connsiteX199" fmla="*/ 125691 w 2907478"/>
                  <a:gd name="connsiteY199" fmla="*/ 358858 h 415692"/>
                  <a:gd name="connsiteX200" fmla="*/ 149190 w 2907478"/>
                  <a:gd name="connsiteY200" fmla="*/ 389279 h 415692"/>
                  <a:gd name="connsiteX201" fmla="*/ 96546 w 2907478"/>
                  <a:gd name="connsiteY201" fmla="*/ 362501 h 415692"/>
                  <a:gd name="connsiteX202" fmla="*/ 266320 w 2907478"/>
                  <a:gd name="connsiteY202" fmla="*/ 389279 h 415692"/>
                  <a:gd name="connsiteX203" fmla="*/ 324976 w 2907478"/>
                  <a:gd name="connsiteY203" fmla="*/ 239907 h 415692"/>
                  <a:gd name="connsiteX204" fmla="*/ 344285 w 2907478"/>
                  <a:gd name="connsiteY204" fmla="*/ 238267 h 415692"/>
                  <a:gd name="connsiteX205" fmla="*/ 387275 w 2907478"/>
                  <a:gd name="connsiteY205" fmla="*/ 231891 h 415692"/>
                  <a:gd name="connsiteX206" fmla="*/ 397294 w 2907478"/>
                  <a:gd name="connsiteY206" fmla="*/ 229159 h 415692"/>
                  <a:gd name="connsiteX207" fmla="*/ 266320 w 2907478"/>
                  <a:gd name="connsiteY207" fmla="*/ 389461 h 415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</a:cxnLst>
                <a:rect l="l" t="t" r="r" b="b"/>
                <a:pathLst>
                  <a:path w="2907478" h="415692">
                    <a:moveTo>
                      <a:pt x="591296" y="82701"/>
                    </a:moveTo>
                    <a:lnTo>
                      <a:pt x="676547" y="82701"/>
                    </a:lnTo>
                    <a:cubicBezTo>
                      <a:pt x="676547" y="82701"/>
                      <a:pt x="766535" y="277978"/>
                      <a:pt x="766535" y="277978"/>
                    </a:cubicBezTo>
                    <a:lnTo>
                      <a:pt x="772729" y="277978"/>
                    </a:lnTo>
                    <a:lnTo>
                      <a:pt x="772729" y="82701"/>
                    </a:lnTo>
                    <a:lnTo>
                      <a:pt x="821548" y="82701"/>
                    </a:lnTo>
                    <a:lnTo>
                      <a:pt x="821548" y="332991"/>
                    </a:lnTo>
                    <a:lnTo>
                      <a:pt x="736296" y="332991"/>
                    </a:lnTo>
                    <a:lnTo>
                      <a:pt x="645944" y="137714"/>
                    </a:lnTo>
                    <a:lnTo>
                      <a:pt x="640115" y="137714"/>
                    </a:lnTo>
                    <a:lnTo>
                      <a:pt x="640115" y="332991"/>
                    </a:lnTo>
                    <a:lnTo>
                      <a:pt x="591296" y="332991"/>
                    </a:lnTo>
                    <a:lnTo>
                      <a:pt x="591296" y="82701"/>
                    </a:lnTo>
                    <a:close/>
                    <a:moveTo>
                      <a:pt x="869274" y="207846"/>
                    </a:moveTo>
                    <a:cubicBezTo>
                      <a:pt x="869274" y="130063"/>
                      <a:pt x="921372" y="76872"/>
                      <a:pt x="997152" y="76872"/>
                    </a:cubicBezTo>
                    <a:cubicBezTo>
                      <a:pt x="1064369" y="76872"/>
                      <a:pt x="1109727" y="115126"/>
                      <a:pt x="1113371" y="174328"/>
                    </a:cubicBezTo>
                    <a:lnTo>
                      <a:pt x="1063276" y="174328"/>
                    </a:lnTo>
                    <a:cubicBezTo>
                      <a:pt x="1055443" y="138261"/>
                      <a:pt x="1034312" y="122777"/>
                      <a:pt x="1010085" y="122777"/>
                    </a:cubicBezTo>
                    <a:lnTo>
                      <a:pt x="981850" y="122777"/>
                    </a:lnTo>
                    <a:cubicBezTo>
                      <a:pt x="947786" y="122777"/>
                      <a:pt x="919733" y="160302"/>
                      <a:pt x="919733" y="208028"/>
                    </a:cubicBezTo>
                    <a:cubicBezTo>
                      <a:pt x="919733" y="255755"/>
                      <a:pt x="947968" y="293280"/>
                      <a:pt x="981850" y="293280"/>
                    </a:cubicBezTo>
                    <a:lnTo>
                      <a:pt x="1010085" y="293280"/>
                    </a:lnTo>
                    <a:cubicBezTo>
                      <a:pt x="1034312" y="293280"/>
                      <a:pt x="1056172" y="277614"/>
                      <a:pt x="1064005" y="241728"/>
                    </a:cubicBezTo>
                    <a:lnTo>
                      <a:pt x="1114099" y="241728"/>
                    </a:lnTo>
                    <a:cubicBezTo>
                      <a:pt x="1110638" y="299291"/>
                      <a:pt x="1064369" y="339185"/>
                      <a:pt x="995512" y="339185"/>
                    </a:cubicBezTo>
                    <a:cubicBezTo>
                      <a:pt x="923194" y="339185"/>
                      <a:pt x="869092" y="294555"/>
                      <a:pt x="869092" y="208210"/>
                    </a:cubicBezTo>
                    <a:close/>
                    <a:moveTo>
                      <a:pt x="1162736" y="82701"/>
                    </a:moveTo>
                    <a:lnTo>
                      <a:pt x="1280413" y="82701"/>
                    </a:lnTo>
                    <a:cubicBezTo>
                      <a:pt x="1335607" y="82701"/>
                      <a:pt x="1363296" y="118769"/>
                      <a:pt x="1363296" y="158663"/>
                    </a:cubicBezTo>
                    <a:cubicBezTo>
                      <a:pt x="1363296" y="189994"/>
                      <a:pt x="1346173" y="216590"/>
                      <a:pt x="1314841" y="227520"/>
                    </a:cubicBezTo>
                    <a:lnTo>
                      <a:pt x="1373133" y="333173"/>
                    </a:lnTo>
                    <a:lnTo>
                      <a:pt x="1317574" y="333173"/>
                    </a:lnTo>
                    <a:lnTo>
                      <a:pt x="1264018" y="234988"/>
                    </a:lnTo>
                    <a:lnTo>
                      <a:pt x="1212466" y="234988"/>
                    </a:lnTo>
                    <a:lnTo>
                      <a:pt x="1212466" y="333173"/>
                    </a:lnTo>
                    <a:lnTo>
                      <a:pt x="1162736" y="333173"/>
                    </a:lnTo>
                    <a:lnTo>
                      <a:pt x="1162736" y="82701"/>
                    </a:lnTo>
                    <a:close/>
                    <a:moveTo>
                      <a:pt x="1276951" y="194548"/>
                    </a:moveTo>
                    <a:cubicBezTo>
                      <a:pt x="1300086" y="194548"/>
                      <a:pt x="1313748" y="179247"/>
                      <a:pt x="1313748" y="159756"/>
                    </a:cubicBezTo>
                    <a:cubicBezTo>
                      <a:pt x="1313748" y="140264"/>
                      <a:pt x="1300086" y="124963"/>
                      <a:pt x="1276951" y="124963"/>
                    </a:cubicBezTo>
                    <a:lnTo>
                      <a:pt x="1212466" y="124963"/>
                    </a:lnTo>
                    <a:lnTo>
                      <a:pt x="1212466" y="194548"/>
                    </a:lnTo>
                    <a:lnTo>
                      <a:pt x="1276951" y="194548"/>
                    </a:lnTo>
                    <a:close/>
                    <a:moveTo>
                      <a:pt x="1555841" y="82701"/>
                    </a:moveTo>
                    <a:lnTo>
                      <a:pt x="1645100" y="82701"/>
                    </a:lnTo>
                    <a:lnTo>
                      <a:pt x="1728347" y="332991"/>
                    </a:lnTo>
                    <a:lnTo>
                      <a:pt x="1677160" y="332991"/>
                    </a:lnTo>
                    <a:lnTo>
                      <a:pt x="1656394" y="270874"/>
                    </a:lnTo>
                    <a:lnTo>
                      <a:pt x="1543271" y="270874"/>
                    </a:lnTo>
                    <a:lnTo>
                      <a:pt x="1522505" y="332991"/>
                    </a:lnTo>
                    <a:lnTo>
                      <a:pt x="1472411" y="332991"/>
                    </a:lnTo>
                    <a:lnTo>
                      <a:pt x="1555658" y="82701"/>
                    </a:lnTo>
                    <a:close/>
                    <a:moveTo>
                      <a:pt x="1641821" y="227702"/>
                    </a:moveTo>
                    <a:lnTo>
                      <a:pt x="1609760" y="131521"/>
                    </a:lnTo>
                    <a:lnTo>
                      <a:pt x="1589358" y="131521"/>
                    </a:lnTo>
                    <a:lnTo>
                      <a:pt x="1557298" y="227702"/>
                    </a:lnTo>
                    <a:lnTo>
                      <a:pt x="1641821" y="227702"/>
                    </a:lnTo>
                    <a:close/>
                    <a:moveTo>
                      <a:pt x="1797751" y="127149"/>
                    </a:moveTo>
                    <a:lnTo>
                      <a:pt x="1719604" y="127149"/>
                    </a:lnTo>
                    <a:lnTo>
                      <a:pt x="1719604" y="82519"/>
                    </a:lnTo>
                    <a:lnTo>
                      <a:pt x="1925446" y="82519"/>
                    </a:lnTo>
                    <a:lnTo>
                      <a:pt x="1925446" y="127149"/>
                    </a:lnTo>
                    <a:lnTo>
                      <a:pt x="1847663" y="127149"/>
                    </a:lnTo>
                    <a:lnTo>
                      <a:pt x="1847663" y="332991"/>
                    </a:lnTo>
                    <a:lnTo>
                      <a:pt x="1797933" y="332991"/>
                    </a:lnTo>
                    <a:lnTo>
                      <a:pt x="1797933" y="127149"/>
                    </a:lnTo>
                    <a:close/>
                    <a:moveTo>
                      <a:pt x="1969165" y="82701"/>
                    </a:moveTo>
                    <a:lnTo>
                      <a:pt x="2018895" y="82701"/>
                    </a:lnTo>
                    <a:lnTo>
                      <a:pt x="2018895" y="288544"/>
                    </a:lnTo>
                    <a:lnTo>
                      <a:pt x="2144768" y="288544"/>
                    </a:lnTo>
                    <a:lnTo>
                      <a:pt x="2144768" y="333173"/>
                    </a:lnTo>
                    <a:lnTo>
                      <a:pt x="1969165" y="333173"/>
                    </a:lnTo>
                    <a:lnTo>
                      <a:pt x="1969165" y="82701"/>
                    </a:lnTo>
                    <a:close/>
                    <a:moveTo>
                      <a:pt x="2188305" y="82701"/>
                    </a:moveTo>
                    <a:lnTo>
                      <a:pt x="2371742" y="82701"/>
                    </a:lnTo>
                    <a:lnTo>
                      <a:pt x="2371742" y="124963"/>
                    </a:lnTo>
                    <a:lnTo>
                      <a:pt x="2237489" y="124963"/>
                    </a:lnTo>
                    <a:lnTo>
                      <a:pt x="2237489" y="183983"/>
                    </a:lnTo>
                    <a:lnTo>
                      <a:pt x="2361905" y="183983"/>
                    </a:lnTo>
                    <a:lnTo>
                      <a:pt x="2361905" y="225516"/>
                    </a:lnTo>
                    <a:lnTo>
                      <a:pt x="2237489" y="225516"/>
                    </a:lnTo>
                    <a:lnTo>
                      <a:pt x="2237489" y="290912"/>
                    </a:lnTo>
                    <a:lnTo>
                      <a:pt x="2373563" y="290912"/>
                    </a:lnTo>
                    <a:lnTo>
                      <a:pt x="2373563" y="333173"/>
                    </a:lnTo>
                    <a:lnTo>
                      <a:pt x="2188123" y="333173"/>
                    </a:lnTo>
                    <a:lnTo>
                      <a:pt x="2188123" y="82701"/>
                    </a:lnTo>
                    <a:close/>
                    <a:moveTo>
                      <a:pt x="2409085" y="207846"/>
                    </a:moveTo>
                    <a:cubicBezTo>
                      <a:pt x="2409085" y="129699"/>
                      <a:pt x="2461547" y="76872"/>
                      <a:pt x="2538601" y="76872"/>
                    </a:cubicBezTo>
                    <a:cubicBezTo>
                      <a:pt x="2615656" y="76872"/>
                      <a:pt x="2667754" y="129699"/>
                      <a:pt x="2667754" y="207846"/>
                    </a:cubicBezTo>
                    <a:cubicBezTo>
                      <a:pt x="2667754" y="285993"/>
                      <a:pt x="2614927" y="338820"/>
                      <a:pt x="2538601" y="338820"/>
                    </a:cubicBezTo>
                    <a:cubicBezTo>
                      <a:pt x="2462276" y="338820"/>
                      <a:pt x="2409085" y="285993"/>
                      <a:pt x="2409085" y="207846"/>
                    </a:cubicBezTo>
                    <a:close/>
                    <a:moveTo>
                      <a:pt x="2525121" y="293098"/>
                    </a:moveTo>
                    <a:lnTo>
                      <a:pt x="2552081" y="293098"/>
                    </a:lnTo>
                    <a:cubicBezTo>
                      <a:pt x="2588878" y="293098"/>
                      <a:pt x="2616566" y="255572"/>
                      <a:pt x="2616566" y="207846"/>
                    </a:cubicBezTo>
                    <a:cubicBezTo>
                      <a:pt x="2616566" y="160120"/>
                      <a:pt x="2588878" y="122595"/>
                      <a:pt x="2552081" y="122595"/>
                    </a:cubicBezTo>
                    <a:lnTo>
                      <a:pt x="2525121" y="122595"/>
                    </a:lnTo>
                    <a:cubicBezTo>
                      <a:pt x="2487961" y="122595"/>
                      <a:pt x="2459726" y="160849"/>
                      <a:pt x="2459726" y="207846"/>
                    </a:cubicBezTo>
                    <a:cubicBezTo>
                      <a:pt x="2459726" y="254844"/>
                      <a:pt x="2487961" y="293098"/>
                      <a:pt x="2525121" y="293098"/>
                    </a:cubicBezTo>
                    <a:close/>
                    <a:moveTo>
                      <a:pt x="2701089" y="255937"/>
                    </a:moveTo>
                    <a:lnTo>
                      <a:pt x="2751913" y="255937"/>
                    </a:lnTo>
                    <a:cubicBezTo>
                      <a:pt x="2754645" y="277796"/>
                      <a:pt x="2767943" y="294191"/>
                      <a:pt x="2791806" y="294191"/>
                    </a:cubicBezTo>
                    <a:lnTo>
                      <a:pt x="2823866" y="294191"/>
                    </a:lnTo>
                    <a:cubicBezTo>
                      <a:pt x="2845726" y="294191"/>
                      <a:pt x="2858295" y="280893"/>
                      <a:pt x="2858295" y="262859"/>
                    </a:cubicBezTo>
                    <a:cubicBezTo>
                      <a:pt x="2858295" y="246464"/>
                      <a:pt x="2847365" y="234624"/>
                      <a:pt x="2828967" y="232802"/>
                    </a:cubicBezTo>
                    <a:lnTo>
                      <a:pt x="2775776" y="226973"/>
                    </a:lnTo>
                    <a:cubicBezTo>
                      <a:pt x="2730417" y="221873"/>
                      <a:pt x="2707647" y="194913"/>
                      <a:pt x="2707647" y="154655"/>
                    </a:cubicBezTo>
                    <a:cubicBezTo>
                      <a:pt x="2707647" y="105836"/>
                      <a:pt x="2744079" y="76872"/>
                      <a:pt x="2803828" y="76872"/>
                    </a:cubicBezTo>
                    <a:cubicBezTo>
                      <a:pt x="2863577" y="76872"/>
                      <a:pt x="2899645" y="104561"/>
                      <a:pt x="2902013" y="159391"/>
                    </a:cubicBezTo>
                    <a:lnTo>
                      <a:pt x="2851555" y="159391"/>
                    </a:lnTo>
                    <a:cubicBezTo>
                      <a:pt x="2849915" y="140264"/>
                      <a:pt x="2837892" y="121502"/>
                      <a:pt x="2815122" y="121502"/>
                    </a:cubicBezTo>
                    <a:lnTo>
                      <a:pt x="2788527" y="121502"/>
                    </a:lnTo>
                    <a:cubicBezTo>
                      <a:pt x="2769400" y="121502"/>
                      <a:pt x="2756467" y="132796"/>
                      <a:pt x="2756467" y="151194"/>
                    </a:cubicBezTo>
                    <a:cubicBezTo>
                      <a:pt x="2756467" y="169592"/>
                      <a:pt x="2770129" y="180522"/>
                      <a:pt x="2787434" y="182526"/>
                    </a:cubicBezTo>
                    <a:lnTo>
                      <a:pt x="2840625" y="188355"/>
                    </a:lnTo>
                    <a:cubicBezTo>
                      <a:pt x="2883251" y="193091"/>
                      <a:pt x="2907478" y="216954"/>
                      <a:pt x="2907478" y="260309"/>
                    </a:cubicBezTo>
                    <a:cubicBezTo>
                      <a:pt x="2907478" y="309674"/>
                      <a:pt x="2873050" y="339002"/>
                      <a:pt x="2804557" y="339002"/>
                    </a:cubicBezTo>
                    <a:cubicBezTo>
                      <a:pt x="2736064" y="339002"/>
                      <a:pt x="2702000" y="310767"/>
                      <a:pt x="2700907" y="256119"/>
                    </a:cubicBezTo>
                    <a:close/>
                    <a:moveTo>
                      <a:pt x="207846" y="0"/>
                    </a:moveTo>
                    <a:lnTo>
                      <a:pt x="207846" y="0"/>
                    </a:lnTo>
                    <a:cubicBezTo>
                      <a:pt x="93267" y="0"/>
                      <a:pt x="0" y="93267"/>
                      <a:pt x="0" y="207846"/>
                    </a:cubicBezTo>
                    <a:cubicBezTo>
                      <a:pt x="0" y="322426"/>
                      <a:pt x="93267" y="415692"/>
                      <a:pt x="207846" y="415692"/>
                    </a:cubicBezTo>
                    <a:lnTo>
                      <a:pt x="207846" y="415692"/>
                    </a:lnTo>
                    <a:cubicBezTo>
                      <a:pt x="322426" y="415692"/>
                      <a:pt x="415692" y="322426"/>
                      <a:pt x="415692" y="207846"/>
                    </a:cubicBezTo>
                    <a:cubicBezTo>
                      <a:pt x="415692" y="93267"/>
                      <a:pt x="322426" y="0"/>
                      <a:pt x="207846" y="0"/>
                    </a:cubicBezTo>
                    <a:close/>
                    <a:moveTo>
                      <a:pt x="207846" y="398569"/>
                    </a:moveTo>
                    <a:cubicBezTo>
                      <a:pt x="183072" y="398569"/>
                      <a:pt x="160484" y="381810"/>
                      <a:pt x="142815" y="353940"/>
                    </a:cubicBezTo>
                    <a:cubicBezTo>
                      <a:pt x="145183" y="353029"/>
                      <a:pt x="147551" y="352300"/>
                      <a:pt x="149919" y="351389"/>
                    </a:cubicBezTo>
                    <a:cubicBezTo>
                      <a:pt x="192362" y="335541"/>
                      <a:pt x="232984" y="310767"/>
                      <a:pt x="268870" y="280529"/>
                    </a:cubicBezTo>
                    <a:cubicBezTo>
                      <a:pt x="282350" y="269235"/>
                      <a:pt x="295284" y="257030"/>
                      <a:pt x="307306" y="244278"/>
                    </a:cubicBezTo>
                    <a:cubicBezTo>
                      <a:pt x="298198" y="332080"/>
                      <a:pt x="257030" y="398569"/>
                      <a:pt x="207846" y="398569"/>
                    </a:cubicBezTo>
                    <a:close/>
                    <a:moveTo>
                      <a:pt x="62117" y="330805"/>
                    </a:moveTo>
                    <a:cubicBezTo>
                      <a:pt x="62117" y="330805"/>
                      <a:pt x="61571" y="330259"/>
                      <a:pt x="61388" y="330076"/>
                    </a:cubicBezTo>
                    <a:cubicBezTo>
                      <a:pt x="49730" y="314411"/>
                      <a:pt x="74322" y="272149"/>
                      <a:pt x="91263" y="247193"/>
                    </a:cubicBezTo>
                    <a:cubicBezTo>
                      <a:pt x="94542" y="277796"/>
                      <a:pt x="101464" y="306031"/>
                      <a:pt x="111301" y="330076"/>
                    </a:cubicBezTo>
                    <a:cubicBezTo>
                      <a:pt x="90534" y="336452"/>
                      <a:pt x="70314" y="339367"/>
                      <a:pt x="62117" y="330805"/>
                    </a:cubicBezTo>
                    <a:close/>
                    <a:moveTo>
                      <a:pt x="207846" y="17123"/>
                    </a:moveTo>
                    <a:lnTo>
                      <a:pt x="207846" y="17123"/>
                    </a:lnTo>
                    <a:cubicBezTo>
                      <a:pt x="232620" y="17123"/>
                      <a:pt x="255208" y="33882"/>
                      <a:pt x="272878" y="61753"/>
                    </a:cubicBezTo>
                    <a:cubicBezTo>
                      <a:pt x="270510" y="62664"/>
                      <a:pt x="268142" y="63392"/>
                      <a:pt x="265774" y="64303"/>
                    </a:cubicBezTo>
                    <a:cubicBezTo>
                      <a:pt x="223330" y="80151"/>
                      <a:pt x="182708" y="104925"/>
                      <a:pt x="146822" y="135164"/>
                    </a:cubicBezTo>
                    <a:cubicBezTo>
                      <a:pt x="133342" y="146458"/>
                      <a:pt x="120409" y="158663"/>
                      <a:pt x="108386" y="171414"/>
                    </a:cubicBezTo>
                    <a:cubicBezTo>
                      <a:pt x="117494" y="83612"/>
                      <a:pt x="158480" y="17123"/>
                      <a:pt x="207846" y="17123"/>
                    </a:cubicBezTo>
                    <a:close/>
                    <a:moveTo>
                      <a:pt x="353393" y="84887"/>
                    </a:moveTo>
                    <a:cubicBezTo>
                      <a:pt x="353393" y="84887"/>
                      <a:pt x="353940" y="85434"/>
                      <a:pt x="354122" y="85616"/>
                    </a:cubicBezTo>
                    <a:cubicBezTo>
                      <a:pt x="365780" y="101282"/>
                      <a:pt x="341188" y="143543"/>
                      <a:pt x="324247" y="168499"/>
                    </a:cubicBezTo>
                    <a:cubicBezTo>
                      <a:pt x="320968" y="137896"/>
                      <a:pt x="314046" y="109661"/>
                      <a:pt x="304210" y="85616"/>
                    </a:cubicBezTo>
                    <a:cubicBezTo>
                      <a:pt x="324976" y="79240"/>
                      <a:pt x="345196" y="76326"/>
                      <a:pt x="353393" y="84887"/>
                    </a:cubicBezTo>
                    <a:close/>
                    <a:moveTo>
                      <a:pt x="139171" y="190177"/>
                    </a:moveTo>
                    <a:cubicBezTo>
                      <a:pt x="160484" y="189448"/>
                      <a:pt x="183619" y="188901"/>
                      <a:pt x="207846" y="188901"/>
                    </a:cubicBezTo>
                    <a:cubicBezTo>
                      <a:pt x="244096" y="188901"/>
                      <a:pt x="277978" y="189812"/>
                      <a:pt x="306942" y="191634"/>
                    </a:cubicBezTo>
                    <a:cubicBezTo>
                      <a:pt x="297470" y="203292"/>
                      <a:pt x="287269" y="214404"/>
                      <a:pt x="276521" y="225334"/>
                    </a:cubicBezTo>
                    <a:cubicBezTo>
                      <a:pt x="255208" y="226062"/>
                      <a:pt x="232074" y="226609"/>
                      <a:pt x="207846" y="226609"/>
                    </a:cubicBezTo>
                    <a:cubicBezTo>
                      <a:pt x="171596" y="226609"/>
                      <a:pt x="137714" y="225698"/>
                      <a:pt x="108750" y="223876"/>
                    </a:cubicBezTo>
                    <a:cubicBezTo>
                      <a:pt x="118223" y="212218"/>
                      <a:pt x="128424" y="201106"/>
                      <a:pt x="139171" y="190177"/>
                    </a:cubicBezTo>
                    <a:close/>
                    <a:moveTo>
                      <a:pt x="307488" y="174693"/>
                    </a:moveTo>
                    <a:cubicBezTo>
                      <a:pt x="277614" y="172871"/>
                      <a:pt x="243368" y="171960"/>
                      <a:pt x="207664" y="171960"/>
                    </a:cubicBezTo>
                    <a:cubicBezTo>
                      <a:pt x="190541" y="171960"/>
                      <a:pt x="173782" y="172143"/>
                      <a:pt x="157570" y="172689"/>
                    </a:cubicBezTo>
                    <a:cubicBezTo>
                      <a:pt x="161395" y="169228"/>
                      <a:pt x="165403" y="165767"/>
                      <a:pt x="169410" y="162306"/>
                    </a:cubicBezTo>
                    <a:cubicBezTo>
                      <a:pt x="193820" y="142086"/>
                      <a:pt x="220051" y="124416"/>
                      <a:pt x="247193" y="109661"/>
                    </a:cubicBezTo>
                    <a:cubicBezTo>
                      <a:pt x="252658" y="106747"/>
                      <a:pt x="269235" y="98549"/>
                      <a:pt x="287815" y="91445"/>
                    </a:cubicBezTo>
                    <a:cubicBezTo>
                      <a:pt x="297652" y="115308"/>
                      <a:pt x="304574" y="143725"/>
                      <a:pt x="307488" y="174875"/>
                    </a:cubicBezTo>
                    <a:close/>
                    <a:moveTo>
                      <a:pt x="68675" y="220597"/>
                    </a:moveTo>
                    <a:cubicBezTo>
                      <a:pt x="36797" y="217319"/>
                      <a:pt x="17123" y="212765"/>
                      <a:pt x="17123" y="207664"/>
                    </a:cubicBezTo>
                    <a:cubicBezTo>
                      <a:pt x="17123" y="201653"/>
                      <a:pt x="45358" y="196370"/>
                      <a:pt x="89259" y="192909"/>
                    </a:cubicBezTo>
                    <a:cubicBezTo>
                      <a:pt x="81973" y="201835"/>
                      <a:pt x="75050" y="211125"/>
                      <a:pt x="68675" y="220597"/>
                    </a:cubicBezTo>
                    <a:close/>
                    <a:moveTo>
                      <a:pt x="28235" y="231709"/>
                    </a:moveTo>
                    <a:cubicBezTo>
                      <a:pt x="36068" y="233531"/>
                      <a:pt x="46087" y="235170"/>
                      <a:pt x="58292" y="236628"/>
                    </a:cubicBezTo>
                    <a:cubicBezTo>
                      <a:pt x="57563" y="237721"/>
                      <a:pt x="57017" y="238814"/>
                      <a:pt x="56288" y="239907"/>
                    </a:cubicBezTo>
                    <a:cubicBezTo>
                      <a:pt x="47544" y="254844"/>
                      <a:pt x="38800" y="272513"/>
                      <a:pt x="35886" y="290547"/>
                    </a:cubicBezTo>
                    <a:cubicBezTo>
                      <a:pt x="26596" y="271603"/>
                      <a:pt x="20584" y="250836"/>
                      <a:pt x="18216" y="228977"/>
                    </a:cubicBezTo>
                    <a:cubicBezTo>
                      <a:pt x="22042" y="230434"/>
                      <a:pt x="25685" y="231163"/>
                      <a:pt x="28235" y="231709"/>
                    </a:cubicBezTo>
                    <a:close/>
                    <a:moveTo>
                      <a:pt x="108022" y="241000"/>
                    </a:moveTo>
                    <a:cubicBezTo>
                      <a:pt x="137896" y="242821"/>
                      <a:pt x="172143" y="243732"/>
                      <a:pt x="207846" y="243732"/>
                    </a:cubicBezTo>
                    <a:cubicBezTo>
                      <a:pt x="224969" y="243732"/>
                      <a:pt x="241728" y="243550"/>
                      <a:pt x="257941" y="243003"/>
                    </a:cubicBezTo>
                    <a:cubicBezTo>
                      <a:pt x="254115" y="246464"/>
                      <a:pt x="250108" y="249925"/>
                      <a:pt x="246100" y="253387"/>
                    </a:cubicBezTo>
                    <a:cubicBezTo>
                      <a:pt x="221690" y="273606"/>
                      <a:pt x="195459" y="291276"/>
                      <a:pt x="168317" y="306031"/>
                    </a:cubicBezTo>
                    <a:cubicBezTo>
                      <a:pt x="162852" y="308946"/>
                      <a:pt x="146276" y="317143"/>
                      <a:pt x="127695" y="324247"/>
                    </a:cubicBezTo>
                    <a:cubicBezTo>
                      <a:pt x="117858" y="300384"/>
                      <a:pt x="110936" y="271967"/>
                      <a:pt x="108022" y="240817"/>
                    </a:cubicBezTo>
                    <a:close/>
                    <a:moveTo>
                      <a:pt x="347017" y="194913"/>
                    </a:moveTo>
                    <a:cubicBezTo>
                      <a:pt x="378896" y="198192"/>
                      <a:pt x="398569" y="202746"/>
                      <a:pt x="398569" y="207846"/>
                    </a:cubicBezTo>
                    <a:cubicBezTo>
                      <a:pt x="398569" y="213857"/>
                      <a:pt x="370334" y="219140"/>
                      <a:pt x="326433" y="222601"/>
                    </a:cubicBezTo>
                    <a:cubicBezTo>
                      <a:pt x="333720" y="213675"/>
                      <a:pt x="340642" y="204385"/>
                      <a:pt x="347017" y="194913"/>
                    </a:cubicBezTo>
                    <a:close/>
                    <a:moveTo>
                      <a:pt x="387275" y="183801"/>
                    </a:moveTo>
                    <a:cubicBezTo>
                      <a:pt x="379442" y="181979"/>
                      <a:pt x="369423" y="180340"/>
                      <a:pt x="357219" y="178882"/>
                    </a:cubicBezTo>
                    <a:cubicBezTo>
                      <a:pt x="357947" y="177790"/>
                      <a:pt x="358494" y="176697"/>
                      <a:pt x="359222" y="175604"/>
                    </a:cubicBezTo>
                    <a:cubicBezTo>
                      <a:pt x="367966" y="160666"/>
                      <a:pt x="376710" y="142997"/>
                      <a:pt x="379624" y="124963"/>
                    </a:cubicBezTo>
                    <a:cubicBezTo>
                      <a:pt x="388915" y="143908"/>
                      <a:pt x="394926" y="164674"/>
                      <a:pt x="397294" y="186533"/>
                    </a:cubicBezTo>
                    <a:cubicBezTo>
                      <a:pt x="393469" y="185076"/>
                      <a:pt x="389825" y="184347"/>
                      <a:pt x="387275" y="183801"/>
                    </a:cubicBezTo>
                    <a:close/>
                    <a:moveTo>
                      <a:pt x="318965" y="53009"/>
                    </a:moveTo>
                    <a:cubicBezTo>
                      <a:pt x="309310" y="53009"/>
                      <a:pt x="299291" y="54284"/>
                      <a:pt x="289819" y="56652"/>
                    </a:cubicBezTo>
                    <a:cubicBezTo>
                      <a:pt x="282715" y="44812"/>
                      <a:pt x="274882" y="34611"/>
                      <a:pt x="266320" y="26231"/>
                    </a:cubicBezTo>
                    <a:cubicBezTo>
                      <a:pt x="285447" y="32425"/>
                      <a:pt x="303117" y="41533"/>
                      <a:pt x="318965" y="53009"/>
                    </a:cubicBezTo>
                    <a:close/>
                    <a:moveTo>
                      <a:pt x="149372" y="26413"/>
                    </a:moveTo>
                    <a:cubicBezTo>
                      <a:pt x="118405" y="56834"/>
                      <a:pt x="96363" y="110936"/>
                      <a:pt x="90716" y="175786"/>
                    </a:cubicBezTo>
                    <a:cubicBezTo>
                      <a:pt x="83976" y="176332"/>
                      <a:pt x="77419" y="176879"/>
                      <a:pt x="71407" y="177425"/>
                    </a:cubicBezTo>
                    <a:cubicBezTo>
                      <a:pt x="53191" y="179247"/>
                      <a:pt x="38618" y="181433"/>
                      <a:pt x="28417" y="183801"/>
                    </a:cubicBezTo>
                    <a:cubicBezTo>
                      <a:pt x="25867" y="184347"/>
                      <a:pt x="22224" y="185258"/>
                      <a:pt x="18398" y="186533"/>
                    </a:cubicBezTo>
                    <a:cubicBezTo>
                      <a:pt x="26778" y="111118"/>
                      <a:pt x="79240" y="48819"/>
                      <a:pt x="149372" y="26231"/>
                    </a:cubicBezTo>
                    <a:close/>
                    <a:moveTo>
                      <a:pt x="96546" y="362501"/>
                    </a:moveTo>
                    <a:cubicBezTo>
                      <a:pt x="106200" y="362501"/>
                      <a:pt x="116219" y="361226"/>
                      <a:pt x="125691" y="358858"/>
                    </a:cubicBezTo>
                    <a:cubicBezTo>
                      <a:pt x="132796" y="370698"/>
                      <a:pt x="140629" y="380900"/>
                      <a:pt x="149190" y="389279"/>
                    </a:cubicBezTo>
                    <a:cubicBezTo>
                      <a:pt x="130063" y="383085"/>
                      <a:pt x="112394" y="373977"/>
                      <a:pt x="96546" y="362501"/>
                    </a:cubicBezTo>
                    <a:close/>
                    <a:moveTo>
                      <a:pt x="266320" y="389279"/>
                    </a:moveTo>
                    <a:cubicBezTo>
                      <a:pt x="297287" y="358858"/>
                      <a:pt x="319329" y="304756"/>
                      <a:pt x="324976" y="239907"/>
                    </a:cubicBezTo>
                    <a:cubicBezTo>
                      <a:pt x="331716" y="239360"/>
                      <a:pt x="338274" y="238814"/>
                      <a:pt x="344285" y="238267"/>
                    </a:cubicBezTo>
                    <a:cubicBezTo>
                      <a:pt x="362501" y="236445"/>
                      <a:pt x="377074" y="234260"/>
                      <a:pt x="387275" y="231891"/>
                    </a:cubicBezTo>
                    <a:cubicBezTo>
                      <a:pt x="389825" y="231345"/>
                      <a:pt x="393469" y="230434"/>
                      <a:pt x="397294" y="229159"/>
                    </a:cubicBezTo>
                    <a:cubicBezTo>
                      <a:pt x="388915" y="304574"/>
                      <a:pt x="336452" y="366873"/>
                      <a:pt x="266320" y="38946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B69AF4C9-8F1B-ADF0-3F1D-365148CA16E0}"/>
                  </a:ext>
                </a:extLst>
              </p:cNvPr>
              <p:cNvSpPr/>
              <p:nvPr/>
            </p:nvSpPr>
            <p:spPr>
              <a:xfrm>
                <a:off x="7838670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FBE41FC1-1884-8D94-39E4-6576B4C361AB}"/>
                  </a:ext>
                </a:extLst>
              </p:cNvPr>
              <p:cNvSpPr/>
              <p:nvPr/>
            </p:nvSpPr>
            <p:spPr>
              <a:xfrm>
                <a:off x="8667869" y="2111507"/>
                <a:ext cx="36432" cy="259579"/>
              </a:xfrm>
              <a:custGeom>
                <a:avLst/>
                <a:gdLst>
                  <a:gd name="connsiteX0" fmla="*/ 18216 w 36432"/>
                  <a:gd name="connsiteY0" fmla="*/ 259580 h 259579"/>
                  <a:gd name="connsiteX1" fmla="*/ 0 w 36432"/>
                  <a:gd name="connsiteY1" fmla="*/ 241364 h 259579"/>
                  <a:gd name="connsiteX2" fmla="*/ 0 w 36432"/>
                  <a:gd name="connsiteY2" fmla="*/ 18216 h 259579"/>
                  <a:gd name="connsiteX3" fmla="*/ 18216 w 36432"/>
                  <a:gd name="connsiteY3" fmla="*/ 0 h 259579"/>
                  <a:gd name="connsiteX4" fmla="*/ 36432 w 36432"/>
                  <a:gd name="connsiteY4" fmla="*/ 18216 h 259579"/>
                  <a:gd name="connsiteX5" fmla="*/ 36432 w 36432"/>
                  <a:gd name="connsiteY5" fmla="*/ 241364 h 259579"/>
                  <a:gd name="connsiteX6" fmla="*/ 18216 w 36432"/>
                  <a:gd name="connsiteY6" fmla="*/ 259580 h 259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32" h="259579">
                    <a:moveTo>
                      <a:pt x="18216" y="259580"/>
                    </a:moveTo>
                    <a:cubicBezTo>
                      <a:pt x="8197" y="259580"/>
                      <a:pt x="0" y="251383"/>
                      <a:pt x="0" y="241364"/>
                    </a:cubicBezTo>
                    <a:lnTo>
                      <a:pt x="0" y="18216"/>
                    </a:lnTo>
                    <a:cubicBezTo>
                      <a:pt x="0" y="8197"/>
                      <a:pt x="8197" y="0"/>
                      <a:pt x="18216" y="0"/>
                    </a:cubicBezTo>
                    <a:cubicBezTo>
                      <a:pt x="28235" y="0"/>
                      <a:pt x="36432" y="8197"/>
                      <a:pt x="36432" y="18216"/>
                    </a:cubicBezTo>
                    <a:lnTo>
                      <a:pt x="36432" y="241364"/>
                    </a:lnTo>
                    <a:cubicBezTo>
                      <a:pt x="36432" y="251383"/>
                      <a:pt x="28235" y="259580"/>
                      <a:pt x="18216" y="25958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EABB91F-A4F0-18DA-F510-7C44CA28EBA4}"/>
                  </a:ext>
                </a:extLst>
              </p:cNvPr>
              <p:cNvSpPr/>
              <p:nvPr/>
            </p:nvSpPr>
            <p:spPr>
              <a:xfrm>
                <a:off x="8090963" y="2067424"/>
                <a:ext cx="364869" cy="344649"/>
              </a:xfrm>
              <a:custGeom>
                <a:avLst/>
                <a:gdLst>
                  <a:gd name="connsiteX0" fmla="*/ 146822 w 364869"/>
                  <a:gd name="connsiteY0" fmla="*/ 182 h 344649"/>
                  <a:gd name="connsiteX1" fmla="*/ 0 w 364869"/>
                  <a:gd name="connsiteY1" fmla="*/ 173600 h 344649"/>
                  <a:gd name="connsiteX2" fmla="*/ 146822 w 364869"/>
                  <a:gd name="connsiteY2" fmla="*/ 344649 h 344649"/>
                  <a:gd name="connsiteX3" fmla="*/ 218958 w 364869"/>
                  <a:gd name="connsiteY3" fmla="*/ 344649 h 344649"/>
                  <a:gd name="connsiteX4" fmla="*/ 364869 w 364869"/>
                  <a:gd name="connsiteY4" fmla="*/ 172689 h 344649"/>
                  <a:gd name="connsiteX5" fmla="*/ 218958 w 364869"/>
                  <a:gd name="connsiteY5" fmla="*/ 0 h 344649"/>
                  <a:gd name="connsiteX6" fmla="*/ 146822 w 364869"/>
                  <a:gd name="connsiteY6" fmla="*/ 0 h 344649"/>
                  <a:gd name="connsiteX7" fmla="*/ 258123 w 364869"/>
                  <a:gd name="connsiteY7" fmla="*/ 287997 h 344649"/>
                  <a:gd name="connsiteX8" fmla="*/ 277068 w 364869"/>
                  <a:gd name="connsiteY8" fmla="*/ 273789 h 344649"/>
                  <a:gd name="connsiteX9" fmla="*/ 301113 w 364869"/>
                  <a:gd name="connsiteY9" fmla="*/ 218958 h 344649"/>
                  <a:gd name="connsiteX10" fmla="*/ 316961 w 364869"/>
                  <a:gd name="connsiteY10" fmla="*/ 204203 h 344649"/>
                  <a:gd name="connsiteX11" fmla="*/ 331716 w 364869"/>
                  <a:gd name="connsiteY11" fmla="*/ 220233 h 344649"/>
                  <a:gd name="connsiteX12" fmla="*/ 298745 w 364869"/>
                  <a:gd name="connsiteY12" fmla="*/ 295648 h 344649"/>
                  <a:gd name="connsiteX13" fmla="*/ 272514 w 364869"/>
                  <a:gd name="connsiteY13" fmla="*/ 315321 h 344649"/>
                  <a:gd name="connsiteX14" fmla="*/ 265409 w 364869"/>
                  <a:gd name="connsiteY14" fmla="*/ 317143 h 344649"/>
                  <a:gd name="connsiteX15" fmla="*/ 251747 w 364869"/>
                  <a:gd name="connsiteY15" fmla="*/ 308946 h 344649"/>
                  <a:gd name="connsiteX16" fmla="*/ 258123 w 364869"/>
                  <a:gd name="connsiteY16" fmla="*/ 288179 h 344649"/>
                  <a:gd name="connsiteX17" fmla="*/ 258123 w 364869"/>
                  <a:gd name="connsiteY17" fmla="*/ 288179 h 344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4869" h="344649">
                    <a:moveTo>
                      <a:pt x="146822" y="182"/>
                    </a:moveTo>
                    <a:cubicBezTo>
                      <a:pt x="44812" y="182"/>
                      <a:pt x="0" y="51916"/>
                      <a:pt x="0" y="173600"/>
                    </a:cubicBezTo>
                    <a:cubicBezTo>
                      <a:pt x="0" y="295284"/>
                      <a:pt x="43901" y="344649"/>
                      <a:pt x="146822" y="344649"/>
                    </a:cubicBezTo>
                    <a:lnTo>
                      <a:pt x="218958" y="344649"/>
                    </a:lnTo>
                    <a:cubicBezTo>
                      <a:pt x="320969" y="344649"/>
                      <a:pt x="364869" y="294373"/>
                      <a:pt x="364869" y="172689"/>
                    </a:cubicBezTo>
                    <a:cubicBezTo>
                      <a:pt x="364869" y="51005"/>
                      <a:pt x="320969" y="0"/>
                      <a:pt x="218958" y="0"/>
                    </a:cubicBezTo>
                    <a:lnTo>
                      <a:pt x="146822" y="0"/>
                    </a:lnTo>
                    <a:close/>
                    <a:moveTo>
                      <a:pt x="258123" y="287997"/>
                    </a:moveTo>
                    <a:cubicBezTo>
                      <a:pt x="265045" y="284354"/>
                      <a:pt x="271421" y="279618"/>
                      <a:pt x="277068" y="273789"/>
                    </a:cubicBezTo>
                    <a:cubicBezTo>
                      <a:pt x="291823" y="259216"/>
                      <a:pt x="300202" y="239724"/>
                      <a:pt x="301113" y="218958"/>
                    </a:cubicBezTo>
                    <a:cubicBezTo>
                      <a:pt x="301477" y="210396"/>
                      <a:pt x="308764" y="203839"/>
                      <a:pt x="316961" y="204203"/>
                    </a:cubicBezTo>
                    <a:cubicBezTo>
                      <a:pt x="325523" y="204567"/>
                      <a:pt x="332080" y="211672"/>
                      <a:pt x="331716" y="220233"/>
                    </a:cubicBezTo>
                    <a:cubicBezTo>
                      <a:pt x="330623" y="248650"/>
                      <a:pt x="318965" y="275428"/>
                      <a:pt x="298745" y="295648"/>
                    </a:cubicBezTo>
                    <a:cubicBezTo>
                      <a:pt x="290912" y="303481"/>
                      <a:pt x="281986" y="310039"/>
                      <a:pt x="272514" y="315321"/>
                    </a:cubicBezTo>
                    <a:cubicBezTo>
                      <a:pt x="270328" y="316597"/>
                      <a:pt x="267777" y="317143"/>
                      <a:pt x="265409" y="317143"/>
                    </a:cubicBezTo>
                    <a:cubicBezTo>
                      <a:pt x="259945" y="317143"/>
                      <a:pt x="254480" y="314228"/>
                      <a:pt x="251747" y="308946"/>
                    </a:cubicBezTo>
                    <a:cubicBezTo>
                      <a:pt x="247740" y="301477"/>
                      <a:pt x="250472" y="292187"/>
                      <a:pt x="258123" y="288179"/>
                    </a:cubicBezTo>
                    <a:lnTo>
                      <a:pt x="258123" y="288179"/>
                    </a:lnTo>
                    <a:close/>
                  </a:path>
                </a:pathLst>
              </a:custGeom>
              <a:solidFill>
                <a:schemeClr val="accent2"/>
              </a:solidFill>
              <a:ln w="182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A5CF8E3-A551-D4E1-8720-0F6D27F2A9A4}"/>
              </a:ext>
            </a:extLst>
          </p:cNvPr>
          <p:cNvGrpSpPr/>
          <p:nvPr userDrawn="1"/>
        </p:nvGrpSpPr>
        <p:grpSpPr>
          <a:xfrm>
            <a:off x="6611525" y="467263"/>
            <a:ext cx="5018430" cy="5609652"/>
            <a:chOff x="6611525" y="467263"/>
            <a:chExt cx="5018430" cy="5609652"/>
          </a:xfrm>
        </p:grpSpPr>
        <p:grpSp>
          <p:nvGrpSpPr>
            <p:cNvPr id="35" name="Graphic 8">
              <a:extLst>
                <a:ext uri="{FF2B5EF4-FFF2-40B4-BE49-F238E27FC236}">
                  <a16:creationId xmlns:a16="http://schemas.microsoft.com/office/drawing/2014/main" id="{E30A9B04-68DF-C63D-570E-9A2BCA676CB9}"/>
                </a:ext>
              </a:extLst>
            </p:cNvPr>
            <p:cNvGrpSpPr/>
            <p:nvPr/>
          </p:nvGrpSpPr>
          <p:grpSpPr>
            <a:xfrm>
              <a:off x="6611525" y="5225114"/>
              <a:ext cx="5018430" cy="553158"/>
              <a:chOff x="6611525" y="5225114"/>
              <a:chExt cx="5018430" cy="553158"/>
            </a:xfrm>
            <a:solidFill>
              <a:srgbClr val="789F90"/>
            </a:solidFill>
          </p:grpSpPr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4CC5EA51-1F79-FFBE-614E-FDDEAD8694C4}"/>
                  </a:ext>
                </a:extLst>
              </p:cNvPr>
              <p:cNvSpPr/>
              <p:nvPr/>
            </p:nvSpPr>
            <p:spPr>
              <a:xfrm>
                <a:off x="6611525" y="5225114"/>
                <a:ext cx="841060" cy="553158"/>
              </a:xfrm>
              <a:custGeom>
                <a:avLst/>
                <a:gdLst>
                  <a:gd name="connsiteX0" fmla="*/ 99658 w 841060"/>
                  <a:gd name="connsiteY0" fmla="*/ 543574 h 553158"/>
                  <a:gd name="connsiteX1" fmla="*/ 0 w 841060"/>
                  <a:gd name="connsiteY1" fmla="*/ 543574 h 553158"/>
                  <a:gd name="connsiteX2" fmla="*/ 165436 w 841060"/>
                  <a:gd name="connsiteY2" fmla="*/ 98997 h 553158"/>
                  <a:gd name="connsiteX3" fmla="*/ 291206 w 841060"/>
                  <a:gd name="connsiteY3" fmla="*/ 0 h 553158"/>
                  <a:gd name="connsiteX4" fmla="*/ 409870 w 841060"/>
                  <a:gd name="connsiteY4" fmla="*/ 116350 h 553158"/>
                  <a:gd name="connsiteX5" fmla="*/ 409870 w 841060"/>
                  <a:gd name="connsiteY5" fmla="*/ 432016 h 553158"/>
                  <a:gd name="connsiteX6" fmla="*/ 436809 w 841060"/>
                  <a:gd name="connsiteY6" fmla="*/ 462095 h 553158"/>
                  <a:gd name="connsiteX7" fmla="*/ 466888 w 841060"/>
                  <a:gd name="connsiteY7" fmla="*/ 439949 h 553158"/>
                  <a:gd name="connsiteX8" fmla="*/ 596626 w 841060"/>
                  <a:gd name="connsiteY8" fmla="*/ 99162 h 553158"/>
                  <a:gd name="connsiteX9" fmla="*/ 722396 w 841060"/>
                  <a:gd name="connsiteY9" fmla="*/ 165 h 553158"/>
                  <a:gd name="connsiteX10" fmla="*/ 841060 w 841060"/>
                  <a:gd name="connsiteY10" fmla="*/ 116515 h 553158"/>
                  <a:gd name="connsiteX11" fmla="*/ 841060 w 841060"/>
                  <a:gd name="connsiteY11" fmla="*/ 543574 h 553158"/>
                  <a:gd name="connsiteX12" fmla="*/ 746856 w 841060"/>
                  <a:gd name="connsiteY12" fmla="*/ 543574 h 553158"/>
                  <a:gd name="connsiteX13" fmla="*/ 746856 w 841060"/>
                  <a:gd name="connsiteY13" fmla="*/ 121143 h 553158"/>
                  <a:gd name="connsiteX14" fmla="*/ 719917 w 841060"/>
                  <a:gd name="connsiteY14" fmla="*/ 90402 h 553158"/>
                  <a:gd name="connsiteX15" fmla="*/ 690664 w 841060"/>
                  <a:gd name="connsiteY15" fmla="*/ 113375 h 553158"/>
                  <a:gd name="connsiteX16" fmla="*/ 560927 w 841060"/>
                  <a:gd name="connsiteY16" fmla="*/ 454328 h 553158"/>
                  <a:gd name="connsiteX17" fmla="*/ 434330 w 841060"/>
                  <a:gd name="connsiteY17" fmla="*/ 553159 h 553158"/>
                  <a:gd name="connsiteX18" fmla="*/ 316493 w 841060"/>
                  <a:gd name="connsiteY18" fmla="*/ 435982 h 553158"/>
                  <a:gd name="connsiteX19" fmla="*/ 316493 w 841060"/>
                  <a:gd name="connsiteY19" fmla="*/ 121143 h 553158"/>
                  <a:gd name="connsiteX20" fmla="*/ 288892 w 841060"/>
                  <a:gd name="connsiteY20" fmla="*/ 90402 h 553158"/>
                  <a:gd name="connsiteX21" fmla="*/ 259640 w 841060"/>
                  <a:gd name="connsiteY21" fmla="*/ 113375 h 553158"/>
                  <a:gd name="connsiteX22" fmla="*/ 99823 w 841060"/>
                  <a:gd name="connsiteY22" fmla="*/ 543739 h 553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41060" h="553158">
                    <a:moveTo>
                      <a:pt x="99658" y="543574"/>
                    </a:moveTo>
                    <a:lnTo>
                      <a:pt x="0" y="543574"/>
                    </a:lnTo>
                    <a:lnTo>
                      <a:pt x="165436" y="98997"/>
                    </a:lnTo>
                    <a:cubicBezTo>
                      <a:pt x="185929" y="38012"/>
                      <a:pt x="219975" y="0"/>
                      <a:pt x="291206" y="0"/>
                    </a:cubicBezTo>
                    <a:cubicBezTo>
                      <a:pt x="370371" y="0"/>
                      <a:pt x="409870" y="46606"/>
                      <a:pt x="409870" y="116350"/>
                    </a:cubicBezTo>
                    <a:lnTo>
                      <a:pt x="409870" y="432016"/>
                    </a:lnTo>
                    <a:cubicBezTo>
                      <a:pt x="409870" y="450196"/>
                      <a:pt x="420943" y="462095"/>
                      <a:pt x="436809" y="462095"/>
                    </a:cubicBezTo>
                    <a:cubicBezTo>
                      <a:pt x="451022" y="462095"/>
                      <a:pt x="462096" y="453336"/>
                      <a:pt x="466888" y="439949"/>
                    </a:cubicBezTo>
                    <a:lnTo>
                      <a:pt x="596626" y="99162"/>
                    </a:lnTo>
                    <a:cubicBezTo>
                      <a:pt x="617284" y="38177"/>
                      <a:pt x="651165" y="165"/>
                      <a:pt x="722396" y="165"/>
                    </a:cubicBezTo>
                    <a:cubicBezTo>
                      <a:pt x="801395" y="165"/>
                      <a:pt x="841060" y="46771"/>
                      <a:pt x="841060" y="116515"/>
                    </a:cubicBezTo>
                    <a:lnTo>
                      <a:pt x="841060" y="543574"/>
                    </a:lnTo>
                    <a:lnTo>
                      <a:pt x="746856" y="543574"/>
                    </a:lnTo>
                    <a:lnTo>
                      <a:pt x="746856" y="121143"/>
                    </a:lnTo>
                    <a:cubicBezTo>
                      <a:pt x="746856" y="102137"/>
                      <a:pt x="735783" y="90402"/>
                      <a:pt x="719917" y="90402"/>
                    </a:cubicBezTo>
                    <a:cubicBezTo>
                      <a:pt x="706530" y="90402"/>
                      <a:pt x="695457" y="99823"/>
                      <a:pt x="690664" y="113375"/>
                    </a:cubicBezTo>
                    <a:lnTo>
                      <a:pt x="560927" y="454328"/>
                    </a:lnTo>
                    <a:cubicBezTo>
                      <a:pt x="540268" y="515147"/>
                      <a:pt x="505562" y="553159"/>
                      <a:pt x="434330" y="553159"/>
                    </a:cubicBezTo>
                    <a:cubicBezTo>
                      <a:pt x="355992" y="553159"/>
                      <a:pt x="316493" y="506553"/>
                      <a:pt x="316493" y="435982"/>
                    </a:cubicBezTo>
                    <a:lnTo>
                      <a:pt x="316493" y="121143"/>
                    </a:lnTo>
                    <a:cubicBezTo>
                      <a:pt x="316493" y="102137"/>
                      <a:pt x="304758" y="90402"/>
                      <a:pt x="288892" y="90402"/>
                    </a:cubicBezTo>
                    <a:cubicBezTo>
                      <a:pt x="274514" y="90402"/>
                      <a:pt x="265093" y="99823"/>
                      <a:pt x="259640" y="113375"/>
                    </a:cubicBezTo>
                    <a:lnTo>
                      <a:pt x="99823" y="54373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B500731-B3F4-C61F-B3A2-8D87480DA729}"/>
                  </a:ext>
                </a:extLst>
              </p:cNvPr>
              <p:cNvSpPr/>
              <p:nvPr/>
            </p:nvSpPr>
            <p:spPr>
              <a:xfrm>
                <a:off x="7524147" y="5225278"/>
                <a:ext cx="590841" cy="543408"/>
              </a:xfrm>
              <a:custGeom>
                <a:avLst/>
                <a:gdLst>
                  <a:gd name="connsiteX0" fmla="*/ 102798 w 590841"/>
                  <a:gd name="connsiteY0" fmla="*/ 543409 h 543408"/>
                  <a:gd name="connsiteX1" fmla="*/ 0 w 590841"/>
                  <a:gd name="connsiteY1" fmla="*/ 543409 h 543408"/>
                  <a:gd name="connsiteX2" fmla="*/ 187416 w 590841"/>
                  <a:gd name="connsiteY2" fmla="*/ 68918 h 543408"/>
                  <a:gd name="connsiteX3" fmla="*/ 299800 w 590841"/>
                  <a:gd name="connsiteY3" fmla="*/ 0 h 543408"/>
                  <a:gd name="connsiteX4" fmla="*/ 410531 w 590841"/>
                  <a:gd name="connsiteY4" fmla="*/ 68918 h 543408"/>
                  <a:gd name="connsiteX5" fmla="*/ 590841 w 590841"/>
                  <a:gd name="connsiteY5" fmla="*/ 543409 h 543408"/>
                  <a:gd name="connsiteX6" fmla="*/ 487217 w 590841"/>
                  <a:gd name="connsiteY6" fmla="*/ 543409 h 543408"/>
                  <a:gd name="connsiteX7" fmla="*/ 325087 w 590841"/>
                  <a:gd name="connsiteY7" fmla="*/ 113871 h 543408"/>
                  <a:gd name="connsiteX8" fmla="*/ 298974 w 590841"/>
                  <a:gd name="connsiteY8" fmla="*/ 95692 h 543408"/>
                  <a:gd name="connsiteX9" fmla="*/ 272035 w 590841"/>
                  <a:gd name="connsiteY9" fmla="*/ 113871 h 543408"/>
                  <a:gd name="connsiteX10" fmla="*/ 102798 w 590841"/>
                  <a:gd name="connsiteY10" fmla="*/ 543409 h 54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0841" h="543408">
                    <a:moveTo>
                      <a:pt x="102798" y="543409"/>
                    </a:moveTo>
                    <a:lnTo>
                      <a:pt x="0" y="543409"/>
                    </a:lnTo>
                    <a:lnTo>
                      <a:pt x="187416" y="68918"/>
                    </a:lnTo>
                    <a:cubicBezTo>
                      <a:pt x="207249" y="19006"/>
                      <a:pt x="243608" y="0"/>
                      <a:pt x="299800" y="0"/>
                    </a:cubicBezTo>
                    <a:cubicBezTo>
                      <a:pt x="355992" y="0"/>
                      <a:pt x="391525" y="19006"/>
                      <a:pt x="410531" y="68918"/>
                    </a:cubicBezTo>
                    <a:lnTo>
                      <a:pt x="590841" y="543409"/>
                    </a:lnTo>
                    <a:lnTo>
                      <a:pt x="487217" y="543409"/>
                    </a:lnTo>
                    <a:lnTo>
                      <a:pt x="325087" y="113871"/>
                    </a:lnTo>
                    <a:cubicBezTo>
                      <a:pt x="320294" y="101145"/>
                      <a:pt x="311700" y="95692"/>
                      <a:pt x="298974" y="95692"/>
                    </a:cubicBezTo>
                    <a:cubicBezTo>
                      <a:pt x="286248" y="95692"/>
                      <a:pt x="277654" y="101145"/>
                      <a:pt x="272035" y="113871"/>
                    </a:cubicBezTo>
                    <a:lnTo>
                      <a:pt x="102798" y="543409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EE5772DE-B1D2-0300-E14C-B001B0E5A805}"/>
                  </a:ext>
                </a:extLst>
              </p:cNvPr>
              <p:cNvSpPr/>
              <p:nvPr/>
            </p:nvSpPr>
            <p:spPr>
              <a:xfrm>
                <a:off x="8185062" y="5234699"/>
                <a:ext cx="472177" cy="534153"/>
              </a:xfrm>
              <a:custGeom>
                <a:avLst/>
                <a:gdLst>
                  <a:gd name="connsiteX0" fmla="*/ 289388 w 472177"/>
                  <a:gd name="connsiteY0" fmla="*/ 0 h 534153"/>
                  <a:gd name="connsiteX1" fmla="*/ 461104 w 472177"/>
                  <a:gd name="connsiteY1" fmla="*/ 159817 h 534153"/>
                  <a:gd name="connsiteX2" fmla="*/ 347894 w 472177"/>
                  <a:gd name="connsiteY2" fmla="*/ 320459 h 534153"/>
                  <a:gd name="connsiteX3" fmla="*/ 472177 w 472177"/>
                  <a:gd name="connsiteY3" fmla="*/ 534154 h 534153"/>
                  <a:gd name="connsiteX4" fmla="*/ 368553 w 472177"/>
                  <a:gd name="connsiteY4" fmla="*/ 534154 h 534153"/>
                  <a:gd name="connsiteX5" fmla="*/ 246748 w 472177"/>
                  <a:gd name="connsiteY5" fmla="*/ 327731 h 534153"/>
                  <a:gd name="connsiteX6" fmla="*/ 107591 w 472177"/>
                  <a:gd name="connsiteY6" fmla="*/ 327731 h 534153"/>
                  <a:gd name="connsiteX7" fmla="*/ 94204 w 472177"/>
                  <a:gd name="connsiteY7" fmla="*/ 341118 h 534153"/>
                  <a:gd name="connsiteX8" fmla="*/ 94204 w 472177"/>
                  <a:gd name="connsiteY8" fmla="*/ 534154 h 534153"/>
                  <a:gd name="connsiteX9" fmla="*/ 826 w 472177"/>
                  <a:gd name="connsiteY9" fmla="*/ 534154 h 534153"/>
                  <a:gd name="connsiteX10" fmla="*/ 826 w 472177"/>
                  <a:gd name="connsiteY10" fmla="*/ 322938 h 534153"/>
                  <a:gd name="connsiteX11" fmla="*/ 84618 w 472177"/>
                  <a:gd name="connsiteY11" fmla="*/ 238320 h 534153"/>
                  <a:gd name="connsiteX12" fmla="*/ 292694 w 472177"/>
                  <a:gd name="connsiteY12" fmla="*/ 238320 h 534153"/>
                  <a:gd name="connsiteX13" fmla="*/ 367065 w 472177"/>
                  <a:gd name="connsiteY13" fmla="*/ 163948 h 534153"/>
                  <a:gd name="connsiteX14" fmla="*/ 292694 w 472177"/>
                  <a:gd name="connsiteY14" fmla="*/ 93543 h 534153"/>
                  <a:gd name="connsiteX15" fmla="*/ 0 w 472177"/>
                  <a:gd name="connsiteY15" fmla="*/ 93543 h 534153"/>
                  <a:gd name="connsiteX16" fmla="*/ 0 w 472177"/>
                  <a:gd name="connsiteY16" fmla="*/ 165 h 534153"/>
                  <a:gd name="connsiteX17" fmla="*/ 289388 w 472177"/>
                  <a:gd name="connsiteY17" fmla="*/ 165 h 534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72177" h="534153">
                    <a:moveTo>
                      <a:pt x="289388" y="0"/>
                    </a:moveTo>
                    <a:cubicBezTo>
                      <a:pt x="409705" y="0"/>
                      <a:pt x="461104" y="74372"/>
                      <a:pt x="461104" y="159817"/>
                    </a:cubicBezTo>
                    <a:cubicBezTo>
                      <a:pt x="461104" y="226255"/>
                      <a:pt x="429537" y="297486"/>
                      <a:pt x="347894" y="320459"/>
                    </a:cubicBezTo>
                    <a:lnTo>
                      <a:pt x="472177" y="534154"/>
                    </a:lnTo>
                    <a:lnTo>
                      <a:pt x="368553" y="534154"/>
                    </a:lnTo>
                    <a:lnTo>
                      <a:pt x="246748" y="327731"/>
                    </a:lnTo>
                    <a:lnTo>
                      <a:pt x="107591" y="327731"/>
                    </a:lnTo>
                    <a:cubicBezTo>
                      <a:pt x="98832" y="327731"/>
                      <a:pt x="94204" y="331698"/>
                      <a:pt x="94204" y="341118"/>
                    </a:cubicBezTo>
                    <a:lnTo>
                      <a:pt x="94204" y="534154"/>
                    </a:lnTo>
                    <a:lnTo>
                      <a:pt x="826" y="534154"/>
                    </a:lnTo>
                    <a:lnTo>
                      <a:pt x="826" y="322938"/>
                    </a:lnTo>
                    <a:cubicBezTo>
                      <a:pt x="826" y="262780"/>
                      <a:pt x="26113" y="238320"/>
                      <a:pt x="84618" y="238320"/>
                    </a:cubicBezTo>
                    <a:lnTo>
                      <a:pt x="292694" y="238320"/>
                    </a:lnTo>
                    <a:cubicBezTo>
                      <a:pt x="345745" y="238320"/>
                      <a:pt x="367065" y="201960"/>
                      <a:pt x="367065" y="163948"/>
                    </a:cubicBezTo>
                    <a:cubicBezTo>
                      <a:pt x="367065" y="125936"/>
                      <a:pt x="344093" y="93543"/>
                      <a:pt x="292694" y="93543"/>
                    </a:cubicBezTo>
                    <a:lnTo>
                      <a:pt x="0" y="93543"/>
                    </a:lnTo>
                    <a:lnTo>
                      <a:pt x="0" y="165"/>
                    </a:lnTo>
                    <a:lnTo>
                      <a:pt x="289388" y="165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84AB2651-D2E8-D988-2589-AFB419C6B653}"/>
                  </a:ext>
                </a:extLst>
              </p:cNvPr>
              <p:cNvSpPr/>
              <p:nvPr/>
            </p:nvSpPr>
            <p:spPr>
              <a:xfrm>
                <a:off x="8719381" y="5234699"/>
                <a:ext cx="476804" cy="533988"/>
              </a:xfrm>
              <a:custGeom>
                <a:avLst/>
                <a:gdLst>
                  <a:gd name="connsiteX0" fmla="*/ 436479 w 476804"/>
                  <a:gd name="connsiteY0" fmla="*/ 0 h 533988"/>
                  <a:gd name="connsiteX1" fmla="*/ 436479 w 476804"/>
                  <a:gd name="connsiteY1" fmla="*/ 93378 h 533988"/>
                  <a:gd name="connsiteX2" fmla="*/ 162791 w 476804"/>
                  <a:gd name="connsiteY2" fmla="*/ 93378 h 533988"/>
                  <a:gd name="connsiteX3" fmla="*/ 93212 w 476804"/>
                  <a:gd name="connsiteY3" fmla="*/ 156676 h 533988"/>
                  <a:gd name="connsiteX4" fmla="*/ 172377 w 476804"/>
                  <a:gd name="connsiteY4" fmla="*/ 219975 h 533988"/>
                  <a:gd name="connsiteX5" fmla="*/ 297321 w 476804"/>
                  <a:gd name="connsiteY5" fmla="*/ 219975 h 533988"/>
                  <a:gd name="connsiteX6" fmla="*/ 476805 w 476804"/>
                  <a:gd name="connsiteY6" fmla="*/ 377312 h 533988"/>
                  <a:gd name="connsiteX7" fmla="*/ 306742 w 476804"/>
                  <a:gd name="connsiteY7" fmla="*/ 533988 h 533988"/>
                  <a:gd name="connsiteX8" fmla="*/ 9420 w 476804"/>
                  <a:gd name="connsiteY8" fmla="*/ 533988 h 533988"/>
                  <a:gd name="connsiteX9" fmla="*/ 9420 w 476804"/>
                  <a:gd name="connsiteY9" fmla="*/ 440611 h 533988"/>
                  <a:gd name="connsiteX10" fmla="*/ 310047 w 476804"/>
                  <a:gd name="connsiteY10" fmla="*/ 440611 h 533988"/>
                  <a:gd name="connsiteX11" fmla="*/ 383592 w 476804"/>
                  <a:gd name="connsiteY11" fmla="*/ 374172 h 533988"/>
                  <a:gd name="connsiteX12" fmla="*/ 299800 w 476804"/>
                  <a:gd name="connsiteY12" fmla="*/ 307733 h 533988"/>
                  <a:gd name="connsiteX13" fmla="*/ 175682 w 476804"/>
                  <a:gd name="connsiteY13" fmla="*/ 307733 h 533988"/>
                  <a:gd name="connsiteX14" fmla="*/ 0 w 476804"/>
                  <a:gd name="connsiteY14" fmla="*/ 153536 h 533988"/>
                  <a:gd name="connsiteX15" fmla="*/ 166097 w 476804"/>
                  <a:gd name="connsiteY15" fmla="*/ 0 h 533988"/>
                  <a:gd name="connsiteX16" fmla="*/ 436644 w 476804"/>
                  <a:gd name="connsiteY16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6804" h="533988">
                    <a:moveTo>
                      <a:pt x="436479" y="0"/>
                    </a:moveTo>
                    <a:lnTo>
                      <a:pt x="436479" y="93378"/>
                    </a:lnTo>
                    <a:lnTo>
                      <a:pt x="162791" y="93378"/>
                    </a:lnTo>
                    <a:cubicBezTo>
                      <a:pt x="114532" y="93378"/>
                      <a:pt x="93212" y="119491"/>
                      <a:pt x="93212" y="156676"/>
                    </a:cubicBezTo>
                    <a:cubicBezTo>
                      <a:pt x="93212" y="189069"/>
                      <a:pt x="109905" y="219975"/>
                      <a:pt x="172377" y="219975"/>
                    </a:cubicBezTo>
                    <a:lnTo>
                      <a:pt x="297321" y="219975"/>
                    </a:lnTo>
                    <a:cubicBezTo>
                      <a:pt x="442759" y="219975"/>
                      <a:pt x="476805" y="300627"/>
                      <a:pt x="476805" y="377312"/>
                    </a:cubicBezTo>
                    <a:cubicBezTo>
                      <a:pt x="476805" y="467384"/>
                      <a:pt x="428546" y="533988"/>
                      <a:pt x="306742" y="533988"/>
                    </a:cubicBezTo>
                    <a:lnTo>
                      <a:pt x="9420" y="533988"/>
                    </a:lnTo>
                    <a:lnTo>
                      <a:pt x="9420" y="440611"/>
                    </a:lnTo>
                    <a:lnTo>
                      <a:pt x="310047" y="440611"/>
                    </a:lnTo>
                    <a:cubicBezTo>
                      <a:pt x="360620" y="440611"/>
                      <a:pt x="383592" y="412845"/>
                      <a:pt x="383592" y="374172"/>
                    </a:cubicBezTo>
                    <a:cubicBezTo>
                      <a:pt x="383592" y="339465"/>
                      <a:pt x="365412" y="307733"/>
                      <a:pt x="299800" y="307733"/>
                    </a:cubicBezTo>
                    <a:lnTo>
                      <a:pt x="175682" y="307733"/>
                    </a:lnTo>
                    <a:cubicBezTo>
                      <a:pt x="33219" y="307733"/>
                      <a:pt x="0" y="227908"/>
                      <a:pt x="0" y="153536"/>
                    </a:cubicBezTo>
                    <a:cubicBezTo>
                      <a:pt x="0" y="64951"/>
                      <a:pt x="47598" y="0"/>
                      <a:pt x="166097" y="0"/>
                    </a:cubicBezTo>
                    <a:lnTo>
                      <a:pt x="436644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C5DD1F0E-92EB-E656-5302-6CD762695281}"/>
                  </a:ext>
                </a:extLst>
              </p:cNvPr>
              <p:cNvSpPr/>
              <p:nvPr/>
            </p:nvSpPr>
            <p:spPr>
              <a:xfrm>
                <a:off x="9483756" y="5234699"/>
                <a:ext cx="484241" cy="533988"/>
              </a:xfrm>
              <a:custGeom>
                <a:avLst/>
                <a:gdLst>
                  <a:gd name="connsiteX0" fmla="*/ 323599 w 484241"/>
                  <a:gd name="connsiteY0" fmla="*/ 0 h 533988"/>
                  <a:gd name="connsiteX1" fmla="*/ 484242 w 484241"/>
                  <a:gd name="connsiteY1" fmla="*/ 151057 h 533988"/>
                  <a:gd name="connsiteX2" fmla="*/ 359959 w 484241"/>
                  <a:gd name="connsiteY2" fmla="*/ 294181 h 533988"/>
                  <a:gd name="connsiteX3" fmla="*/ 137670 w 484241"/>
                  <a:gd name="connsiteY3" fmla="*/ 344093 h 533988"/>
                  <a:gd name="connsiteX4" fmla="*/ 93378 w 484241"/>
                  <a:gd name="connsiteY4" fmla="*/ 402598 h 533988"/>
                  <a:gd name="connsiteX5" fmla="*/ 93378 w 484241"/>
                  <a:gd name="connsiteY5" fmla="*/ 429537 h 533988"/>
                  <a:gd name="connsiteX6" fmla="*/ 103625 w 484241"/>
                  <a:gd name="connsiteY6" fmla="*/ 440611 h 533988"/>
                  <a:gd name="connsiteX7" fmla="*/ 469863 w 484241"/>
                  <a:gd name="connsiteY7" fmla="*/ 440611 h 533988"/>
                  <a:gd name="connsiteX8" fmla="*/ 469863 w 484241"/>
                  <a:gd name="connsiteY8" fmla="*/ 533988 h 533988"/>
                  <a:gd name="connsiteX9" fmla="*/ 44293 w 484241"/>
                  <a:gd name="connsiteY9" fmla="*/ 533988 h 533988"/>
                  <a:gd name="connsiteX10" fmla="*/ 0 w 484241"/>
                  <a:gd name="connsiteY10" fmla="*/ 490522 h 533988"/>
                  <a:gd name="connsiteX11" fmla="*/ 0 w 484241"/>
                  <a:gd name="connsiteY11" fmla="*/ 409870 h 533988"/>
                  <a:gd name="connsiteX12" fmla="*/ 117177 w 484241"/>
                  <a:gd name="connsiteY12" fmla="*/ 256334 h 533988"/>
                  <a:gd name="connsiteX13" fmla="*/ 341779 w 484241"/>
                  <a:gd name="connsiteY13" fmla="*/ 204935 h 533988"/>
                  <a:gd name="connsiteX14" fmla="*/ 391691 w 484241"/>
                  <a:gd name="connsiteY14" fmla="*/ 152710 h 533988"/>
                  <a:gd name="connsiteX15" fmla="*/ 325913 w 484241"/>
                  <a:gd name="connsiteY15" fmla="*/ 93378 h 533988"/>
                  <a:gd name="connsiteX16" fmla="*/ 17353 w 484241"/>
                  <a:gd name="connsiteY16" fmla="*/ 93378 h 533988"/>
                  <a:gd name="connsiteX17" fmla="*/ 17353 w 484241"/>
                  <a:gd name="connsiteY17" fmla="*/ 0 h 533988"/>
                  <a:gd name="connsiteX18" fmla="*/ 323599 w 484241"/>
                  <a:gd name="connsiteY18" fmla="*/ 0 h 533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4241" h="533988">
                    <a:moveTo>
                      <a:pt x="323599" y="0"/>
                    </a:moveTo>
                    <a:cubicBezTo>
                      <a:pt x="426397" y="0"/>
                      <a:pt x="484242" y="53052"/>
                      <a:pt x="484242" y="151057"/>
                    </a:cubicBezTo>
                    <a:cubicBezTo>
                      <a:pt x="484242" y="230221"/>
                      <a:pt x="446230" y="274514"/>
                      <a:pt x="359959" y="294181"/>
                    </a:cubicBezTo>
                    <a:lnTo>
                      <a:pt x="137670" y="344093"/>
                    </a:lnTo>
                    <a:cubicBezTo>
                      <a:pt x="100650" y="352852"/>
                      <a:pt x="93378" y="372519"/>
                      <a:pt x="93378" y="402598"/>
                    </a:cubicBezTo>
                    <a:lnTo>
                      <a:pt x="93378" y="429537"/>
                    </a:lnTo>
                    <a:cubicBezTo>
                      <a:pt x="93378" y="438296"/>
                      <a:pt x="96518" y="440611"/>
                      <a:pt x="103625" y="440611"/>
                    </a:cubicBezTo>
                    <a:lnTo>
                      <a:pt x="469863" y="440611"/>
                    </a:lnTo>
                    <a:lnTo>
                      <a:pt x="469863" y="533988"/>
                    </a:lnTo>
                    <a:lnTo>
                      <a:pt x="44293" y="533988"/>
                    </a:lnTo>
                    <a:cubicBezTo>
                      <a:pt x="14213" y="533988"/>
                      <a:pt x="0" y="519775"/>
                      <a:pt x="0" y="490522"/>
                    </a:cubicBezTo>
                    <a:lnTo>
                      <a:pt x="0" y="409870"/>
                    </a:lnTo>
                    <a:cubicBezTo>
                      <a:pt x="0" y="322773"/>
                      <a:pt x="26113" y="276993"/>
                      <a:pt x="117177" y="256334"/>
                    </a:cubicBezTo>
                    <a:lnTo>
                      <a:pt x="341779" y="204935"/>
                    </a:lnTo>
                    <a:cubicBezTo>
                      <a:pt x="379791" y="196176"/>
                      <a:pt x="391691" y="177996"/>
                      <a:pt x="391691" y="152710"/>
                    </a:cubicBezTo>
                    <a:cubicBezTo>
                      <a:pt x="391691" y="117011"/>
                      <a:pt x="368718" y="93378"/>
                      <a:pt x="325913" y="93378"/>
                    </a:cubicBezTo>
                    <a:lnTo>
                      <a:pt x="17353" y="93378"/>
                    </a:lnTo>
                    <a:lnTo>
                      <a:pt x="17353" y="0"/>
                    </a:lnTo>
                    <a:lnTo>
                      <a:pt x="323599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FBE53F3-B597-6DF5-9ECC-C4194C7071B3}"/>
                  </a:ext>
                </a:extLst>
              </p:cNvPr>
              <p:cNvSpPr/>
              <p:nvPr/>
            </p:nvSpPr>
            <p:spPr>
              <a:xfrm>
                <a:off x="10032122" y="5226931"/>
                <a:ext cx="482589" cy="549688"/>
              </a:xfrm>
              <a:custGeom>
                <a:avLst/>
                <a:gdLst>
                  <a:gd name="connsiteX0" fmla="*/ 482589 w 482589"/>
                  <a:gd name="connsiteY0" fmla="*/ 275175 h 549688"/>
                  <a:gd name="connsiteX1" fmla="*/ 241295 w 482589"/>
                  <a:gd name="connsiteY1" fmla="*/ 549689 h 549688"/>
                  <a:gd name="connsiteX2" fmla="*/ 0 w 482589"/>
                  <a:gd name="connsiteY2" fmla="*/ 275175 h 549688"/>
                  <a:gd name="connsiteX3" fmla="*/ 241295 w 482589"/>
                  <a:gd name="connsiteY3" fmla="*/ 0 h 549688"/>
                  <a:gd name="connsiteX4" fmla="*/ 482589 w 482589"/>
                  <a:gd name="connsiteY4" fmla="*/ 275175 h 549688"/>
                  <a:gd name="connsiteX5" fmla="*/ 91890 w 482589"/>
                  <a:gd name="connsiteY5" fmla="*/ 274514 h 549688"/>
                  <a:gd name="connsiteX6" fmla="*/ 241460 w 482589"/>
                  <a:gd name="connsiteY6" fmla="*/ 456476 h 549688"/>
                  <a:gd name="connsiteX7" fmla="*/ 390203 w 482589"/>
                  <a:gd name="connsiteY7" fmla="*/ 274514 h 549688"/>
                  <a:gd name="connsiteX8" fmla="*/ 241460 w 482589"/>
                  <a:gd name="connsiteY8" fmla="*/ 93378 h 549688"/>
                  <a:gd name="connsiteX9" fmla="*/ 91890 w 482589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9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5" y="549689"/>
                    </a:cubicBezTo>
                    <a:cubicBezTo>
                      <a:pt x="85445" y="549689"/>
                      <a:pt x="0" y="453997"/>
                      <a:pt x="0" y="275175"/>
                    </a:cubicBezTo>
                    <a:cubicBezTo>
                      <a:pt x="0" y="96352"/>
                      <a:pt x="86271" y="0"/>
                      <a:pt x="241295" y="0"/>
                    </a:cubicBezTo>
                    <a:cubicBezTo>
                      <a:pt x="396318" y="0"/>
                      <a:pt x="482589" y="95692"/>
                      <a:pt x="482589" y="275175"/>
                    </a:cubicBezTo>
                    <a:close/>
                    <a:moveTo>
                      <a:pt x="91890" y="274514"/>
                    </a:moveTo>
                    <a:cubicBezTo>
                      <a:pt x="91890" y="397144"/>
                      <a:pt x="137009" y="456476"/>
                      <a:pt x="241460" y="456476"/>
                    </a:cubicBezTo>
                    <a:cubicBezTo>
                      <a:pt x="345910" y="456476"/>
                      <a:pt x="390203" y="397144"/>
                      <a:pt x="390203" y="274514"/>
                    </a:cubicBezTo>
                    <a:cubicBezTo>
                      <a:pt x="390203" y="151883"/>
                      <a:pt x="345084" y="93378"/>
                      <a:pt x="241460" y="93378"/>
                    </a:cubicBezTo>
                    <a:cubicBezTo>
                      <a:pt x="137835" y="93378"/>
                      <a:pt x="91890" y="152710"/>
                      <a:pt x="91890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C2FCADC-8AD9-267B-D675-71A83722A6C2}"/>
                  </a:ext>
                </a:extLst>
              </p:cNvPr>
              <p:cNvSpPr/>
              <p:nvPr/>
            </p:nvSpPr>
            <p:spPr>
              <a:xfrm>
                <a:off x="10618005" y="5234203"/>
                <a:ext cx="447717" cy="534318"/>
              </a:xfrm>
              <a:custGeom>
                <a:avLst/>
                <a:gdLst>
                  <a:gd name="connsiteX0" fmla="*/ 267242 w 447717"/>
                  <a:gd name="connsiteY0" fmla="*/ 496 h 534318"/>
                  <a:gd name="connsiteX1" fmla="*/ 446064 w 447717"/>
                  <a:gd name="connsiteY1" fmla="*/ 143620 h 534318"/>
                  <a:gd name="connsiteX2" fmla="*/ 370205 w 447717"/>
                  <a:gd name="connsiteY2" fmla="*/ 266250 h 534318"/>
                  <a:gd name="connsiteX3" fmla="*/ 447717 w 447717"/>
                  <a:gd name="connsiteY3" fmla="*/ 391194 h 534318"/>
                  <a:gd name="connsiteX4" fmla="*/ 269721 w 447717"/>
                  <a:gd name="connsiteY4" fmla="*/ 534318 h 534318"/>
                  <a:gd name="connsiteX5" fmla="*/ 0 w 447717"/>
                  <a:gd name="connsiteY5" fmla="*/ 534318 h 534318"/>
                  <a:gd name="connsiteX6" fmla="*/ 0 w 447717"/>
                  <a:gd name="connsiteY6" fmla="*/ 440941 h 534318"/>
                  <a:gd name="connsiteX7" fmla="*/ 269721 w 447717"/>
                  <a:gd name="connsiteY7" fmla="*/ 440941 h 534318"/>
                  <a:gd name="connsiteX8" fmla="*/ 350373 w 447717"/>
                  <a:gd name="connsiteY8" fmla="*/ 372850 h 534318"/>
                  <a:gd name="connsiteX9" fmla="*/ 268895 w 447717"/>
                  <a:gd name="connsiteY9" fmla="*/ 308725 h 534318"/>
                  <a:gd name="connsiteX10" fmla="*/ 104285 w 447717"/>
                  <a:gd name="connsiteY10" fmla="*/ 308725 h 534318"/>
                  <a:gd name="connsiteX11" fmla="*/ 104285 w 447717"/>
                  <a:gd name="connsiteY11" fmla="*/ 223941 h 534318"/>
                  <a:gd name="connsiteX12" fmla="*/ 266416 w 447717"/>
                  <a:gd name="connsiteY12" fmla="*/ 223941 h 534318"/>
                  <a:gd name="connsiteX13" fmla="*/ 347894 w 447717"/>
                  <a:gd name="connsiteY13" fmla="*/ 159816 h 534318"/>
                  <a:gd name="connsiteX14" fmla="*/ 267242 w 447717"/>
                  <a:gd name="connsiteY14" fmla="*/ 93378 h 534318"/>
                  <a:gd name="connsiteX15" fmla="*/ 661 w 447717"/>
                  <a:gd name="connsiteY15" fmla="*/ 93378 h 534318"/>
                  <a:gd name="connsiteX16" fmla="*/ 661 w 447717"/>
                  <a:gd name="connsiteY16" fmla="*/ 0 h 534318"/>
                  <a:gd name="connsiteX17" fmla="*/ 267242 w 447717"/>
                  <a:gd name="connsiteY17" fmla="*/ 0 h 53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7717" h="534318">
                    <a:moveTo>
                      <a:pt x="267242" y="496"/>
                    </a:moveTo>
                    <a:cubicBezTo>
                      <a:pt x="393013" y="496"/>
                      <a:pt x="446064" y="61481"/>
                      <a:pt x="446064" y="143620"/>
                    </a:cubicBezTo>
                    <a:cubicBezTo>
                      <a:pt x="446064" y="206918"/>
                      <a:pt x="419125" y="245757"/>
                      <a:pt x="370205" y="266250"/>
                    </a:cubicBezTo>
                    <a:cubicBezTo>
                      <a:pt x="420778" y="287736"/>
                      <a:pt x="447717" y="327235"/>
                      <a:pt x="447717" y="391194"/>
                    </a:cubicBezTo>
                    <a:cubicBezTo>
                      <a:pt x="447717" y="471020"/>
                      <a:pt x="395492" y="534318"/>
                      <a:pt x="269721" y="534318"/>
                    </a:cubicBezTo>
                    <a:lnTo>
                      <a:pt x="0" y="534318"/>
                    </a:lnTo>
                    <a:lnTo>
                      <a:pt x="0" y="440941"/>
                    </a:lnTo>
                    <a:lnTo>
                      <a:pt x="269721" y="440941"/>
                    </a:lnTo>
                    <a:cubicBezTo>
                      <a:pt x="324260" y="440941"/>
                      <a:pt x="350373" y="415655"/>
                      <a:pt x="350373" y="372850"/>
                    </a:cubicBezTo>
                    <a:cubicBezTo>
                      <a:pt x="350373" y="330045"/>
                      <a:pt x="322608" y="308725"/>
                      <a:pt x="268895" y="308725"/>
                    </a:cubicBezTo>
                    <a:lnTo>
                      <a:pt x="104285" y="308725"/>
                    </a:lnTo>
                    <a:lnTo>
                      <a:pt x="104285" y="223941"/>
                    </a:lnTo>
                    <a:lnTo>
                      <a:pt x="266416" y="223941"/>
                    </a:lnTo>
                    <a:cubicBezTo>
                      <a:pt x="320955" y="223941"/>
                      <a:pt x="347894" y="204274"/>
                      <a:pt x="347894" y="159816"/>
                    </a:cubicBezTo>
                    <a:cubicBezTo>
                      <a:pt x="347894" y="119491"/>
                      <a:pt x="323434" y="93378"/>
                      <a:pt x="267242" y="93378"/>
                    </a:cubicBezTo>
                    <a:lnTo>
                      <a:pt x="661" y="93378"/>
                    </a:lnTo>
                    <a:lnTo>
                      <a:pt x="661" y="0"/>
                    </a:lnTo>
                    <a:lnTo>
                      <a:pt x="267242" y="0"/>
                    </a:ln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FFC66B4D-BC8C-A440-9F21-08B96CFA3D08}"/>
                  </a:ext>
                </a:extLst>
              </p:cNvPr>
              <p:cNvSpPr/>
              <p:nvPr/>
            </p:nvSpPr>
            <p:spPr>
              <a:xfrm>
                <a:off x="11147366" y="5226931"/>
                <a:ext cx="482588" cy="549688"/>
              </a:xfrm>
              <a:custGeom>
                <a:avLst/>
                <a:gdLst>
                  <a:gd name="connsiteX0" fmla="*/ 482589 w 482588"/>
                  <a:gd name="connsiteY0" fmla="*/ 275175 h 549688"/>
                  <a:gd name="connsiteX1" fmla="*/ 241294 w 482588"/>
                  <a:gd name="connsiteY1" fmla="*/ 549689 h 549688"/>
                  <a:gd name="connsiteX2" fmla="*/ 0 w 482588"/>
                  <a:gd name="connsiteY2" fmla="*/ 275175 h 549688"/>
                  <a:gd name="connsiteX3" fmla="*/ 241294 w 482588"/>
                  <a:gd name="connsiteY3" fmla="*/ 0 h 549688"/>
                  <a:gd name="connsiteX4" fmla="*/ 482589 w 482588"/>
                  <a:gd name="connsiteY4" fmla="*/ 275175 h 549688"/>
                  <a:gd name="connsiteX5" fmla="*/ 91725 w 482588"/>
                  <a:gd name="connsiteY5" fmla="*/ 274514 h 549688"/>
                  <a:gd name="connsiteX6" fmla="*/ 241129 w 482588"/>
                  <a:gd name="connsiteY6" fmla="*/ 456476 h 549688"/>
                  <a:gd name="connsiteX7" fmla="*/ 389872 w 482588"/>
                  <a:gd name="connsiteY7" fmla="*/ 274514 h 549688"/>
                  <a:gd name="connsiteX8" fmla="*/ 241129 w 482588"/>
                  <a:gd name="connsiteY8" fmla="*/ 93378 h 549688"/>
                  <a:gd name="connsiteX9" fmla="*/ 91725 w 482588"/>
                  <a:gd name="connsiteY9" fmla="*/ 274514 h 54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588" h="549688">
                    <a:moveTo>
                      <a:pt x="482589" y="275175"/>
                    </a:moveTo>
                    <a:cubicBezTo>
                      <a:pt x="482589" y="453832"/>
                      <a:pt x="397144" y="549689"/>
                      <a:pt x="241294" y="549689"/>
                    </a:cubicBezTo>
                    <a:cubicBezTo>
                      <a:pt x="85444" y="549689"/>
                      <a:pt x="0" y="453997"/>
                      <a:pt x="0" y="275175"/>
                    </a:cubicBezTo>
                    <a:cubicBezTo>
                      <a:pt x="0" y="96352"/>
                      <a:pt x="86106" y="0"/>
                      <a:pt x="241294" y="0"/>
                    </a:cubicBezTo>
                    <a:cubicBezTo>
                      <a:pt x="396483" y="0"/>
                      <a:pt x="482589" y="95692"/>
                      <a:pt x="482589" y="275175"/>
                    </a:cubicBezTo>
                    <a:close/>
                    <a:moveTo>
                      <a:pt x="91725" y="274514"/>
                    </a:moveTo>
                    <a:cubicBezTo>
                      <a:pt x="91725" y="397144"/>
                      <a:pt x="136678" y="456476"/>
                      <a:pt x="241129" y="456476"/>
                    </a:cubicBezTo>
                    <a:cubicBezTo>
                      <a:pt x="345580" y="456476"/>
                      <a:pt x="389872" y="397144"/>
                      <a:pt x="389872" y="274514"/>
                    </a:cubicBezTo>
                    <a:cubicBezTo>
                      <a:pt x="389872" y="151883"/>
                      <a:pt x="344919" y="93378"/>
                      <a:pt x="241129" y="93378"/>
                    </a:cubicBezTo>
                    <a:cubicBezTo>
                      <a:pt x="137340" y="93378"/>
                      <a:pt x="91725" y="152710"/>
                      <a:pt x="91725" y="274514"/>
                    </a:cubicBezTo>
                    <a:close/>
                  </a:path>
                </a:pathLst>
              </a:custGeom>
              <a:grpFill/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6" name="Graphic 8">
              <a:extLst>
                <a:ext uri="{FF2B5EF4-FFF2-40B4-BE49-F238E27FC236}">
                  <a16:creationId xmlns:a16="http://schemas.microsoft.com/office/drawing/2014/main" id="{F56525D9-FC4D-6BEE-6FA0-AC9C74CB03AB}"/>
                </a:ext>
              </a:extLst>
            </p:cNvPr>
            <p:cNvGrpSpPr/>
            <p:nvPr/>
          </p:nvGrpSpPr>
          <p:grpSpPr>
            <a:xfrm>
              <a:off x="6611525" y="5883880"/>
              <a:ext cx="5018265" cy="193035"/>
              <a:chOff x="6611525" y="5883880"/>
              <a:chExt cx="5018265" cy="193035"/>
            </a:xfrm>
            <a:solidFill>
              <a:srgbClr val="FFFFFF"/>
            </a:solidFill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75277F63-FE24-F4D5-E476-F6285C0624A6}"/>
                  </a:ext>
                </a:extLst>
              </p:cNvPr>
              <p:cNvSpPr/>
              <p:nvPr/>
            </p:nvSpPr>
            <p:spPr>
              <a:xfrm>
                <a:off x="6611525" y="5897929"/>
                <a:ext cx="212206" cy="139322"/>
              </a:xfrm>
              <a:custGeom>
                <a:avLst/>
                <a:gdLst>
                  <a:gd name="connsiteX0" fmla="*/ 25121 w 212206"/>
                  <a:gd name="connsiteY0" fmla="*/ 137009 h 139322"/>
                  <a:gd name="connsiteX1" fmla="*/ 0 w 212206"/>
                  <a:gd name="connsiteY1" fmla="*/ 137009 h 139322"/>
                  <a:gd name="connsiteX2" fmla="*/ 41813 w 212206"/>
                  <a:gd name="connsiteY2" fmla="*/ 24955 h 139322"/>
                  <a:gd name="connsiteX3" fmla="*/ 73545 w 212206"/>
                  <a:gd name="connsiteY3" fmla="*/ 0 h 139322"/>
                  <a:gd name="connsiteX4" fmla="*/ 103459 w 212206"/>
                  <a:gd name="connsiteY4" fmla="*/ 29253 h 139322"/>
                  <a:gd name="connsiteX5" fmla="*/ 103459 w 212206"/>
                  <a:gd name="connsiteY5" fmla="*/ 108913 h 139322"/>
                  <a:gd name="connsiteX6" fmla="*/ 110235 w 212206"/>
                  <a:gd name="connsiteY6" fmla="*/ 116515 h 139322"/>
                  <a:gd name="connsiteX7" fmla="*/ 117838 w 212206"/>
                  <a:gd name="connsiteY7" fmla="*/ 110896 h 139322"/>
                  <a:gd name="connsiteX8" fmla="*/ 150561 w 212206"/>
                  <a:gd name="connsiteY8" fmla="*/ 24955 h 139322"/>
                  <a:gd name="connsiteX9" fmla="*/ 182293 w 212206"/>
                  <a:gd name="connsiteY9" fmla="*/ 0 h 139322"/>
                  <a:gd name="connsiteX10" fmla="*/ 212207 w 212206"/>
                  <a:gd name="connsiteY10" fmla="*/ 29253 h 139322"/>
                  <a:gd name="connsiteX11" fmla="*/ 212207 w 212206"/>
                  <a:gd name="connsiteY11" fmla="*/ 137009 h 139322"/>
                  <a:gd name="connsiteX12" fmla="*/ 188408 w 212206"/>
                  <a:gd name="connsiteY12" fmla="*/ 137009 h 139322"/>
                  <a:gd name="connsiteX13" fmla="*/ 188408 w 212206"/>
                  <a:gd name="connsiteY13" fmla="*/ 30410 h 139322"/>
                  <a:gd name="connsiteX14" fmla="*/ 181632 w 212206"/>
                  <a:gd name="connsiteY14" fmla="*/ 22642 h 139322"/>
                  <a:gd name="connsiteX15" fmla="*/ 174195 w 212206"/>
                  <a:gd name="connsiteY15" fmla="*/ 28427 h 139322"/>
                  <a:gd name="connsiteX16" fmla="*/ 141471 w 212206"/>
                  <a:gd name="connsiteY16" fmla="*/ 114367 h 139322"/>
                  <a:gd name="connsiteX17" fmla="*/ 109574 w 212206"/>
                  <a:gd name="connsiteY17" fmla="*/ 139323 h 139322"/>
                  <a:gd name="connsiteX18" fmla="*/ 79826 w 212206"/>
                  <a:gd name="connsiteY18" fmla="*/ 109739 h 139322"/>
                  <a:gd name="connsiteX19" fmla="*/ 79826 w 212206"/>
                  <a:gd name="connsiteY19" fmla="*/ 30410 h 139322"/>
                  <a:gd name="connsiteX20" fmla="*/ 72884 w 212206"/>
                  <a:gd name="connsiteY20" fmla="*/ 22642 h 139322"/>
                  <a:gd name="connsiteX21" fmla="*/ 65447 w 212206"/>
                  <a:gd name="connsiteY21" fmla="*/ 28427 h 139322"/>
                  <a:gd name="connsiteX22" fmla="*/ 25121 w 212206"/>
                  <a:gd name="connsiteY22" fmla="*/ 137009 h 13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12206" h="139322">
                    <a:moveTo>
                      <a:pt x="25121" y="137009"/>
                    </a:moveTo>
                    <a:lnTo>
                      <a:pt x="0" y="137009"/>
                    </a:lnTo>
                    <a:lnTo>
                      <a:pt x="41813" y="24955"/>
                    </a:lnTo>
                    <a:cubicBezTo>
                      <a:pt x="46937" y="9585"/>
                      <a:pt x="55531" y="0"/>
                      <a:pt x="73545" y="0"/>
                    </a:cubicBezTo>
                    <a:cubicBezTo>
                      <a:pt x="93543" y="0"/>
                      <a:pt x="103459" y="11734"/>
                      <a:pt x="103459" y="29253"/>
                    </a:cubicBezTo>
                    <a:lnTo>
                      <a:pt x="103459" y="108913"/>
                    </a:lnTo>
                    <a:cubicBezTo>
                      <a:pt x="103459" y="113541"/>
                      <a:pt x="106269" y="116515"/>
                      <a:pt x="110235" y="116515"/>
                    </a:cubicBezTo>
                    <a:cubicBezTo>
                      <a:pt x="113871" y="116515"/>
                      <a:pt x="116681" y="114367"/>
                      <a:pt x="117838" y="110896"/>
                    </a:cubicBezTo>
                    <a:lnTo>
                      <a:pt x="150561" y="24955"/>
                    </a:lnTo>
                    <a:cubicBezTo>
                      <a:pt x="155685" y="9585"/>
                      <a:pt x="164279" y="0"/>
                      <a:pt x="182293" y="0"/>
                    </a:cubicBezTo>
                    <a:cubicBezTo>
                      <a:pt x="202291" y="0"/>
                      <a:pt x="212207" y="11734"/>
                      <a:pt x="212207" y="29253"/>
                    </a:cubicBezTo>
                    <a:lnTo>
                      <a:pt x="212207" y="137009"/>
                    </a:lnTo>
                    <a:lnTo>
                      <a:pt x="188408" y="137009"/>
                    </a:lnTo>
                    <a:lnTo>
                      <a:pt x="188408" y="30410"/>
                    </a:lnTo>
                    <a:cubicBezTo>
                      <a:pt x="188408" y="25617"/>
                      <a:pt x="185598" y="22642"/>
                      <a:pt x="181632" y="22642"/>
                    </a:cubicBezTo>
                    <a:cubicBezTo>
                      <a:pt x="178161" y="22642"/>
                      <a:pt x="175517" y="24955"/>
                      <a:pt x="174195" y="28427"/>
                    </a:cubicBezTo>
                    <a:lnTo>
                      <a:pt x="141471" y="114367"/>
                    </a:lnTo>
                    <a:cubicBezTo>
                      <a:pt x="136348" y="129737"/>
                      <a:pt x="127423" y="139323"/>
                      <a:pt x="109574" y="139323"/>
                    </a:cubicBezTo>
                    <a:cubicBezTo>
                      <a:pt x="89742" y="139323"/>
                      <a:pt x="79826" y="127589"/>
                      <a:pt x="79826" y="109739"/>
                    </a:cubicBezTo>
                    <a:lnTo>
                      <a:pt x="79826" y="30410"/>
                    </a:lnTo>
                    <a:cubicBezTo>
                      <a:pt x="79826" y="25617"/>
                      <a:pt x="76851" y="22642"/>
                      <a:pt x="72884" y="22642"/>
                    </a:cubicBezTo>
                    <a:cubicBezTo>
                      <a:pt x="69248" y="22642"/>
                      <a:pt x="66934" y="24955"/>
                      <a:pt x="65447" y="28427"/>
                    </a:cubicBezTo>
                    <a:lnTo>
                      <a:pt x="25121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CFB578BB-04DA-2953-A203-6633092C5DB6}"/>
                  </a:ext>
                </a:extLst>
              </p:cNvPr>
              <p:cNvSpPr/>
              <p:nvPr/>
            </p:nvSpPr>
            <p:spPr>
              <a:xfrm>
                <a:off x="6851662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386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3" y="84949"/>
                      <a:pt x="92386" y="75528"/>
                      <a:pt x="92386" y="52886"/>
                    </a:cubicBezTo>
                    <a:cubicBezTo>
                      <a:pt x="92386" y="30244"/>
                      <a:pt x="84123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7FBEA6C7-36D0-E97B-2C8B-EFA56EAE7751}"/>
                  </a:ext>
                </a:extLst>
              </p:cNvPr>
              <p:cNvSpPr/>
              <p:nvPr/>
            </p:nvSpPr>
            <p:spPr>
              <a:xfrm>
                <a:off x="6987184" y="5883880"/>
                <a:ext cx="113705" cy="151057"/>
              </a:xfrm>
              <a:custGeom>
                <a:avLst/>
                <a:gdLst>
                  <a:gd name="connsiteX0" fmla="*/ 113541 w 113705"/>
                  <a:gd name="connsiteY0" fmla="*/ 0 h 151057"/>
                  <a:gd name="connsiteX1" fmla="*/ 113541 w 113705"/>
                  <a:gd name="connsiteY1" fmla="*/ 105938 h 151057"/>
                  <a:gd name="connsiteX2" fmla="*/ 74867 w 113705"/>
                  <a:gd name="connsiteY2" fmla="*/ 151057 h 151057"/>
                  <a:gd name="connsiteX3" fmla="*/ 45780 w 113705"/>
                  <a:gd name="connsiteY3" fmla="*/ 151057 h 151057"/>
                  <a:gd name="connsiteX4" fmla="*/ 0 w 113705"/>
                  <a:gd name="connsiteY4" fmla="*/ 98336 h 151057"/>
                  <a:gd name="connsiteX5" fmla="*/ 45780 w 113705"/>
                  <a:gd name="connsiteY5" fmla="*/ 45615 h 151057"/>
                  <a:gd name="connsiteX6" fmla="*/ 92386 w 113705"/>
                  <a:gd name="connsiteY6" fmla="*/ 45615 h 151057"/>
                  <a:gd name="connsiteX7" fmla="*/ 92386 w 113705"/>
                  <a:gd name="connsiteY7" fmla="*/ 0 h 151057"/>
                  <a:gd name="connsiteX8" fmla="*/ 113706 w 113705"/>
                  <a:gd name="connsiteY8" fmla="*/ 0 h 151057"/>
                  <a:gd name="connsiteX9" fmla="*/ 92221 w 113705"/>
                  <a:gd name="connsiteY9" fmla="*/ 104947 h 151057"/>
                  <a:gd name="connsiteX10" fmla="*/ 92221 w 113705"/>
                  <a:gd name="connsiteY10" fmla="*/ 66108 h 151057"/>
                  <a:gd name="connsiteX11" fmla="*/ 47598 w 113705"/>
                  <a:gd name="connsiteY11" fmla="*/ 66108 h 151057"/>
                  <a:gd name="connsiteX12" fmla="*/ 21320 w 113705"/>
                  <a:gd name="connsiteY12" fmla="*/ 98501 h 151057"/>
                  <a:gd name="connsiteX13" fmla="*/ 47598 w 113705"/>
                  <a:gd name="connsiteY13" fmla="*/ 130563 h 151057"/>
                  <a:gd name="connsiteX14" fmla="*/ 68587 w 113705"/>
                  <a:gd name="connsiteY14" fmla="*/ 130563 h 151057"/>
                  <a:gd name="connsiteX15" fmla="*/ 92221 w 113705"/>
                  <a:gd name="connsiteY15" fmla="*/ 105112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705" h="151057">
                    <a:moveTo>
                      <a:pt x="113541" y="0"/>
                    </a:moveTo>
                    <a:lnTo>
                      <a:pt x="113541" y="105938"/>
                    </a:lnTo>
                    <a:cubicBezTo>
                      <a:pt x="113541" y="136183"/>
                      <a:pt x="99989" y="151057"/>
                      <a:pt x="74867" y="151057"/>
                    </a:cubicBezTo>
                    <a:lnTo>
                      <a:pt x="45780" y="151057"/>
                    </a:lnTo>
                    <a:cubicBezTo>
                      <a:pt x="17684" y="151057"/>
                      <a:pt x="0" y="133869"/>
                      <a:pt x="0" y="98336"/>
                    </a:cubicBezTo>
                    <a:cubicBezTo>
                      <a:pt x="0" y="62802"/>
                      <a:pt x="17519" y="45615"/>
                      <a:pt x="45780" y="45615"/>
                    </a:cubicBezTo>
                    <a:lnTo>
                      <a:pt x="92386" y="45615"/>
                    </a:lnTo>
                    <a:lnTo>
                      <a:pt x="92386" y="0"/>
                    </a:lnTo>
                    <a:lnTo>
                      <a:pt x="113706" y="0"/>
                    </a:lnTo>
                    <a:close/>
                    <a:moveTo>
                      <a:pt x="92221" y="104947"/>
                    </a:moveTo>
                    <a:lnTo>
                      <a:pt x="92221" y="66108"/>
                    </a:lnTo>
                    <a:lnTo>
                      <a:pt x="47598" y="66108"/>
                    </a:lnTo>
                    <a:cubicBezTo>
                      <a:pt x="29418" y="66108"/>
                      <a:pt x="21320" y="75694"/>
                      <a:pt x="21320" y="98501"/>
                    </a:cubicBezTo>
                    <a:cubicBezTo>
                      <a:pt x="21320" y="121308"/>
                      <a:pt x="29583" y="130563"/>
                      <a:pt x="47598" y="130563"/>
                    </a:cubicBezTo>
                    <a:lnTo>
                      <a:pt x="68587" y="130563"/>
                    </a:lnTo>
                    <a:cubicBezTo>
                      <a:pt x="85610" y="130563"/>
                      <a:pt x="92221" y="122961"/>
                      <a:pt x="92221" y="1051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A9C7F3AB-999B-5DE8-BC63-0C2BCCABDCD7}"/>
                  </a:ext>
                </a:extLst>
              </p:cNvPr>
              <p:cNvSpPr/>
              <p:nvPr/>
            </p:nvSpPr>
            <p:spPr>
              <a:xfrm>
                <a:off x="7130308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525 w 106268"/>
                  <a:gd name="connsiteY17" fmla="*/ 20328 h 105277"/>
                  <a:gd name="connsiteX18" fmla="*/ 20328 w 106268"/>
                  <a:gd name="connsiteY18" fmla="*/ 34872 h 105277"/>
                  <a:gd name="connsiteX19" fmla="*/ 20328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19FF7059-49F4-B72C-8D02-C9F61AF029F1}"/>
                  </a:ext>
                </a:extLst>
              </p:cNvPr>
              <p:cNvSpPr/>
              <p:nvPr/>
            </p:nvSpPr>
            <p:spPr>
              <a:xfrm>
                <a:off x="7263681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2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2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B53F6766-86A4-3158-7116-E2294ADA1907}"/>
                  </a:ext>
                </a:extLst>
              </p:cNvPr>
              <p:cNvSpPr/>
              <p:nvPr/>
            </p:nvSpPr>
            <p:spPr>
              <a:xfrm>
                <a:off x="735772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19EFAB58-010D-F941-F1E3-969D8F24B6B7}"/>
                  </a:ext>
                </a:extLst>
              </p:cNvPr>
              <p:cNvSpPr/>
              <p:nvPr/>
            </p:nvSpPr>
            <p:spPr>
              <a:xfrm>
                <a:off x="7500513" y="5889830"/>
                <a:ext cx="21319" cy="144942"/>
              </a:xfrm>
              <a:custGeom>
                <a:avLst/>
                <a:gdLst>
                  <a:gd name="connsiteX0" fmla="*/ 21320 w 21319"/>
                  <a:gd name="connsiteY0" fmla="*/ 0 h 144942"/>
                  <a:gd name="connsiteX1" fmla="*/ 21320 w 21319"/>
                  <a:gd name="connsiteY1" fmla="*/ 24460 h 144942"/>
                  <a:gd name="connsiteX2" fmla="*/ 0 w 21319"/>
                  <a:gd name="connsiteY2" fmla="*/ 24460 h 144942"/>
                  <a:gd name="connsiteX3" fmla="*/ 0 w 21319"/>
                  <a:gd name="connsiteY3" fmla="*/ 0 h 144942"/>
                  <a:gd name="connsiteX4" fmla="*/ 21320 w 21319"/>
                  <a:gd name="connsiteY4" fmla="*/ 0 h 144942"/>
                  <a:gd name="connsiteX5" fmla="*/ 21155 w 21319"/>
                  <a:gd name="connsiteY5" fmla="*/ 39665 h 144942"/>
                  <a:gd name="connsiteX6" fmla="*/ 21155 w 21319"/>
                  <a:gd name="connsiteY6" fmla="*/ 144942 h 144942"/>
                  <a:gd name="connsiteX7" fmla="*/ 0 w 21319"/>
                  <a:gd name="connsiteY7" fmla="*/ 144942 h 144942"/>
                  <a:gd name="connsiteX8" fmla="*/ 0 w 21319"/>
                  <a:gd name="connsiteY8" fmla="*/ 39665 h 144942"/>
                  <a:gd name="connsiteX9" fmla="*/ 21155 w 21319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19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C638E6A4-5ED4-0697-E54D-3F802A7A687A}"/>
                  </a:ext>
                </a:extLst>
              </p:cNvPr>
              <p:cNvSpPr/>
              <p:nvPr/>
            </p:nvSpPr>
            <p:spPr>
              <a:xfrm>
                <a:off x="7548276" y="5929495"/>
                <a:ext cx="104450" cy="105277"/>
              </a:xfrm>
              <a:custGeom>
                <a:avLst/>
                <a:gdLst>
                  <a:gd name="connsiteX0" fmla="*/ 77346 w 104450"/>
                  <a:gd name="connsiteY0" fmla="*/ 0 h 105277"/>
                  <a:gd name="connsiteX1" fmla="*/ 104451 w 104450"/>
                  <a:gd name="connsiteY1" fmla="*/ 24129 h 105277"/>
                  <a:gd name="connsiteX2" fmla="*/ 86436 w 104450"/>
                  <a:gd name="connsiteY2" fmla="*/ 49416 h 105277"/>
                  <a:gd name="connsiteX3" fmla="*/ 25947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4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6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6" y="0"/>
                    </a:moveTo>
                    <a:cubicBezTo>
                      <a:pt x="95691" y="0"/>
                      <a:pt x="104451" y="9585"/>
                      <a:pt x="104451" y="24129"/>
                    </a:cubicBezTo>
                    <a:cubicBezTo>
                      <a:pt x="104451" y="37020"/>
                      <a:pt x="97509" y="45449"/>
                      <a:pt x="86436" y="49416"/>
                    </a:cubicBezTo>
                    <a:lnTo>
                      <a:pt x="25947" y="71396"/>
                    </a:lnTo>
                    <a:cubicBezTo>
                      <a:pt x="22311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4" y="59993"/>
                      <a:pt x="18014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3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A79282F-4FF1-9BB4-7577-950CF3431AEE}"/>
                  </a:ext>
                </a:extLst>
              </p:cNvPr>
              <p:cNvSpPr/>
              <p:nvPr/>
            </p:nvSpPr>
            <p:spPr>
              <a:xfrm>
                <a:off x="7679335" y="5889830"/>
                <a:ext cx="21485" cy="144942"/>
              </a:xfrm>
              <a:custGeom>
                <a:avLst/>
                <a:gdLst>
                  <a:gd name="connsiteX0" fmla="*/ 21485 w 21485"/>
                  <a:gd name="connsiteY0" fmla="*/ 0 h 144942"/>
                  <a:gd name="connsiteX1" fmla="*/ 21485 w 21485"/>
                  <a:gd name="connsiteY1" fmla="*/ 24460 h 144942"/>
                  <a:gd name="connsiteX2" fmla="*/ 165 w 21485"/>
                  <a:gd name="connsiteY2" fmla="*/ 24460 h 144942"/>
                  <a:gd name="connsiteX3" fmla="*/ 165 w 21485"/>
                  <a:gd name="connsiteY3" fmla="*/ 0 h 144942"/>
                  <a:gd name="connsiteX4" fmla="*/ 21485 w 21485"/>
                  <a:gd name="connsiteY4" fmla="*/ 0 h 144942"/>
                  <a:gd name="connsiteX5" fmla="*/ 21155 w 21485"/>
                  <a:gd name="connsiteY5" fmla="*/ 39665 h 144942"/>
                  <a:gd name="connsiteX6" fmla="*/ 21155 w 21485"/>
                  <a:gd name="connsiteY6" fmla="*/ 144942 h 144942"/>
                  <a:gd name="connsiteX7" fmla="*/ 0 w 21485"/>
                  <a:gd name="connsiteY7" fmla="*/ 144942 h 144942"/>
                  <a:gd name="connsiteX8" fmla="*/ 0 w 21485"/>
                  <a:gd name="connsiteY8" fmla="*/ 39665 h 144942"/>
                  <a:gd name="connsiteX9" fmla="*/ 21155 w 21485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485" h="144942">
                    <a:moveTo>
                      <a:pt x="21485" y="0"/>
                    </a:moveTo>
                    <a:lnTo>
                      <a:pt x="21485" y="24460"/>
                    </a:lnTo>
                    <a:lnTo>
                      <a:pt x="165" y="24460"/>
                    </a:lnTo>
                    <a:lnTo>
                      <a:pt x="165" y="0"/>
                    </a:lnTo>
                    <a:lnTo>
                      <a:pt x="21485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A78B16C4-AFBC-018B-6E91-ADCE09015423}"/>
                  </a:ext>
                </a:extLst>
              </p:cNvPr>
              <p:cNvSpPr/>
              <p:nvPr/>
            </p:nvSpPr>
            <p:spPr>
              <a:xfrm>
                <a:off x="773238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10CC25A-73F3-9440-92FF-12E9E0C802FC}"/>
                  </a:ext>
                </a:extLst>
              </p:cNvPr>
              <p:cNvSpPr/>
              <p:nvPr/>
            </p:nvSpPr>
            <p:spPr>
              <a:xfrm>
                <a:off x="7869892" y="5929495"/>
                <a:ext cx="113705" cy="147420"/>
              </a:xfrm>
              <a:custGeom>
                <a:avLst/>
                <a:gdLst>
                  <a:gd name="connsiteX0" fmla="*/ 75033 w 113705"/>
                  <a:gd name="connsiteY0" fmla="*/ 0 h 147420"/>
                  <a:gd name="connsiteX1" fmla="*/ 113706 w 113705"/>
                  <a:gd name="connsiteY1" fmla="*/ 45118 h 147420"/>
                  <a:gd name="connsiteX2" fmla="*/ 113706 w 113705"/>
                  <a:gd name="connsiteY2" fmla="*/ 105773 h 147420"/>
                  <a:gd name="connsiteX3" fmla="*/ 73711 w 113705"/>
                  <a:gd name="connsiteY3" fmla="*/ 147421 h 147420"/>
                  <a:gd name="connsiteX4" fmla="*/ 11073 w 113705"/>
                  <a:gd name="connsiteY4" fmla="*/ 147421 h 147420"/>
                  <a:gd name="connsiteX5" fmla="*/ 11073 w 113705"/>
                  <a:gd name="connsiteY5" fmla="*/ 127093 h 147420"/>
                  <a:gd name="connsiteX6" fmla="*/ 71397 w 113705"/>
                  <a:gd name="connsiteY6" fmla="*/ 127093 h 147420"/>
                  <a:gd name="connsiteX7" fmla="*/ 92386 w 113705"/>
                  <a:gd name="connsiteY7" fmla="*/ 105773 h 147420"/>
                  <a:gd name="connsiteX8" fmla="*/ 92386 w 113705"/>
                  <a:gd name="connsiteY8" fmla="*/ 100980 h 147420"/>
                  <a:gd name="connsiteX9" fmla="*/ 45780 w 113705"/>
                  <a:gd name="connsiteY9" fmla="*/ 100980 h 147420"/>
                  <a:gd name="connsiteX10" fmla="*/ 0 w 113705"/>
                  <a:gd name="connsiteY10" fmla="*/ 50242 h 147420"/>
                  <a:gd name="connsiteX11" fmla="*/ 45780 w 113705"/>
                  <a:gd name="connsiteY11" fmla="*/ 0 h 147420"/>
                  <a:gd name="connsiteX12" fmla="*/ 74867 w 113705"/>
                  <a:gd name="connsiteY12" fmla="*/ 0 h 147420"/>
                  <a:gd name="connsiteX13" fmla="*/ 47763 w 113705"/>
                  <a:gd name="connsiteY13" fmla="*/ 81808 h 147420"/>
                  <a:gd name="connsiteX14" fmla="*/ 92386 w 113705"/>
                  <a:gd name="connsiteY14" fmla="*/ 81808 h 147420"/>
                  <a:gd name="connsiteX15" fmla="*/ 92386 w 113705"/>
                  <a:gd name="connsiteY15" fmla="*/ 44954 h 147420"/>
                  <a:gd name="connsiteX16" fmla="*/ 68752 w 113705"/>
                  <a:gd name="connsiteY16" fmla="*/ 20493 h 147420"/>
                  <a:gd name="connsiteX17" fmla="*/ 47763 w 113705"/>
                  <a:gd name="connsiteY17" fmla="*/ 20493 h 147420"/>
                  <a:gd name="connsiteX18" fmla="*/ 21485 w 113705"/>
                  <a:gd name="connsiteY18" fmla="*/ 51233 h 147420"/>
                  <a:gd name="connsiteX19" fmla="*/ 47763 w 113705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705" h="147420">
                    <a:moveTo>
                      <a:pt x="75033" y="0"/>
                    </a:moveTo>
                    <a:cubicBezTo>
                      <a:pt x="100154" y="0"/>
                      <a:pt x="113706" y="14709"/>
                      <a:pt x="113706" y="45118"/>
                    </a:cubicBezTo>
                    <a:lnTo>
                      <a:pt x="113706" y="105773"/>
                    </a:lnTo>
                    <a:cubicBezTo>
                      <a:pt x="113706" y="135687"/>
                      <a:pt x="103294" y="147421"/>
                      <a:pt x="73711" y="147421"/>
                    </a:cubicBezTo>
                    <a:lnTo>
                      <a:pt x="11073" y="147421"/>
                    </a:lnTo>
                    <a:lnTo>
                      <a:pt x="11073" y="127093"/>
                    </a:lnTo>
                    <a:lnTo>
                      <a:pt x="71397" y="127093"/>
                    </a:lnTo>
                    <a:cubicBezTo>
                      <a:pt x="87097" y="127093"/>
                      <a:pt x="92386" y="120977"/>
                      <a:pt x="92386" y="105773"/>
                    </a:cubicBezTo>
                    <a:lnTo>
                      <a:pt x="92386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763" y="81808"/>
                    </a:moveTo>
                    <a:lnTo>
                      <a:pt x="92386" y="81808"/>
                    </a:lnTo>
                    <a:lnTo>
                      <a:pt x="92386" y="44954"/>
                    </a:lnTo>
                    <a:cubicBezTo>
                      <a:pt x="92386" y="27765"/>
                      <a:pt x="85775" y="20493"/>
                      <a:pt x="68752" y="20493"/>
                    </a:cubicBezTo>
                    <a:lnTo>
                      <a:pt x="47763" y="20493"/>
                    </a:lnTo>
                    <a:cubicBezTo>
                      <a:pt x="29583" y="20493"/>
                      <a:pt x="21485" y="29583"/>
                      <a:pt x="21485" y="51233"/>
                    </a:cubicBezTo>
                    <a:cubicBezTo>
                      <a:pt x="21485" y="72884"/>
                      <a:pt x="29749" y="81974"/>
                      <a:pt x="4776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13959D7-B29C-A405-8677-B1BCE3E5C4FB}"/>
                  </a:ext>
                </a:extLst>
              </p:cNvPr>
              <p:cNvSpPr/>
              <p:nvPr/>
            </p:nvSpPr>
            <p:spPr>
              <a:xfrm>
                <a:off x="8057969" y="5897929"/>
                <a:ext cx="149239" cy="137009"/>
              </a:xfrm>
              <a:custGeom>
                <a:avLst/>
                <a:gdLst>
                  <a:gd name="connsiteX0" fmla="*/ 25947 w 149239"/>
                  <a:gd name="connsiteY0" fmla="*/ 137009 h 137009"/>
                  <a:gd name="connsiteX1" fmla="*/ 0 w 149239"/>
                  <a:gd name="connsiteY1" fmla="*/ 137009 h 137009"/>
                  <a:gd name="connsiteX2" fmla="*/ 47267 w 149239"/>
                  <a:gd name="connsiteY2" fmla="*/ 17353 h 137009"/>
                  <a:gd name="connsiteX3" fmla="*/ 75694 w 149239"/>
                  <a:gd name="connsiteY3" fmla="*/ 0 h 137009"/>
                  <a:gd name="connsiteX4" fmla="*/ 103625 w 149239"/>
                  <a:gd name="connsiteY4" fmla="*/ 17353 h 137009"/>
                  <a:gd name="connsiteX5" fmla="*/ 149239 w 149239"/>
                  <a:gd name="connsiteY5" fmla="*/ 137009 h 137009"/>
                  <a:gd name="connsiteX6" fmla="*/ 123126 w 149239"/>
                  <a:gd name="connsiteY6" fmla="*/ 137009 h 137009"/>
                  <a:gd name="connsiteX7" fmla="*/ 82139 w 149239"/>
                  <a:gd name="connsiteY7" fmla="*/ 28757 h 137009"/>
                  <a:gd name="connsiteX8" fmla="*/ 75528 w 149239"/>
                  <a:gd name="connsiteY8" fmla="*/ 24129 h 137009"/>
                  <a:gd name="connsiteX9" fmla="*/ 68752 w 149239"/>
                  <a:gd name="connsiteY9" fmla="*/ 28757 h 137009"/>
                  <a:gd name="connsiteX10" fmla="*/ 25947 w 149239"/>
                  <a:gd name="connsiteY10" fmla="*/ 137009 h 137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239" h="137009">
                    <a:moveTo>
                      <a:pt x="25947" y="137009"/>
                    </a:moveTo>
                    <a:lnTo>
                      <a:pt x="0" y="137009"/>
                    </a:lnTo>
                    <a:lnTo>
                      <a:pt x="47267" y="17353"/>
                    </a:lnTo>
                    <a:cubicBezTo>
                      <a:pt x="52225" y="4793"/>
                      <a:pt x="61481" y="0"/>
                      <a:pt x="75694" y="0"/>
                    </a:cubicBezTo>
                    <a:cubicBezTo>
                      <a:pt x="89907" y="0"/>
                      <a:pt x="98832" y="4793"/>
                      <a:pt x="103625" y="17353"/>
                    </a:cubicBezTo>
                    <a:lnTo>
                      <a:pt x="149239" y="137009"/>
                    </a:lnTo>
                    <a:lnTo>
                      <a:pt x="123126" y="137009"/>
                    </a:lnTo>
                    <a:lnTo>
                      <a:pt x="82139" y="28757"/>
                    </a:lnTo>
                    <a:cubicBezTo>
                      <a:pt x="80982" y="25617"/>
                      <a:pt x="78669" y="24129"/>
                      <a:pt x="75528" y="24129"/>
                    </a:cubicBezTo>
                    <a:cubicBezTo>
                      <a:pt x="72388" y="24129"/>
                      <a:pt x="70075" y="25452"/>
                      <a:pt x="68752" y="28757"/>
                    </a:cubicBezTo>
                    <a:lnTo>
                      <a:pt x="25947" y="137009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1856CCA5-8C3A-A010-4850-E848C26A0742}"/>
                  </a:ext>
                </a:extLst>
              </p:cNvPr>
              <p:cNvSpPr/>
              <p:nvPr/>
            </p:nvSpPr>
            <p:spPr>
              <a:xfrm>
                <a:off x="8216464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52EE961-F912-BE8B-051D-1AE604CCAD7C}"/>
                  </a:ext>
                </a:extLst>
              </p:cNvPr>
              <p:cNvSpPr/>
              <p:nvPr/>
            </p:nvSpPr>
            <p:spPr>
              <a:xfrm>
                <a:off x="8338103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4496A7C1-96C6-9409-E3BD-B1783574B760}"/>
                  </a:ext>
                </a:extLst>
              </p:cNvPr>
              <p:cNvSpPr/>
              <p:nvPr/>
            </p:nvSpPr>
            <p:spPr>
              <a:xfrm>
                <a:off x="8462716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493 w 106268"/>
                  <a:gd name="connsiteY13" fmla="*/ 46110 h 105277"/>
                  <a:gd name="connsiteX14" fmla="*/ 70075 w 106268"/>
                  <a:gd name="connsiteY14" fmla="*/ 46110 h 105277"/>
                  <a:gd name="connsiteX15" fmla="*/ 85610 w 106268"/>
                  <a:gd name="connsiteY15" fmla="*/ 33550 h 105277"/>
                  <a:gd name="connsiteX16" fmla="*/ 70570 w 106268"/>
                  <a:gd name="connsiteY16" fmla="*/ 20328 h 105277"/>
                  <a:gd name="connsiteX17" fmla="*/ 36690 w 106268"/>
                  <a:gd name="connsiteY17" fmla="*/ 20328 h 105277"/>
                  <a:gd name="connsiteX18" fmla="*/ 20493 w 106268"/>
                  <a:gd name="connsiteY18" fmla="*/ 34872 h 105277"/>
                  <a:gd name="connsiteX19" fmla="*/ 2049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247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3" y="46110"/>
                    </a:moveTo>
                    <a:lnTo>
                      <a:pt x="70075" y="46110"/>
                    </a:lnTo>
                    <a:cubicBezTo>
                      <a:pt x="81478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0" y="20328"/>
                    </a:cubicBezTo>
                    <a:lnTo>
                      <a:pt x="36690" y="20328"/>
                    </a:lnTo>
                    <a:cubicBezTo>
                      <a:pt x="25121" y="20328"/>
                      <a:pt x="20493" y="26774"/>
                      <a:pt x="20493" y="34872"/>
                    </a:cubicBezTo>
                    <a:lnTo>
                      <a:pt x="2049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460C1963-91E4-2D19-F667-461C544950F0}"/>
                  </a:ext>
                </a:extLst>
              </p:cNvPr>
              <p:cNvSpPr/>
              <p:nvPr/>
            </p:nvSpPr>
            <p:spPr>
              <a:xfrm>
                <a:off x="8591462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DE56692-7E2E-2C05-CD48-6F711AA3EBF5}"/>
                  </a:ext>
                </a:extLst>
              </p:cNvPr>
              <p:cNvSpPr/>
              <p:nvPr/>
            </p:nvSpPr>
            <p:spPr>
              <a:xfrm>
                <a:off x="8709961" y="5929495"/>
                <a:ext cx="97178" cy="105277"/>
              </a:xfrm>
              <a:custGeom>
                <a:avLst/>
                <a:gdLst>
                  <a:gd name="connsiteX0" fmla="*/ 92882 w 97178"/>
                  <a:gd name="connsiteY0" fmla="*/ 0 h 105277"/>
                  <a:gd name="connsiteX1" fmla="*/ 92882 w 97178"/>
                  <a:gd name="connsiteY1" fmla="*/ 20328 h 105277"/>
                  <a:gd name="connsiteX2" fmla="*/ 34541 w 97178"/>
                  <a:gd name="connsiteY2" fmla="*/ 20328 h 105277"/>
                  <a:gd name="connsiteX3" fmla="*/ 20824 w 97178"/>
                  <a:gd name="connsiteY3" fmla="*/ 32227 h 105277"/>
                  <a:gd name="connsiteX4" fmla="*/ 35864 w 97178"/>
                  <a:gd name="connsiteY4" fmla="*/ 43631 h 105277"/>
                  <a:gd name="connsiteX5" fmla="*/ 60654 w 97178"/>
                  <a:gd name="connsiteY5" fmla="*/ 43631 h 105277"/>
                  <a:gd name="connsiteX6" fmla="*/ 97179 w 97178"/>
                  <a:gd name="connsiteY6" fmla="*/ 73380 h 105277"/>
                  <a:gd name="connsiteX7" fmla="*/ 62637 w 97178"/>
                  <a:gd name="connsiteY7" fmla="*/ 105277 h 105277"/>
                  <a:gd name="connsiteX8" fmla="*/ 1322 w 97178"/>
                  <a:gd name="connsiteY8" fmla="*/ 105277 h 105277"/>
                  <a:gd name="connsiteX9" fmla="*/ 1322 w 97178"/>
                  <a:gd name="connsiteY9" fmla="*/ 84784 h 105277"/>
                  <a:gd name="connsiteX10" fmla="*/ 62637 w 97178"/>
                  <a:gd name="connsiteY10" fmla="*/ 84784 h 105277"/>
                  <a:gd name="connsiteX11" fmla="*/ 76355 w 97178"/>
                  <a:gd name="connsiteY11" fmla="*/ 73215 h 105277"/>
                  <a:gd name="connsiteX12" fmla="*/ 61315 w 97178"/>
                  <a:gd name="connsiteY12" fmla="*/ 61481 h 105277"/>
                  <a:gd name="connsiteX13" fmla="*/ 36359 w 97178"/>
                  <a:gd name="connsiteY13" fmla="*/ 61481 h 105277"/>
                  <a:gd name="connsiteX14" fmla="*/ 0 w 97178"/>
                  <a:gd name="connsiteY14" fmla="*/ 30740 h 105277"/>
                  <a:gd name="connsiteX15" fmla="*/ 34376 w 97178"/>
                  <a:gd name="connsiteY15" fmla="*/ 0 h 105277"/>
                  <a:gd name="connsiteX16" fmla="*/ 92882 w 97178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178" h="105277">
                    <a:moveTo>
                      <a:pt x="92882" y="0"/>
                    </a:moveTo>
                    <a:lnTo>
                      <a:pt x="92882" y="20328"/>
                    </a:lnTo>
                    <a:lnTo>
                      <a:pt x="34541" y="20328"/>
                    </a:lnTo>
                    <a:cubicBezTo>
                      <a:pt x="24791" y="20328"/>
                      <a:pt x="20824" y="24295"/>
                      <a:pt x="20824" y="32227"/>
                    </a:cubicBezTo>
                    <a:cubicBezTo>
                      <a:pt x="20824" y="39665"/>
                      <a:pt x="23964" y="43631"/>
                      <a:pt x="35864" y="43631"/>
                    </a:cubicBezTo>
                    <a:lnTo>
                      <a:pt x="60654" y="43631"/>
                    </a:lnTo>
                    <a:cubicBezTo>
                      <a:pt x="89742" y="43631"/>
                      <a:pt x="97179" y="57018"/>
                      <a:pt x="97179" y="73380"/>
                    </a:cubicBezTo>
                    <a:cubicBezTo>
                      <a:pt x="97179" y="92055"/>
                      <a:pt x="87428" y="105277"/>
                      <a:pt x="62637" y="105277"/>
                    </a:cubicBezTo>
                    <a:lnTo>
                      <a:pt x="1322" y="105277"/>
                    </a:lnTo>
                    <a:lnTo>
                      <a:pt x="1322" y="84784"/>
                    </a:lnTo>
                    <a:lnTo>
                      <a:pt x="62637" y="84784"/>
                    </a:lnTo>
                    <a:cubicBezTo>
                      <a:pt x="72388" y="84784"/>
                      <a:pt x="76355" y="81313"/>
                      <a:pt x="76355" y="73215"/>
                    </a:cubicBezTo>
                    <a:cubicBezTo>
                      <a:pt x="76355" y="65117"/>
                      <a:pt x="71893" y="61481"/>
                      <a:pt x="61315" y="61481"/>
                    </a:cubicBezTo>
                    <a:lnTo>
                      <a:pt x="36359" y="61481"/>
                    </a:lnTo>
                    <a:cubicBezTo>
                      <a:pt x="7272" y="61481"/>
                      <a:pt x="0" y="46937"/>
                      <a:pt x="0" y="30740"/>
                    </a:cubicBezTo>
                    <a:cubicBezTo>
                      <a:pt x="0" y="11734"/>
                      <a:pt x="9751" y="0"/>
                      <a:pt x="34376" y="0"/>
                    </a:cubicBezTo>
                    <a:lnTo>
                      <a:pt x="928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5BC868B7-1B14-1162-06A5-B2E2EE42B013}"/>
                  </a:ext>
                </a:extLst>
              </p:cNvPr>
              <p:cNvSpPr/>
              <p:nvPr/>
            </p:nvSpPr>
            <p:spPr>
              <a:xfrm>
                <a:off x="8940347" y="5939411"/>
                <a:ext cx="60984" cy="52225"/>
              </a:xfrm>
              <a:custGeom>
                <a:avLst/>
                <a:gdLst>
                  <a:gd name="connsiteX0" fmla="*/ 39004 w 60984"/>
                  <a:gd name="connsiteY0" fmla="*/ 0 h 52225"/>
                  <a:gd name="connsiteX1" fmla="*/ 60985 w 60984"/>
                  <a:gd name="connsiteY1" fmla="*/ 26113 h 52225"/>
                  <a:gd name="connsiteX2" fmla="*/ 39004 w 60984"/>
                  <a:gd name="connsiteY2" fmla="*/ 52225 h 52225"/>
                  <a:gd name="connsiteX3" fmla="*/ 21816 w 60984"/>
                  <a:gd name="connsiteY3" fmla="*/ 52225 h 52225"/>
                  <a:gd name="connsiteX4" fmla="*/ 0 w 60984"/>
                  <a:gd name="connsiteY4" fmla="*/ 26113 h 52225"/>
                  <a:gd name="connsiteX5" fmla="*/ 21816 w 60984"/>
                  <a:gd name="connsiteY5" fmla="*/ 0 h 52225"/>
                  <a:gd name="connsiteX6" fmla="*/ 39004 w 60984"/>
                  <a:gd name="connsiteY6" fmla="*/ 0 h 5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984" h="52225">
                    <a:moveTo>
                      <a:pt x="39004" y="0"/>
                    </a:moveTo>
                    <a:cubicBezTo>
                      <a:pt x="52391" y="0"/>
                      <a:pt x="60985" y="8429"/>
                      <a:pt x="60985" y="26113"/>
                    </a:cubicBezTo>
                    <a:cubicBezTo>
                      <a:pt x="60985" y="43797"/>
                      <a:pt x="52391" y="52225"/>
                      <a:pt x="39004" y="52225"/>
                    </a:cubicBezTo>
                    <a:lnTo>
                      <a:pt x="21816" y="52225"/>
                    </a:lnTo>
                    <a:cubicBezTo>
                      <a:pt x="8429" y="52225"/>
                      <a:pt x="0" y="43797"/>
                      <a:pt x="0" y="26113"/>
                    </a:cubicBezTo>
                    <a:cubicBezTo>
                      <a:pt x="0" y="8429"/>
                      <a:pt x="8429" y="0"/>
                      <a:pt x="21816" y="0"/>
                    </a:cubicBezTo>
                    <a:lnTo>
                      <a:pt x="3900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85EE0CD-82E2-26A5-79E2-8844635EAFAE}"/>
                  </a:ext>
                </a:extLst>
              </p:cNvPr>
              <p:cNvSpPr/>
              <p:nvPr/>
            </p:nvSpPr>
            <p:spPr>
              <a:xfrm>
                <a:off x="9141646" y="5900242"/>
                <a:ext cx="119325" cy="134860"/>
              </a:xfrm>
              <a:custGeom>
                <a:avLst/>
                <a:gdLst>
                  <a:gd name="connsiteX0" fmla="*/ 73215 w 119325"/>
                  <a:gd name="connsiteY0" fmla="*/ 0 h 134860"/>
                  <a:gd name="connsiteX1" fmla="*/ 116516 w 119325"/>
                  <a:gd name="connsiteY1" fmla="*/ 40326 h 134860"/>
                  <a:gd name="connsiteX2" fmla="*/ 87924 w 119325"/>
                  <a:gd name="connsiteY2" fmla="*/ 80817 h 134860"/>
                  <a:gd name="connsiteX3" fmla="*/ 119325 w 119325"/>
                  <a:gd name="connsiteY3" fmla="*/ 134696 h 134860"/>
                  <a:gd name="connsiteX4" fmla="*/ 93212 w 119325"/>
                  <a:gd name="connsiteY4" fmla="*/ 134696 h 134860"/>
                  <a:gd name="connsiteX5" fmla="*/ 62472 w 119325"/>
                  <a:gd name="connsiteY5" fmla="*/ 82635 h 134860"/>
                  <a:gd name="connsiteX6" fmla="*/ 27270 w 119325"/>
                  <a:gd name="connsiteY6" fmla="*/ 82635 h 134860"/>
                  <a:gd name="connsiteX7" fmla="*/ 23799 w 119325"/>
                  <a:gd name="connsiteY7" fmla="*/ 86106 h 134860"/>
                  <a:gd name="connsiteX8" fmla="*/ 23799 w 119325"/>
                  <a:gd name="connsiteY8" fmla="*/ 134861 h 134860"/>
                  <a:gd name="connsiteX9" fmla="*/ 165 w 119325"/>
                  <a:gd name="connsiteY9" fmla="*/ 134861 h 134860"/>
                  <a:gd name="connsiteX10" fmla="*/ 165 w 119325"/>
                  <a:gd name="connsiteY10" fmla="*/ 81644 h 134860"/>
                  <a:gd name="connsiteX11" fmla="*/ 21320 w 119325"/>
                  <a:gd name="connsiteY11" fmla="*/ 60324 h 134860"/>
                  <a:gd name="connsiteX12" fmla="*/ 73876 w 119325"/>
                  <a:gd name="connsiteY12" fmla="*/ 60324 h 134860"/>
                  <a:gd name="connsiteX13" fmla="*/ 92717 w 119325"/>
                  <a:gd name="connsiteY13" fmla="*/ 41648 h 134860"/>
                  <a:gd name="connsiteX14" fmla="*/ 73876 w 119325"/>
                  <a:gd name="connsiteY14" fmla="*/ 23964 h 134860"/>
                  <a:gd name="connsiteX15" fmla="*/ 0 w 119325"/>
                  <a:gd name="connsiteY15" fmla="*/ 23964 h 134860"/>
                  <a:gd name="connsiteX16" fmla="*/ 0 w 119325"/>
                  <a:gd name="connsiteY16" fmla="*/ 496 h 134860"/>
                  <a:gd name="connsiteX17" fmla="*/ 73049 w 119325"/>
                  <a:gd name="connsiteY17" fmla="*/ 496 h 13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9325" h="134860">
                    <a:moveTo>
                      <a:pt x="73215" y="0"/>
                    </a:moveTo>
                    <a:cubicBezTo>
                      <a:pt x="103625" y="0"/>
                      <a:pt x="116516" y="18676"/>
                      <a:pt x="116516" y="40326"/>
                    </a:cubicBezTo>
                    <a:cubicBezTo>
                      <a:pt x="116516" y="57018"/>
                      <a:pt x="108583" y="75033"/>
                      <a:pt x="87924" y="80817"/>
                    </a:cubicBezTo>
                    <a:lnTo>
                      <a:pt x="119325" y="134696"/>
                    </a:lnTo>
                    <a:lnTo>
                      <a:pt x="93212" y="134696"/>
                    </a:lnTo>
                    <a:lnTo>
                      <a:pt x="62472" y="82635"/>
                    </a:lnTo>
                    <a:lnTo>
                      <a:pt x="27270" y="82635"/>
                    </a:lnTo>
                    <a:cubicBezTo>
                      <a:pt x="25121" y="82635"/>
                      <a:pt x="23799" y="83627"/>
                      <a:pt x="23799" y="86106"/>
                    </a:cubicBezTo>
                    <a:lnTo>
                      <a:pt x="23799" y="134861"/>
                    </a:lnTo>
                    <a:lnTo>
                      <a:pt x="165" y="134861"/>
                    </a:lnTo>
                    <a:lnTo>
                      <a:pt x="165" y="81644"/>
                    </a:lnTo>
                    <a:cubicBezTo>
                      <a:pt x="165" y="66439"/>
                      <a:pt x="6611" y="60324"/>
                      <a:pt x="21320" y="60324"/>
                    </a:cubicBezTo>
                    <a:lnTo>
                      <a:pt x="73876" y="60324"/>
                    </a:lnTo>
                    <a:cubicBezTo>
                      <a:pt x="87263" y="60324"/>
                      <a:pt x="92717" y="51068"/>
                      <a:pt x="92717" y="41648"/>
                    </a:cubicBezTo>
                    <a:cubicBezTo>
                      <a:pt x="92717" y="32228"/>
                      <a:pt x="86932" y="23964"/>
                      <a:pt x="73876" y="23964"/>
                    </a:cubicBezTo>
                    <a:lnTo>
                      <a:pt x="0" y="23964"/>
                    </a:lnTo>
                    <a:lnTo>
                      <a:pt x="0" y="496"/>
                    </a:lnTo>
                    <a:lnTo>
                      <a:pt x="73049" y="49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3A8BBA2-840A-DD83-3760-63D3850B4FA2}"/>
                  </a:ext>
                </a:extLst>
              </p:cNvPr>
              <p:cNvSpPr/>
              <p:nvPr/>
            </p:nvSpPr>
            <p:spPr>
              <a:xfrm>
                <a:off x="9276011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4 w 106268"/>
                  <a:gd name="connsiteY3" fmla="*/ 62637 h 105277"/>
                  <a:gd name="connsiteX4" fmla="*/ 20494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59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1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59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40EC877F-053F-C9E5-23E9-8469F4161755}"/>
                  </a:ext>
                </a:extLst>
              </p:cNvPr>
              <p:cNvSpPr/>
              <p:nvPr/>
            </p:nvSpPr>
            <p:spPr>
              <a:xfrm>
                <a:off x="9394841" y="5929495"/>
                <a:ext cx="127423" cy="107756"/>
              </a:xfrm>
              <a:custGeom>
                <a:avLst/>
                <a:gdLst>
                  <a:gd name="connsiteX0" fmla="*/ 22146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1 w 127423"/>
                  <a:gd name="connsiteY3" fmla="*/ 84618 h 107756"/>
                  <a:gd name="connsiteX4" fmla="*/ 104616 w 127423"/>
                  <a:gd name="connsiteY4" fmla="*/ 0 h 107756"/>
                  <a:gd name="connsiteX5" fmla="*/ 127423 w 127423"/>
                  <a:gd name="connsiteY5" fmla="*/ 0 h 107756"/>
                  <a:gd name="connsiteX6" fmla="*/ 86767 w 127423"/>
                  <a:gd name="connsiteY6" fmla="*/ 94039 h 107756"/>
                  <a:gd name="connsiteX7" fmla="*/ 62637 w 127423"/>
                  <a:gd name="connsiteY7" fmla="*/ 107756 h 107756"/>
                  <a:gd name="connsiteX8" fmla="*/ 38673 w 127423"/>
                  <a:gd name="connsiteY8" fmla="*/ 94039 h 107756"/>
                  <a:gd name="connsiteX9" fmla="*/ 0 w 127423"/>
                  <a:gd name="connsiteY9" fmla="*/ 0 h 107756"/>
                  <a:gd name="connsiteX10" fmla="*/ 22311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6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1" y="84618"/>
                    </a:cubicBezTo>
                    <a:lnTo>
                      <a:pt x="104616" y="0"/>
                    </a:lnTo>
                    <a:lnTo>
                      <a:pt x="127423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7" y="107756"/>
                    </a:cubicBezTo>
                    <a:cubicBezTo>
                      <a:pt x="50738" y="107756"/>
                      <a:pt x="42640" y="103790"/>
                      <a:pt x="38673" y="94039"/>
                    </a:cubicBezTo>
                    <a:lnTo>
                      <a:pt x="0" y="0"/>
                    </a:lnTo>
                    <a:lnTo>
                      <a:pt x="2231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3C119518-732B-4994-D8F6-330A16811434}"/>
                  </a:ext>
                </a:extLst>
              </p:cNvPr>
              <p:cNvSpPr/>
              <p:nvPr/>
            </p:nvSpPr>
            <p:spPr>
              <a:xfrm>
                <a:off x="9531849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7797048A-24AB-05B0-A484-81920686CE4C}"/>
                  </a:ext>
                </a:extLst>
              </p:cNvPr>
              <p:cNvSpPr/>
              <p:nvPr/>
            </p:nvSpPr>
            <p:spPr>
              <a:xfrm>
                <a:off x="9672329" y="5883880"/>
                <a:ext cx="21154" cy="151057"/>
              </a:xfrm>
              <a:custGeom>
                <a:avLst/>
                <a:gdLst>
                  <a:gd name="connsiteX0" fmla="*/ 21155 w 21154"/>
                  <a:gd name="connsiteY0" fmla="*/ 0 h 151057"/>
                  <a:gd name="connsiteX1" fmla="*/ 21155 w 21154"/>
                  <a:gd name="connsiteY1" fmla="*/ 151057 h 151057"/>
                  <a:gd name="connsiteX2" fmla="*/ 0 w 21154"/>
                  <a:gd name="connsiteY2" fmla="*/ 151057 h 151057"/>
                  <a:gd name="connsiteX3" fmla="*/ 0 w 21154"/>
                  <a:gd name="connsiteY3" fmla="*/ 0 h 151057"/>
                  <a:gd name="connsiteX4" fmla="*/ 21155 w 21154"/>
                  <a:gd name="connsiteY4" fmla="*/ 0 h 15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54" h="151057">
                    <a:moveTo>
                      <a:pt x="21155" y="0"/>
                    </a:moveTo>
                    <a:lnTo>
                      <a:pt x="21155" y="151057"/>
                    </a:lnTo>
                    <a:lnTo>
                      <a:pt x="0" y="151057"/>
                    </a:lnTo>
                    <a:lnTo>
                      <a:pt x="0" y="0"/>
                    </a:lnTo>
                    <a:lnTo>
                      <a:pt x="2115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CA277DAB-D8A0-C1A8-CAB5-BD1E80048292}"/>
                  </a:ext>
                </a:extLst>
              </p:cNvPr>
              <p:cNvSpPr/>
              <p:nvPr/>
            </p:nvSpPr>
            <p:spPr>
              <a:xfrm>
                <a:off x="9724720" y="5929495"/>
                <a:ext cx="111061" cy="105277"/>
              </a:xfrm>
              <a:custGeom>
                <a:avLst/>
                <a:gdLst>
                  <a:gd name="connsiteX0" fmla="*/ 21320 w 111061"/>
                  <a:gd name="connsiteY0" fmla="*/ 0 h 105277"/>
                  <a:gd name="connsiteX1" fmla="*/ 21320 w 111061"/>
                  <a:gd name="connsiteY1" fmla="*/ 62968 h 105277"/>
                  <a:gd name="connsiteX2" fmla="*/ 47267 w 111061"/>
                  <a:gd name="connsiteY2" fmla="*/ 84784 h 105277"/>
                  <a:gd name="connsiteX3" fmla="*/ 64456 w 111061"/>
                  <a:gd name="connsiteY3" fmla="*/ 84784 h 105277"/>
                  <a:gd name="connsiteX4" fmla="*/ 90238 w 111061"/>
                  <a:gd name="connsiteY4" fmla="*/ 62968 h 105277"/>
                  <a:gd name="connsiteX5" fmla="*/ 90238 w 111061"/>
                  <a:gd name="connsiteY5" fmla="*/ 0 h 105277"/>
                  <a:gd name="connsiteX6" fmla="*/ 111062 w 111061"/>
                  <a:gd name="connsiteY6" fmla="*/ 0 h 105277"/>
                  <a:gd name="connsiteX7" fmla="*/ 111062 w 111061"/>
                  <a:gd name="connsiteY7" fmla="*/ 63794 h 105277"/>
                  <a:gd name="connsiteX8" fmla="*/ 65282 w 111061"/>
                  <a:gd name="connsiteY8" fmla="*/ 105277 h 105277"/>
                  <a:gd name="connsiteX9" fmla="*/ 45780 w 111061"/>
                  <a:gd name="connsiteY9" fmla="*/ 105277 h 105277"/>
                  <a:gd name="connsiteX10" fmla="*/ 0 w 111061"/>
                  <a:gd name="connsiteY10" fmla="*/ 63794 h 105277"/>
                  <a:gd name="connsiteX11" fmla="*/ 0 w 111061"/>
                  <a:gd name="connsiteY11" fmla="*/ 0 h 105277"/>
                  <a:gd name="connsiteX12" fmla="*/ 21320 w 111061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61" h="105277">
                    <a:moveTo>
                      <a:pt x="21320" y="0"/>
                    </a:moveTo>
                    <a:lnTo>
                      <a:pt x="21320" y="62968"/>
                    </a:lnTo>
                    <a:cubicBezTo>
                      <a:pt x="21320" y="75363"/>
                      <a:pt x="30575" y="84784"/>
                      <a:pt x="47267" y="84784"/>
                    </a:cubicBezTo>
                    <a:lnTo>
                      <a:pt x="64456" y="84784"/>
                    </a:lnTo>
                    <a:cubicBezTo>
                      <a:pt x="81148" y="84784"/>
                      <a:pt x="90238" y="75363"/>
                      <a:pt x="90238" y="62968"/>
                    </a:cubicBezTo>
                    <a:lnTo>
                      <a:pt x="90238" y="0"/>
                    </a:lnTo>
                    <a:lnTo>
                      <a:pt x="111062" y="0"/>
                    </a:lnTo>
                    <a:lnTo>
                      <a:pt x="111062" y="63794"/>
                    </a:lnTo>
                    <a:cubicBezTo>
                      <a:pt x="111062" y="88089"/>
                      <a:pt x="95526" y="105277"/>
                      <a:pt x="65282" y="105277"/>
                    </a:cubicBezTo>
                    <a:lnTo>
                      <a:pt x="45780" y="105277"/>
                    </a:lnTo>
                    <a:cubicBezTo>
                      <a:pt x="15535" y="105277"/>
                      <a:pt x="0" y="88089"/>
                      <a:pt x="0" y="63794"/>
                    </a:cubicBezTo>
                    <a:lnTo>
                      <a:pt x="0" y="0"/>
                    </a:lnTo>
                    <a:lnTo>
                      <a:pt x="2132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D5165A51-E6A7-3FD2-C3BB-C160D092D291}"/>
                  </a:ext>
                </a:extLst>
              </p:cNvPr>
              <p:cNvSpPr/>
              <p:nvPr/>
            </p:nvSpPr>
            <p:spPr>
              <a:xfrm>
                <a:off x="9856110" y="5904539"/>
                <a:ext cx="64951" cy="130233"/>
              </a:xfrm>
              <a:custGeom>
                <a:avLst/>
                <a:gdLst>
                  <a:gd name="connsiteX0" fmla="*/ 14544 w 64951"/>
                  <a:gd name="connsiteY0" fmla="*/ 24956 h 130233"/>
                  <a:gd name="connsiteX1" fmla="*/ 14544 w 64951"/>
                  <a:gd name="connsiteY1" fmla="*/ 0 h 130233"/>
                  <a:gd name="connsiteX2" fmla="*/ 35864 w 64951"/>
                  <a:gd name="connsiteY2" fmla="*/ 0 h 130233"/>
                  <a:gd name="connsiteX3" fmla="*/ 35864 w 64951"/>
                  <a:gd name="connsiteY3" fmla="*/ 24956 h 130233"/>
                  <a:gd name="connsiteX4" fmla="*/ 64951 w 64951"/>
                  <a:gd name="connsiteY4" fmla="*/ 24956 h 130233"/>
                  <a:gd name="connsiteX5" fmla="*/ 64951 w 64951"/>
                  <a:gd name="connsiteY5" fmla="*/ 45284 h 130233"/>
                  <a:gd name="connsiteX6" fmla="*/ 35864 w 64951"/>
                  <a:gd name="connsiteY6" fmla="*/ 45284 h 130233"/>
                  <a:gd name="connsiteX7" fmla="*/ 35864 w 64951"/>
                  <a:gd name="connsiteY7" fmla="*/ 95196 h 130233"/>
                  <a:gd name="connsiteX8" fmla="*/ 50077 w 64951"/>
                  <a:gd name="connsiteY8" fmla="*/ 110896 h 130233"/>
                  <a:gd name="connsiteX9" fmla="*/ 64620 w 64951"/>
                  <a:gd name="connsiteY9" fmla="*/ 110896 h 130233"/>
                  <a:gd name="connsiteX10" fmla="*/ 64620 w 64951"/>
                  <a:gd name="connsiteY10" fmla="*/ 130233 h 130233"/>
                  <a:gd name="connsiteX11" fmla="*/ 45614 w 64951"/>
                  <a:gd name="connsiteY11" fmla="*/ 130233 h 130233"/>
                  <a:gd name="connsiteX12" fmla="*/ 14378 w 64951"/>
                  <a:gd name="connsiteY12" fmla="*/ 93873 h 130233"/>
                  <a:gd name="connsiteX13" fmla="*/ 14378 w 64951"/>
                  <a:gd name="connsiteY13" fmla="*/ 45119 h 130233"/>
                  <a:gd name="connsiteX14" fmla="*/ 0 w 64951"/>
                  <a:gd name="connsiteY14" fmla="*/ 45119 h 130233"/>
                  <a:gd name="connsiteX15" fmla="*/ 0 w 64951"/>
                  <a:gd name="connsiteY15" fmla="*/ 24791 h 130233"/>
                  <a:gd name="connsiteX16" fmla="*/ 14378 w 64951"/>
                  <a:gd name="connsiteY16" fmla="*/ 24791 h 13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951" h="130233">
                    <a:moveTo>
                      <a:pt x="14544" y="24956"/>
                    </a:moveTo>
                    <a:lnTo>
                      <a:pt x="14544" y="0"/>
                    </a:lnTo>
                    <a:lnTo>
                      <a:pt x="35864" y="0"/>
                    </a:lnTo>
                    <a:lnTo>
                      <a:pt x="35864" y="24956"/>
                    </a:lnTo>
                    <a:lnTo>
                      <a:pt x="64951" y="24956"/>
                    </a:lnTo>
                    <a:lnTo>
                      <a:pt x="64951" y="45284"/>
                    </a:lnTo>
                    <a:lnTo>
                      <a:pt x="35864" y="45284"/>
                    </a:lnTo>
                    <a:lnTo>
                      <a:pt x="35864" y="95196"/>
                    </a:lnTo>
                    <a:cubicBezTo>
                      <a:pt x="35864" y="106930"/>
                      <a:pt x="39995" y="110896"/>
                      <a:pt x="50077" y="110896"/>
                    </a:cubicBezTo>
                    <a:lnTo>
                      <a:pt x="64620" y="110896"/>
                    </a:lnTo>
                    <a:lnTo>
                      <a:pt x="64620" y="130233"/>
                    </a:lnTo>
                    <a:lnTo>
                      <a:pt x="45614" y="130233"/>
                    </a:lnTo>
                    <a:cubicBezTo>
                      <a:pt x="23799" y="130233"/>
                      <a:pt x="14378" y="121474"/>
                      <a:pt x="14378" y="93873"/>
                    </a:cubicBezTo>
                    <a:lnTo>
                      <a:pt x="14378" y="45119"/>
                    </a:lnTo>
                    <a:lnTo>
                      <a:pt x="0" y="45119"/>
                    </a:lnTo>
                    <a:lnTo>
                      <a:pt x="0" y="24791"/>
                    </a:lnTo>
                    <a:lnTo>
                      <a:pt x="14378" y="2479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A98358D3-F540-3DFD-D4F7-B5E89E81851E}"/>
                  </a:ext>
                </a:extLst>
              </p:cNvPr>
              <p:cNvSpPr/>
              <p:nvPr/>
            </p:nvSpPr>
            <p:spPr>
              <a:xfrm>
                <a:off x="9943207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BBCD6FD8-9DC7-CD10-3E84-4ADC589DD0A7}"/>
                  </a:ext>
                </a:extLst>
              </p:cNvPr>
              <p:cNvSpPr/>
              <p:nvPr/>
            </p:nvSpPr>
            <p:spPr>
              <a:xfrm>
                <a:off x="9991136" y="5929495"/>
                <a:ext cx="113705" cy="105442"/>
              </a:xfrm>
              <a:custGeom>
                <a:avLst/>
                <a:gdLst>
                  <a:gd name="connsiteX0" fmla="*/ 67926 w 113705"/>
                  <a:gd name="connsiteY0" fmla="*/ 0 h 105442"/>
                  <a:gd name="connsiteX1" fmla="*/ 113706 w 113705"/>
                  <a:gd name="connsiteY1" fmla="*/ 52721 h 105442"/>
                  <a:gd name="connsiteX2" fmla="*/ 67926 w 113705"/>
                  <a:gd name="connsiteY2" fmla="*/ 105442 h 105442"/>
                  <a:gd name="connsiteX3" fmla="*/ 45780 w 113705"/>
                  <a:gd name="connsiteY3" fmla="*/ 105442 h 105442"/>
                  <a:gd name="connsiteX4" fmla="*/ 0 w 113705"/>
                  <a:gd name="connsiteY4" fmla="*/ 52721 h 105442"/>
                  <a:gd name="connsiteX5" fmla="*/ 45780 w 113705"/>
                  <a:gd name="connsiteY5" fmla="*/ 0 h 105442"/>
                  <a:gd name="connsiteX6" fmla="*/ 67926 w 113705"/>
                  <a:gd name="connsiteY6" fmla="*/ 0 h 105442"/>
                  <a:gd name="connsiteX7" fmla="*/ 47763 w 113705"/>
                  <a:gd name="connsiteY7" fmla="*/ 20493 h 105442"/>
                  <a:gd name="connsiteX8" fmla="*/ 21485 w 113705"/>
                  <a:gd name="connsiteY8" fmla="*/ 52886 h 105442"/>
                  <a:gd name="connsiteX9" fmla="*/ 47763 w 113705"/>
                  <a:gd name="connsiteY9" fmla="*/ 84949 h 105442"/>
                  <a:gd name="connsiteX10" fmla="*/ 65943 w 113705"/>
                  <a:gd name="connsiteY10" fmla="*/ 84949 h 105442"/>
                  <a:gd name="connsiteX11" fmla="*/ 92221 w 113705"/>
                  <a:gd name="connsiteY11" fmla="*/ 52886 h 105442"/>
                  <a:gd name="connsiteX12" fmla="*/ 65943 w 113705"/>
                  <a:gd name="connsiteY12" fmla="*/ 20493 h 105442"/>
                  <a:gd name="connsiteX13" fmla="*/ 47763 w 113705"/>
                  <a:gd name="connsiteY13" fmla="*/ 20493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705" h="105442">
                    <a:moveTo>
                      <a:pt x="67926" y="0"/>
                    </a:moveTo>
                    <a:cubicBezTo>
                      <a:pt x="95857" y="0"/>
                      <a:pt x="113706" y="17188"/>
                      <a:pt x="113706" y="52721"/>
                    </a:cubicBezTo>
                    <a:cubicBezTo>
                      <a:pt x="113706" y="88254"/>
                      <a:pt x="95857" y="105442"/>
                      <a:pt x="67926" y="105442"/>
                    </a:cubicBez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67926" y="0"/>
                    </a:lnTo>
                    <a:close/>
                    <a:moveTo>
                      <a:pt x="47763" y="20493"/>
                    </a:moveTo>
                    <a:cubicBezTo>
                      <a:pt x="29418" y="20493"/>
                      <a:pt x="21485" y="30079"/>
                      <a:pt x="21485" y="52886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65943" y="84949"/>
                    </a:lnTo>
                    <a:cubicBezTo>
                      <a:pt x="84122" y="84949"/>
                      <a:pt x="92221" y="75528"/>
                      <a:pt x="92221" y="52886"/>
                    </a:cubicBezTo>
                    <a:cubicBezTo>
                      <a:pt x="92221" y="30244"/>
                      <a:pt x="84122" y="20493"/>
                      <a:pt x="65943" y="20493"/>
                    </a:cubicBezTo>
                    <a:lnTo>
                      <a:pt x="47763" y="20493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79091A8D-2125-3C7D-2ED8-F629C5F8C43C}"/>
                  </a:ext>
                </a:extLst>
              </p:cNvPr>
              <p:cNvSpPr/>
              <p:nvPr/>
            </p:nvSpPr>
            <p:spPr>
              <a:xfrm>
                <a:off x="10131450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77A983D7-7976-51AC-EAA7-EA0B8DAE7E74}"/>
                  </a:ext>
                </a:extLst>
              </p:cNvPr>
              <p:cNvSpPr/>
              <p:nvPr/>
            </p:nvSpPr>
            <p:spPr>
              <a:xfrm>
                <a:off x="10274243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94A4234D-1BBE-1102-C595-41240C21B7E4}"/>
                  </a:ext>
                </a:extLst>
              </p:cNvPr>
              <p:cNvSpPr/>
              <p:nvPr/>
            </p:nvSpPr>
            <p:spPr>
              <a:xfrm>
                <a:off x="10322006" y="5929495"/>
                <a:ext cx="104450" cy="105277"/>
              </a:xfrm>
              <a:custGeom>
                <a:avLst/>
                <a:gdLst>
                  <a:gd name="connsiteX0" fmla="*/ 77347 w 104450"/>
                  <a:gd name="connsiteY0" fmla="*/ 0 h 105277"/>
                  <a:gd name="connsiteX1" fmla="*/ 104451 w 104450"/>
                  <a:gd name="connsiteY1" fmla="*/ 24129 h 105277"/>
                  <a:gd name="connsiteX2" fmla="*/ 86437 w 104450"/>
                  <a:gd name="connsiteY2" fmla="*/ 49416 h 105277"/>
                  <a:gd name="connsiteX3" fmla="*/ 25948 w 104450"/>
                  <a:gd name="connsiteY3" fmla="*/ 71396 h 105277"/>
                  <a:gd name="connsiteX4" fmla="*/ 20328 w 104450"/>
                  <a:gd name="connsiteY4" fmla="*/ 78503 h 105277"/>
                  <a:gd name="connsiteX5" fmla="*/ 28261 w 104450"/>
                  <a:gd name="connsiteY5" fmla="*/ 84949 h 105277"/>
                  <a:gd name="connsiteX6" fmla="*/ 102137 w 104450"/>
                  <a:gd name="connsiteY6" fmla="*/ 84949 h 105277"/>
                  <a:gd name="connsiteX7" fmla="*/ 102137 w 104450"/>
                  <a:gd name="connsiteY7" fmla="*/ 105277 h 105277"/>
                  <a:gd name="connsiteX8" fmla="*/ 27104 w 104450"/>
                  <a:gd name="connsiteY8" fmla="*/ 105277 h 105277"/>
                  <a:gd name="connsiteX9" fmla="*/ 0 w 104450"/>
                  <a:gd name="connsiteY9" fmla="*/ 81148 h 105277"/>
                  <a:gd name="connsiteX10" fmla="*/ 18015 w 104450"/>
                  <a:gd name="connsiteY10" fmla="*/ 55696 h 105277"/>
                  <a:gd name="connsiteX11" fmla="*/ 78669 w 104450"/>
                  <a:gd name="connsiteY11" fmla="*/ 33880 h 105277"/>
                  <a:gd name="connsiteX12" fmla="*/ 84288 w 104450"/>
                  <a:gd name="connsiteY12" fmla="*/ 26443 h 105277"/>
                  <a:gd name="connsiteX13" fmla="*/ 76024 w 104450"/>
                  <a:gd name="connsiteY13" fmla="*/ 20328 h 105277"/>
                  <a:gd name="connsiteX14" fmla="*/ 3801 w 104450"/>
                  <a:gd name="connsiteY14" fmla="*/ 20328 h 105277"/>
                  <a:gd name="connsiteX15" fmla="*/ 3801 w 104450"/>
                  <a:gd name="connsiteY15" fmla="*/ 0 h 105277"/>
                  <a:gd name="connsiteX16" fmla="*/ 77347 w 104450"/>
                  <a:gd name="connsiteY16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4450" h="105277">
                    <a:moveTo>
                      <a:pt x="77347" y="0"/>
                    </a:moveTo>
                    <a:cubicBezTo>
                      <a:pt x="95692" y="0"/>
                      <a:pt x="104451" y="9585"/>
                      <a:pt x="104451" y="24129"/>
                    </a:cubicBezTo>
                    <a:cubicBezTo>
                      <a:pt x="104451" y="37020"/>
                      <a:pt x="97510" y="45449"/>
                      <a:pt x="86437" y="49416"/>
                    </a:cubicBezTo>
                    <a:lnTo>
                      <a:pt x="25948" y="71396"/>
                    </a:lnTo>
                    <a:cubicBezTo>
                      <a:pt x="22312" y="72719"/>
                      <a:pt x="20328" y="75198"/>
                      <a:pt x="20328" y="78503"/>
                    </a:cubicBezTo>
                    <a:cubicBezTo>
                      <a:pt x="20328" y="82470"/>
                      <a:pt x="22973" y="84949"/>
                      <a:pt x="28261" y="84949"/>
                    </a:cubicBezTo>
                    <a:lnTo>
                      <a:pt x="102137" y="84949"/>
                    </a:lnTo>
                    <a:lnTo>
                      <a:pt x="102137" y="105277"/>
                    </a:lnTo>
                    <a:lnTo>
                      <a:pt x="27104" y="105277"/>
                    </a:lnTo>
                    <a:cubicBezTo>
                      <a:pt x="8925" y="105277"/>
                      <a:pt x="0" y="95691"/>
                      <a:pt x="0" y="81148"/>
                    </a:cubicBezTo>
                    <a:cubicBezTo>
                      <a:pt x="0" y="69413"/>
                      <a:pt x="5785" y="59993"/>
                      <a:pt x="18015" y="55696"/>
                    </a:cubicBezTo>
                    <a:lnTo>
                      <a:pt x="78669" y="33880"/>
                    </a:lnTo>
                    <a:cubicBezTo>
                      <a:pt x="83131" y="32227"/>
                      <a:pt x="84288" y="29253"/>
                      <a:pt x="84288" y="26443"/>
                    </a:cubicBezTo>
                    <a:cubicBezTo>
                      <a:pt x="84288" y="22477"/>
                      <a:pt x="81644" y="20328"/>
                      <a:pt x="76024" y="20328"/>
                    </a:cubicBezTo>
                    <a:lnTo>
                      <a:pt x="3801" y="20328"/>
                    </a:lnTo>
                    <a:lnTo>
                      <a:pt x="3801" y="0"/>
                    </a:lnTo>
                    <a:lnTo>
                      <a:pt x="773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5953849-B950-44B5-6E81-F5FF45AB26F2}"/>
                  </a:ext>
                </a:extLst>
              </p:cNvPr>
              <p:cNvSpPr/>
              <p:nvPr/>
            </p:nvSpPr>
            <p:spPr>
              <a:xfrm>
                <a:off x="10453231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9C26D79-A7BF-C2BD-D4C5-6EFD74B11511}"/>
                  </a:ext>
                </a:extLst>
              </p:cNvPr>
              <p:cNvSpPr/>
              <p:nvPr/>
            </p:nvSpPr>
            <p:spPr>
              <a:xfrm>
                <a:off x="10506117" y="5929495"/>
                <a:ext cx="111392" cy="105277"/>
              </a:xfrm>
              <a:custGeom>
                <a:avLst/>
                <a:gdLst>
                  <a:gd name="connsiteX0" fmla="*/ 58340 w 111392"/>
                  <a:gd name="connsiteY0" fmla="*/ 0 h 105277"/>
                  <a:gd name="connsiteX1" fmla="*/ 111392 w 111392"/>
                  <a:gd name="connsiteY1" fmla="*/ 46110 h 105277"/>
                  <a:gd name="connsiteX2" fmla="*/ 111392 w 111392"/>
                  <a:gd name="connsiteY2" fmla="*/ 105277 h 105277"/>
                  <a:gd name="connsiteX3" fmla="*/ 90072 w 111392"/>
                  <a:gd name="connsiteY3" fmla="*/ 105277 h 105277"/>
                  <a:gd name="connsiteX4" fmla="*/ 90072 w 111392"/>
                  <a:gd name="connsiteY4" fmla="*/ 46110 h 105277"/>
                  <a:gd name="connsiteX5" fmla="*/ 58340 w 111392"/>
                  <a:gd name="connsiteY5" fmla="*/ 20328 h 105277"/>
                  <a:gd name="connsiteX6" fmla="*/ 23799 w 111392"/>
                  <a:gd name="connsiteY6" fmla="*/ 20328 h 105277"/>
                  <a:gd name="connsiteX7" fmla="*/ 21155 w 111392"/>
                  <a:gd name="connsiteY7" fmla="*/ 23303 h 105277"/>
                  <a:gd name="connsiteX8" fmla="*/ 21155 w 111392"/>
                  <a:gd name="connsiteY8" fmla="*/ 105277 h 105277"/>
                  <a:gd name="connsiteX9" fmla="*/ 0 w 111392"/>
                  <a:gd name="connsiteY9" fmla="*/ 105277 h 105277"/>
                  <a:gd name="connsiteX10" fmla="*/ 0 w 111392"/>
                  <a:gd name="connsiteY10" fmla="*/ 16362 h 105277"/>
                  <a:gd name="connsiteX11" fmla="*/ 14709 w 111392"/>
                  <a:gd name="connsiteY11" fmla="*/ 0 h 105277"/>
                  <a:gd name="connsiteX12" fmla="*/ 58175 w 111392"/>
                  <a:gd name="connsiteY12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392" h="105277">
                    <a:moveTo>
                      <a:pt x="58340" y="0"/>
                    </a:moveTo>
                    <a:cubicBezTo>
                      <a:pt x="94039" y="0"/>
                      <a:pt x="111392" y="17023"/>
                      <a:pt x="111392" y="46110"/>
                    </a:cubicBezTo>
                    <a:lnTo>
                      <a:pt x="111392" y="105277"/>
                    </a:lnTo>
                    <a:lnTo>
                      <a:pt x="90072" y="105277"/>
                    </a:lnTo>
                    <a:lnTo>
                      <a:pt x="90072" y="46110"/>
                    </a:lnTo>
                    <a:cubicBezTo>
                      <a:pt x="90072" y="29583"/>
                      <a:pt x="80487" y="20328"/>
                      <a:pt x="58340" y="20328"/>
                    </a:cubicBezTo>
                    <a:lnTo>
                      <a:pt x="23799" y="20328"/>
                    </a:lnTo>
                    <a:cubicBezTo>
                      <a:pt x="21981" y="20328"/>
                      <a:pt x="21155" y="21319"/>
                      <a:pt x="21155" y="23303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16362"/>
                    </a:lnTo>
                    <a:cubicBezTo>
                      <a:pt x="0" y="3966"/>
                      <a:pt x="4132" y="0"/>
                      <a:pt x="14709" y="0"/>
                    </a:cubicBezTo>
                    <a:lnTo>
                      <a:pt x="581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07B85C91-583C-1218-129C-983D4E72F558}"/>
                  </a:ext>
                </a:extLst>
              </p:cNvPr>
              <p:cNvSpPr/>
              <p:nvPr/>
            </p:nvSpPr>
            <p:spPr>
              <a:xfrm>
                <a:off x="10643788" y="5929495"/>
                <a:ext cx="113540" cy="147420"/>
              </a:xfrm>
              <a:custGeom>
                <a:avLst/>
                <a:gdLst>
                  <a:gd name="connsiteX0" fmla="*/ 74867 w 113540"/>
                  <a:gd name="connsiteY0" fmla="*/ 0 h 147420"/>
                  <a:gd name="connsiteX1" fmla="*/ 113541 w 113540"/>
                  <a:gd name="connsiteY1" fmla="*/ 45118 h 147420"/>
                  <a:gd name="connsiteX2" fmla="*/ 113541 w 113540"/>
                  <a:gd name="connsiteY2" fmla="*/ 105773 h 147420"/>
                  <a:gd name="connsiteX3" fmla="*/ 73545 w 113540"/>
                  <a:gd name="connsiteY3" fmla="*/ 147421 h 147420"/>
                  <a:gd name="connsiteX4" fmla="*/ 10908 w 113540"/>
                  <a:gd name="connsiteY4" fmla="*/ 147421 h 147420"/>
                  <a:gd name="connsiteX5" fmla="*/ 10908 w 113540"/>
                  <a:gd name="connsiteY5" fmla="*/ 127093 h 147420"/>
                  <a:gd name="connsiteX6" fmla="*/ 71231 w 113540"/>
                  <a:gd name="connsiteY6" fmla="*/ 127093 h 147420"/>
                  <a:gd name="connsiteX7" fmla="*/ 92221 w 113540"/>
                  <a:gd name="connsiteY7" fmla="*/ 105773 h 147420"/>
                  <a:gd name="connsiteX8" fmla="*/ 92221 w 113540"/>
                  <a:gd name="connsiteY8" fmla="*/ 100980 h 147420"/>
                  <a:gd name="connsiteX9" fmla="*/ 45780 w 113540"/>
                  <a:gd name="connsiteY9" fmla="*/ 100980 h 147420"/>
                  <a:gd name="connsiteX10" fmla="*/ 0 w 113540"/>
                  <a:gd name="connsiteY10" fmla="*/ 50242 h 147420"/>
                  <a:gd name="connsiteX11" fmla="*/ 45780 w 113540"/>
                  <a:gd name="connsiteY11" fmla="*/ 0 h 147420"/>
                  <a:gd name="connsiteX12" fmla="*/ 74867 w 113540"/>
                  <a:gd name="connsiteY12" fmla="*/ 0 h 147420"/>
                  <a:gd name="connsiteX13" fmla="*/ 47598 w 113540"/>
                  <a:gd name="connsiteY13" fmla="*/ 81808 h 147420"/>
                  <a:gd name="connsiteX14" fmla="*/ 92056 w 113540"/>
                  <a:gd name="connsiteY14" fmla="*/ 81808 h 147420"/>
                  <a:gd name="connsiteX15" fmla="*/ 92056 w 113540"/>
                  <a:gd name="connsiteY15" fmla="*/ 44954 h 147420"/>
                  <a:gd name="connsiteX16" fmla="*/ 68422 w 113540"/>
                  <a:gd name="connsiteY16" fmla="*/ 20493 h 147420"/>
                  <a:gd name="connsiteX17" fmla="*/ 47433 w 113540"/>
                  <a:gd name="connsiteY17" fmla="*/ 20493 h 147420"/>
                  <a:gd name="connsiteX18" fmla="*/ 21155 w 113540"/>
                  <a:gd name="connsiteY18" fmla="*/ 51233 h 147420"/>
                  <a:gd name="connsiteX19" fmla="*/ 47433 w 113540"/>
                  <a:gd name="connsiteY19" fmla="*/ 81974 h 147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540" h="147420">
                    <a:moveTo>
                      <a:pt x="74867" y="0"/>
                    </a:moveTo>
                    <a:cubicBezTo>
                      <a:pt x="99989" y="0"/>
                      <a:pt x="113541" y="14709"/>
                      <a:pt x="113541" y="45118"/>
                    </a:cubicBezTo>
                    <a:lnTo>
                      <a:pt x="113541" y="105773"/>
                    </a:lnTo>
                    <a:cubicBezTo>
                      <a:pt x="113541" y="135687"/>
                      <a:pt x="103129" y="147421"/>
                      <a:pt x="73545" y="147421"/>
                    </a:cubicBezTo>
                    <a:lnTo>
                      <a:pt x="10908" y="147421"/>
                    </a:lnTo>
                    <a:lnTo>
                      <a:pt x="10908" y="127093"/>
                    </a:lnTo>
                    <a:lnTo>
                      <a:pt x="71231" y="127093"/>
                    </a:lnTo>
                    <a:cubicBezTo>
                      <a:pt x="86932" y="127093"/>
                      <a:pt x="92221" y="120977"/>
                      <a:pt x="92221" y="105773"/>
                    </a:cubicBezTo>
                    <a:lnTo>
                      <a:pt x="92221" y="100980"/>
                    </a:lnTo>
                    <a:lnTo>
                      <a:pt x="45780" y="100980"/>
                    </a:lnTo>
                    <a:cubicBezTo>
                      <a:pt x="17684" y="100980"/>
                      <a:pt x="0" y="84453"/>
                      <a:pt x="0" y="50242"/>
                    </a:cubicBezTo>
                    <a:cubicBezTo>
                      <a:pt x="0" y="16031"/>
                      <a:pt x="17519" y="0"/>
                      <a:pt x="45780" y="0"/>
                    </a:cubicBezTo>
                    <a:lnTo>
                      <a:pt x="74867" y="0"/>
                    </a:lnTo>
                    <a:close/>
                    <a:moveTo>
                      <a:pt x="47598" y="81808"/>
                    </a:moveTo>
                    <a:lnTo>
                      <a:pt x="92056" y="81808"/>
                    </a:lnTo>
                    <a:lnTo>
                      <a:pt x="92056" y="44954"/>
                    </a:lnTo>
                    <a:cubicBezTo>
                      <a:pt x="92056" y="27765"/>
                      <a:pt x="85445" y="20493"/>
                      <a:pt x="68422" y="20493"/>
                    </a:cubicBezTo>
                    <a:lnTo>
                      <a:pt x="47433" y="20493"/>
                    </a:lnTo>
                    <a:cubicBezTo>
                      <a:pt x="29253" y="20493"/>
                      <a:pt x="21155" y="29583"/>
                      <a:pt x="21155" y="51233"/>
                    </a:cubicBezTo>
                    <a:cubicBezTo>
                      <a:pt x="21155" y="72884"/>
                      <a:pt x="29418" y="81974"/>
                      <a:pt x="47433" y="819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62EE3646-15C7-C2CD-D6B1-48AB781217A7}"/>
                  </a:ext>
                </a:extLst>
              </p:cNvPr>
              <p:cNvSpPr/>
              <p:nvPr/>
            </p:nvSpPr>
            <p:spPr>
              <a:xfrm>
                <a:off x="10838145" y="5900242"/>
                <a:ext cx="120481" cy="134530"/>
              </a:xfrm>
              <a:custGeom>
                <a:avLst/>
                <a:gdLst>
                  <a:gd name="connsiteX0" fmla="*/ 110235 w 120481"/>
                  <a:gd name="connsiteY0" fmla="*/ 0 h 134530"/>
                  <a:gd name="connsiteX1" fmla="*/ 110235 w 120481"/>
                  <a:gd name="connsiteY1" fmla="*/ 23469 h 134530"/>
                  <a:gd name="connsiteX2" fmla="*/ 41152 w 120481"/>
                  <a:gd name="connsiteY2" fmla="*/ 23469 h 134530"/>
                  <a:gd name="connsiteX3" fmla="*/ 23634 w 120481"/>
                  <a:gd name="connsiteY3" fmla="*/ 39500 h 134530"/>
                  <a:gd name="connsiteX4" fmla="*/ 43631 w 120481"/>
                  <a:gd name="connsiteY4" fmla="*/ 55366 h 134530"/>
                  <a:gd name="connsiteX5" fmla="*/ 75198 w 120481"/>
                  <a:gd name="connsiteY5" fmla="*/ 55366 h 134530"/>
                  <a:gd name="connsiteX6" fmla="*/ 120482 w 120481"/>
                  <a:gd name="connsiteY6" fmla="*/ 95030 h 134530"/>
                  <a:gd name="connsiteX7" fmla="*/ 77512 w 120481"/>
                  <a:gd name="connsiteY7" fmla="*/ 134530 h 134530"/>
                  <a:gd name="connsiteX8" fmla="*/ 2479 w 120481"/>
                  <a:gd name="connsiteY8" fmla="*/ 134530 h 134530"/>
                  <a:gd name="connsiteX9" fmla="*/ 2479 w 120481"/>
                  <a:gd name="connsiteY9" fmla="*/ 111062 h 134530"/>
                  <a:gd name="connsiteX10" fmla="*/ 78338 w 120481"/>
                  <a:gd name="connsiteY10" fmla="*/ 111062 h 134530"/>
                  <a:gd name="connsiteX11" fmla="*/ 96848 w 120481"/>
                  <a:gd name="connsiteY11" fmla="*/ 94370 h 134530"/>
                  <a:gd name="connsiteX12" fmla="*/ 75694 w 120481"/>
                  <a:gd name="connsiteY12" fmla="*/ 77677 h 134530"/>
                  <a:gd name="connsiteX13" fmla="*/ 44293 w 120481"/>
                  <a:gd name="connsiteY13" fmla="*/ 77677 h 134530"/>
                  <a:gd name="connsiteX14" fmla="*/ 0 w 120481"/>
                  <a:gd name="connsiteY14" fmla="*/ 38839 h 134530"/>
                  <a:gd name="connsiteX15" fmla="*/ 41979 w 120481"/>
                  <a:gd name="connsiteY15" fmla="*/ 165 h 134530"/>
                  <a:gd name="connsiteX16" fmla="*/ 110235 w 120481"/>
                  <a:gd name="connsiteY16" fmla="*/ 165 h 134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481" h="134530">
                    <a:moveTo>
                      <a:pt x="110235" y="0"/>
                    </a:moveTo>
                    <a:lnTo>
                      <a:pt x="110235" y="23469"/>
                    </a:lnTo>
                    <a:lnTo>
                      <a:pt x="41152" y="23469"/>
                    </a:lnTo>
                    <a:cubicBezTo>
                      <a:pt x="28922" y="23469"/>
                      <a:pt x="23634" y="30079"/>
                      <a:pt x="23634" y="39500"/>
                    </a:cubicBezTo>
                    <a:cubicBezTo>
                      <a:pt x="23634" y="47598"/>
                      <a:pt x="27766" y="55366"/>
                      <a:pt x="43631" y="55366"/>
                    </a:cubicBezTo>
                    <a:lnTo>
                      <a:pt x="75198" y="55366"/>
                    </a:lnTo>
                    <a:cubicBezTo>
                      <a:pt x="111888" y="55366"/>
                      <a:pt x="120482" y="75694"/>
                      <a:pt x="120482" y="95030"/>
                    </a:cubicBezTo>
                    <a:cubicBezTo>
                      <a:pt x="120482" y="117838"/>
                      <a:pt x="108252" y="134530"/>
                      <a:pt x="77512" y="134530"/>
                    </a:cubicBezTo>
                    <a:lnTo>
                      <a:pt x="2479" y="134530"/>
                    </a:lnTo>
                    <a:lnTo>
                      <a:pt x="2479" y="111062"/>
                    </a:lnTo>
                    <a:lnTo>
                      <a:pt x="78338" y="111062"/>
                    </a:lnTo>
                    <a:cubicBezTo>
                      <a:pt x="91064" y="111062"/>
                      <a:pt x="96848" y="104121"/>
                      <a:pt x="96848" y="94370"/>
                    </a:cubicBezTo>
                    <a:cubicBezTo>
                      <a:pt x="96848" y="85610"/>
                      <a:pt x="92221" y="77677"/>
                      <a:pt x="75694" y="77677"/>
                    </a:cubicBezTo>
                    <a:lnTo>
                      <a:pt x="44293" y="77677"/>
                    </a:lnTo>
                    <a:cubicBezTo>
                      <a:pt x="8263" y="77677"/>
                      <a:pt x="0" y="57514"/>
                      <a:pt x="0" y="38839"/>
                    </a:cubicBezTo>
                    <a:cubicBezTo>
                      <a:pt x="0" y="16527"/>
                      <a:pt x="12065" y="165"/>
                      <a:pt x="41979" y="165"/>
                    </a:cubicBezTo>
                    <a:lnTo>
                      <a:pt x="110235" y="1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7494194-9951-C71F-2AB7-19AC295FC1A5}"/>
                  </a:ext>
                </a:extLst>
              </p:cNvPr>
              <p:cNvSpPr/>
              <p:nvPr/>
            </p:nvSpPr>
            <p:spPr>
              <a:xfrm>
                <a:off x="10982922" y="5929495"/>
                <a:ext cx="106268" cy="105277"/>
              </a:xfrm>
              <a:custGeom>
                <a:avLst/>
                <a:gdLst>
                  <a:gd name="connsiteX0" fmla="*/ 70736 w 106268"/>
                  <a:gd name="connsiteY0" fmla="*/ 0 h 105277"/>
                  <a:gd name="connsiteX1" fmla="*/ 106269 w 106268"/>
                  <a:gd name="connsiteY1" fmla="*/ 32393 h 105277"/>
                  <a:gd name="connsiteX2" fmla="*/ 70570 w 106268"/>
                  <a:gd name="connsiteY2" fmla="*/ 62637 h 105277"/>
                  <a:gd name="connsiteX3" fmla="*/ 20493 w 106268"/>
                  <a:gd name="connsiteY3" fmla="*/ 62637 h 105277"/>
                  <a:gd name="connsiteX4" fmla="*/ 20493 w 106268"/>
                  <a:gd name="connsiteY4" fmla="*/ 70240 h 105277"/>
                  <a:gd name="connsiteX5" fmla="*/ 36690 w 106268"/>
                  <a:gd name="connsiteY5" fmla="*/ 84784 h 105277"/>
                  <a:gd name="connsiteX6" fmla="*/ 101145 w 106268"/>
                  <a:gd name="connsiteY6" fmla="*/ 84784 h 105277"/>
                  <a:gd name="connsiteX7" fmla="*/ 101145 w 106268"/>
                  <a:gd name="connsiteY7" fmla="*/ 105277 h 105277"/>
                  <a:gd name="connsiteX8" fmla="*/ 36690 w 106268"/>
                  <a:gd name="connsiteY8" fmla="*/ 105277 h 105277"/>
                  <a:gd name="connsiteX9" fmla="*/ 0 w 106268"/>
                  <a:gd name="connsiteY9" fmla="*/ 70570 h 105277"/>
                  <a:gd name="connsiteX10" fmla="*/ 0 w 106268"/>
                  <a:gd name="connsiteY10" fmla="*/ 34706 h 105277"/>
                  <a:gd name="connsiteX11" fmla="*/ 36690 w 106268"/>
                  <a:gd name="connsiteY11" fmla="*/ 0 h 105277"/>
                  <a:gd name="connsiteX12" fmla="*/ 70901 w 106268"/>
                  <a:gd name="connsiteY12" fmla="*/ 0 h 105277"/>
                  <a:gd name="connsiteX13" fmla="*/ 20328 w 106268"/>
                  <a:gd name="connsiteY13" fmla="*/ 46110 h 105277"/>
                  <a:gd name="connsiteX14" fmla="*/ 69909 w 106268"/>
                  <a:gd name="connsiteY14" fmla="*/ 46110 h 105277"/>
                  <a:gd name="connsiteX15" fmla="*/ 85445 w 106268"/>
                  <a:gd name="connsiteY15" fmla="*/ 33550 h 105277"/>
                  <a:gd name="connsiteX16" fmla="*/ 70405 w 106268"/>
                  <a:gd name="connsiteY16" fmla="*/ 20328 h 105277"/>
                  <a:gd name="connsiteX17" fmla="*/ 36360 w 106268"/>
                  <a:gd name="connsiteY17" fmla="*/ 20328 h 105277"/>
                  <a:gd name="connsiteX18" fmla="*/ 20163 w 106268"/>
                  <a:gd name="connsiteY18" fmla="*/ 34872 h 105277"/>
                  <a:gd name="connsiteX19" fmla="*/ 20163 w 106268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8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0" y="62637"/>
                    </a:cubicBezTo>
                    <a:lnTo>
                      <a:pt x="20493" y="62637"/>
                    </a:lnTo>
                    <a:lnTo>
                      <a:pt x="20493" y="70240"/>
                    </a:lnTo>
                    <a:cubicBezTo>
                      <a:pt x="20493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328" y="46110"/>
                    </a:moveTo>
                    <a:lnTo>
                      <a:pt x="69909" y="46110"/>
                    </a:lnTo>
                    <a:cubicBezTo>
                      <a:pt x="81313" y="46110"/>
                      <a:pt x="85445" y="41318"/>
                      <a:pt x="85445" y="33550"/>
                    </a:cubicBezTo>
                    <a:cubicBezTo>
                      <a:pt x="85445" y="25782"/>
                      <a:pt x="80817" y="20328"/>
                      <a:pt x="70405" y="20328"/>
                    </a:cubicBezTo>
                    <a:lnTo>
                      <a:pt x="36360" y="20328"/>
                    </a:lnTo>
                    <a:cubicBezTo>
                      <a:pt x="24791" y="20328"/>
                      <a:pt x="20163" y="26774"/>
                      <a:pt x="20163" y="34872"/>
                    </a:cubicBezTo>
                    <a:lnTo>
                      <a:pt x="20163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37C60EF1-5EE0-E186-D5BA-E0C4282DADE1}"/>
                  </a:ext>
                </a:extLst>
              </p:cNvPr>
              <p:cNvSpPr/>
              <p:nvPr/>
            </p:nvSpPr>
            <p:spPr>
              <a:xfrm>
                <a:off x="11116295" y="5929495"/>
                <a:ext cx="71892" cy="105277"/>
              </a:xfrm>
              <a:custGeom>
                <a:avLst/>
                <a:gdLst>
                  <a:gd name="connsiteX0" fmla="*/ 71893 w 71892"/>
                  <a:gd name="connsiteY0" fmla="*/ 0 h 105277"/>
                  <a:gd name="connsiteX1" fmla="*/ 71893 w 71892"/>
                  <a:gd name="connsiteY1" fmla="*/ 20328 h 105277"/>
                  <a:gd name="connsiteX2" fmla="*/ 34707 w 71892"/>
                  <a:gd name="connsiteY2" fmla="*/ 20328 h 105277"/>
                  <a:gd name="connsiteX3" fmla="*/ 21155 w 71892"/>
                  <a:gd name="connsiteY3" fmla="*/ 33880 h 105277"/>
                  <a:gd name="connsiteX4" fmla="*/ 21155 w 71892"/>
                  <a:gd name="connsiteY4" fmla="*/ 105277 h 105277"/>
                  <a:gd name="connsiteX5" fmla="*/ 0 w 71892"/>
                  <a:gd name="connsiteY5" fmla="*/ 105277 h 105277"/>
                  <a:gd name="connsiteX6" fmla="*/ 0 w 71892"/>
                  <a:gd name="connsiteY6" fmla="*/ 30740 h 105277"/>
                  <a:gd name="connsiteX7" fmla="*/ 28591 w 71892"/>
                  <a:gd name="connsiteY7" fmla="*/ 0 h 105277"/>
                  <a:gd name="connsiteX8" fmla="*/ 71893 w 71892"/>
                  <a:gd name="connsiteY8" fmla="*/ 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892" h="105277">
                    <a:moveTo>
                      <a:pt x="71893" y="0"/>
                    </a:moveTo>
                    <a:lnTo>
                      <a:pt x="71893" y="20328"/>
                    </a:lnTo>
                    <a:lnTo>
                      <a:pt x="34707" y="20328"/>
                    </a:lnTo>
                    <a:cubicBezTo>
                      <a:pt x="25286" y="20328"/>
                      <a:pt x="21155" y="24791"/>
                      <a:pt x="21155" y="33880"/>
                    </a:cubicBezTo>
                    <a:lnTo>
                      <a:pt x="21155" y="105277"/>
                    </a:lnTo>
                    <a:lnTo>
                      <a:pt x="0" y="105277"/>
                    </a:lnTo>
                    <a:lnTo>
                      <a:pt x="0" y="30740"/>
                    </a:lnTo>
                    <a:cubicBezTo>
                      <a:pt x="0" y="9585"/>
                      <a:pt x="7768" y="0"/>
                      <a:pt x="28591" y="0"/>
                    </a:cubicBezTo>
                    <a:lnTo>
                      <a:pt x="7189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1BA28F7B-989D-83F2-1374-3C1FF2275759}"/>
                  </a:ext>
                </a:extLst>
              </p:cNvPr>
              <p:cNvSpPr/>
              <p:nvPr/>
            </p:nvSpPr>
            <p:spPr>
              <a:xfrm>
                <a:off x="11203227" y="5929495"/>
                <a:ext cx="127423" cy="107756"/>
              </a:xfrm>
              <a:custGeom>
                <a:avLst/>
                <a:gdLst>
                  <a:gd name="connsiteX0" fmla="*/ 22147 w 127423"/>
                  <a:gd name="connsiteY0" fmla="*/ 0 h 107756"/>
                  <a:gd name="connsiteX1" fmla="*/ 57349 w 127423"/>
                  <a:gd name="connsiteY1" fmla="*/ 84618 h 107756"/>
                  <a:gd name="connsiteX2" fmla="*/ 62472 w 127423"/>
                  <a:gd name="connsiteY2" fmla="*/ 87758 h 107756"/>
                  <a:gd name="connsiteX3" fmla="*/ 68092 w 127423"/>
                  <a:gd name="connsiteY3" fmla="*/ 84618 h 107756"/>
                  <a:gd name="connsiteX4" fmla="*/ 104616 w 127423"/>
                  <a:gd name="connsiteY4" fmla="*/ 0 h 107756"/>
                  <a:gd name="connsiteX5" fmla="*/ 127424 w 127423"/>
                  <a:gd name="connsiteY5" fmla="*/ 0 h 107756"/>
                  <a:gd name="connsiteX6" fmla="*/ 86767 w 127423"/>
                  <a:gd name="connsiteY6" fmla="*/ 94039 h 107756"/>
                  <a:gd name="connsiteX7" fmla="*/ 62638 w 127423"/>
                  <a:gd name="connsiteY7" fmla="*/ 107756 h 107756"/>
                  <a:gd name="connsiteX8" fmla="*/ 38674 w 127423"/>
                  <a:gd name="connsiteY8" fmla="*/ 94039 h 107756"/>
                  <a:gd name="connsiteX9" fmla="*/ 0 w 127423"/>
                  <a:gd name="connsiteY9" fmla="*/ 0 h 107756"/>
                  <a:gd name="connsiteX10" fmla="*/ 22312 w 127423"/>
                  <a:gd name="connsiteY10" fmla="*/ 0 h 10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423" h="107756">
                    <a:moveTo>
                      <a:pt x="22147" y="0"/>
                    </a:moveTo>
                    <a:lnTo>
                      <a:pt x="57349" y="84618"/>
                    </a:lnTo>
                    <a:cubicBezTo>
                      <a:pt x="58175" y="86767"/>
                      <a:pt x="59993" y="87758"/>
                      <a:pt x="62472" y="87758"/>
                    </a:cubicBezTo>
                    <a:cubicBezTo>
                      <a:pt x="65282" y="87758"/>
                      <a:pt x="67100" y="86767"/>
                      <a:pt x="68092" y="84618"/>
                    </a:cubicBezTo>
                    <a:lnTo>
                      <a:pt x="104616" y="0"/>
                    </a:lnTo>
                    <a:lnTo>
                      <a:pt x="127424" y="0"/>
                    </a:lnTo>
                    <a:lnTo>
                      <a:pt x="86767" y="94039"/>
                    </a:lnTo>
                    <a:cubicBezTo>
                      <a:pt x="82305" y="103955"/>
                      <a:pt x="74537" y="107756"/>
                      <a:pt x="62638" y="107756"/>
                    </a:cubicBezTo>
                    <a:cubicBezTo>
                      <a:pt x="50738" y="107756"/>
                      <a:pt x="42640" y="103790"/>
                      <a:pt x="38674" y="94039"/>
                    </a:cubicBezTo>
                    <a:lnTo>
                      <a:pt x="0" y="0"/>
                    </a:lnTo>
                    <a:lnTo>
                      <a:pt x="223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FC142FE5-ACB8-060A-EF96-F134BCD9895E}"/>
                  </a:ext>
                </a:extLst>
              </p:cNvPr>
              <p:cNvSpPr/>
              <p:nvPr/>
            </p:nvSpPr>
            <p:spPr>
              <a:xfrm>
                <a:off x="11351144" y="5889830"/>
                <a:ext cx="21320" cy="144942"/>
              </a:xfrm>
              <a:custGeom>
                <a:avLst/>
                <a:gdLst>
                  <a:gd name="connsiteX0" fmla="*/ 21320 w 21320"/>
                  <a:gd name="connsiteY0" fmla="*/ 0 h 144942"/>
                  <a:gd name="connsiteX1" fmla="*/ 21320 w 21320"/>
                  <a:gd name="connsiteY1" fmla="*/ 24460 h 144942"/>
                  <a:gd name="connsiteX2" fmla="*/ 0 w 21320"/>
                  <a:gd name="connsiteY2" fmla="*/ 24460 h 144942"/>
                  <a:gd name="connsiteX3" fmla="*/ 0 w 21320"/>
                  <a:gd name="connsiteY3" fmla="*/ 0 h 144942"/>
                  <a:gd name="connsiteX4" fmla="*/ 21320 w 21320"/>
                  <a:gd name="connsiteY4" fmla="*/ 0 h 144942"/>
                  <a:gd name="connsiteX5" fmla="*/ 21155 w 21320"/>
                  <a:gd name="connsiteY5" fmla="*/ 39665 h 144942"/>
                  <a:gd name="connsiteX6" fmla="*/ 21155 w 21320"/>
                  <a:gd name="connsiteY6" fmla="*/ 144942 h 144942"/>
                  <a:gd name="connsiteX7" fmla="*/ 0 w 21320"/>
                  <a:gd name="connsiteY7" fmla="*/ 144942 h 144942"/>
                  <a:gd name="connsiteX8" fmla="*/ 0 w 21320"/>
                  <a:gd name="connsiteY8" fmla="*/ 39665 h 144942"/>
                  <a:gd name="connsiteX9" fmla="*/ 21155 w 21320"/>
                  <a:gd name="connsiteY9" fmla="*/ 39665 h 14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0" h="144942">
                    <a:moveTo>
                      <a:pt x="21320" y="0"/>
                    </a:moveTo>
                    <a:lnTo>
                      <a:pt x="21320" y="24460"/>
                    </a:lnTo>
                    <a:lnTo>
                      <a:pt x="0" y="24460"/>
                    </a:lnTo>
                    <a:lnTo>
                      <a:pt x="0" y="0"/>
                    </a:lnTo>
                    <a:lnTo>
                      <a:pt x="21320" y="0"/>
                    </a:lnTo>
                    <a:close/>
                    <a:moveTo>
                      <a:pt x="21155" y="39665"/>
                    </a:moveTo>
                    <a:lnTo>
                      <a:pt x="21155" y="144942"/>
                    </a:lnTo>
                    <a:lnTo>
                      <a:pt x="0" y="144942"/>
                    </a:lnTo>
                    <a:lnTo>
                      <a:pt x="0" y="39665"/>
                    </a:lnTo>
                    <a:lnTo>
                      <a:pt x="21155" y="39665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EE0BBE8-0D96-C97B-DBF5-279718D7780B}"/>
                  </a:ext>
                </a:extLst>
              </p:cNvPr>
              <p:cNvSpPr/>
              <p:nvPr/>
            </p:nvSpPr>
            <p:spPr>
              <a:xfrm>
                <a:off x="11398907" y="5929330"/>
                <a:ext cx="100153" cy="105442"/>
              </a:xfrm>
              <a:custGeom>
                <a:avLst/>
                <a:gdLst>
                  <a:gd name="connsiteX0" fmla="*/ 100154 w 100153"/>
                  <a:gd name="connsiteY0" fmla="*/ 165 h 105442"/>
                  <a:gd name="connsiteX1" fmla="*/ 100154 w 100153"/>
                  <a:gd name="connsiteY1" fmla="*/ 20493 h 105442"/>
                  <a:gd name="connsiteX2" fmla="*/ 47763 w 100153"/>
                  <a:gd name="connsiteY2" fmla="*/ 20493 h 105442"/>
                  <a:gd name="connsiteX3" fmla="*/ 21485 w 100153"/>
                  <a:gd name="connsiteY3" fmla="*/ 52887 h 105442"/>
                  <a:gd name="connsiteX4" fmla="*/ 47763 w 100153"/>
                  <a:gd name="connsiteY4" fmla="*/ 84949 h 105442"/>
                  <a:gd name="connsiteX5" fmla="*/ 100154 w 100153"/>
                  <a:gd name="connsiteY5" fmla="*/ 84949 h 105442"/>
                  <a:gd name="connsiteX6" fmla="*/ 100154 w 100153"/>
                  <a:gd name="connsiteY6" fmla="*/ 105442 h 105442"/>
                  <a:gd name="connsiteX7" fmla="*/ 45780 w 100153"/>
                  <a:gd name="connsiteY7" fmla="*/ 105442 h 105442"/>
                  <a:gd name="connsiteX8" fmla="*/ 0 w 100153"/>
                  <a:gd name="connsiteY8" fmla="*/ 52721 h 105442"/>
                  <a:gd name="connsiteX9" fmla="*/ 45780 w 100153"/>
                  <a:gd name="connsiteY9" fmla="*/ 0 h 105442"/>
                  <a:gd name="connsiteX10" fmla="*/ 100154 w 100153"/>
                  <a:gd name="connsiteY10" fmla="*/ 0 h 1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153" h="105442">
                    <a:moveTo>
                      <a:pt x="100154" y="165"/>
                    </a:moveTo>
                    <a:lnTo>
                      <a:pt x="100154" y="20493"/>
                    </a:lnTo>
                    <a:lnTo>
                      <a:pt x="47763" y="20493"/>
                    </a:lnTo>
                    <a:cubicBezTo>
                      <a:pt x="29418" y="20493"/>
                      <a:pt x="21485" y="30079"/>
                      <a:pt x="21485" y="52887"/>
                    </a:cubicBezTo>
                    <a:cubicBezTo>
                      <a:pt x="21485" y="75694"/>
                      <a:pt x="29418" y="84949"/>
                      <a:pt x="47763" y="84949"/>
                    </a:cubicBezTo>
                    <a:lnTo>
                      <a:pt x="100154" y="84949"/>
                    </a:lnTo>
                    <a:lnTo>
                      <a:pt x="100154" y="105442"/>
                    </a:lnTo>
                    <a:lnTo>
                      <a:pt x="45780" y="105442"/>
                    </a:lnTo>
                    <a:cubicBezTo>
                      <a:pt x="17684" y="105442"/>
                      <a:pt x="0" y="88254"/>
                      <a:pt x="0" y="52721"/>
                    </a:cubicBezTo>
                    <a:cubicBezTo>
                      <a:pt x="0" y="17188"/>
                      <a:pt x="17519" y="0"/>
                      <a:pt x="45780" y="0"/>
                    </a:cubicBezTo>
                    <a:lnTo>
                      <a:pt x="10015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2DCBAE4A-8CE0-D7BD-367A-30ECD711E6E9}"/>
                  </a:ext>
                </a:extLst>
              </p:cNvPr>
              <p:cNvSpPr/>
              <p:nvPr/>
            </p:nvSpPr>
            <p:spPr>
              <a:xfrm>
                <a:off x="11523521" y="5929495"/>
                <a:ext cx="106269" cy="105277"/>
              </a:xfrm>
              <a:custGeom>
                <a:avLst/>
                <a:gdLst>
                  <a:gd name="connsiteX0" fmla="*/ 70736 w 106269"/>
                  <a:gd name="connsiteY0" fmla="*/ 0 h 105277"/>
                  <a:gd name="connsiteX1" fmla="*/ 106269 w 106269"/>
                  <a:gd name="connsiteY1" fmla="*/ 32393 h 105277"/>
                  <a:gd name="connsiteX2" fmla="*/ 70571 w 106269"/>
                  <a:gd name="connsiteY2" fmla="*/ 62637 h 105277"/>
                  <a:gd name="connsiteX3" fmla="*/ 20494 w 106269"/>
                  <a:gd name="connsiteY3" fmla="*/ 62637 h 105277"/>
                  <a:gd name="connsiteX4" fmla="*/ 20494 w 106269"/>
                  <a:gd name="connsiteY4" fmla="*/ 70240 h 105277"/>
                  <a:gd name="connsiteX5" fmla="*/ 36690 w 106269"/>
                  <a:gd name="connsiteY5" fmla="*/ 84784 h 105277"/>
                  <a:gd name="connsiteX6" fmla="*/ 101145 w 106269"/>
                  <a:gd name="connsiteY6" fmla="*/ 84784 h 105277"/>
                  <a:gd name="connsiteX7" fmla="*/ 101145 w 106269"/>
                  <a:gd name="connsiteY7" fmla="*/ 105277 h 105277"/>
                  <a:gd name="connsiteX8" fmla="*/ 36690 w 106269"/>
                  <a:gd name="connsiteY8" fmla="*/ 105277 h 105277"/>
                  <a:gd name="connsiteX9" fmla="*/ 0 w 106269"/>
                  <a:gd name="connsiteY9" fmla="*/ 70570 h 105277"/>
                  <a:gd name="connsiteX10" fmla="*/ 0 w 106269"/>
                  <a:gd name="connsiteY10" fmla="*/ 34706 h 105277"/>
                  <a:gd name="connsiteX11" fmla="*/ 36690 w 106269"/>
                  <a:gd name="connsiteY11" fmla="*/ 0 h 105277"/>
                  <a:gd name="connsiteX12" fmla="*/ 70901 w 106269"/>
                  <a:gd name="connsiteY12" fmla="*/ 0 h 105277"/>
                  <a:gd name="connsiteX13" fmla="*/ 20494 w 106269"/>
                  <a:gd name="connsiteY13" fmla="*/ 46110 h 105277"/>
                  <a:gd name="connsiteX14" fmla="*/ 70075 w 106269"/>
                  <a:gd name="connsiteY14" fmla="*/ 46110 h 105277"/>
                  <a:gd name="connsiteX15" fmla="*/ 85610 w 106269"/>
                  <a:gd name="connsiteY15" fmla="*/ 33550 h 105277"/>
                  <a:gd name="connsiteX16" fmla="*/ 70571 w 106269"/>
                  <a:gd name="connsiteY16" fmla="*/ 20328 h 105277"/>
                  <a:gd name="connsiteX17" fmla="*/ 36525 w 106269"/>
                  <a:gd name="connsiteY17" fmla="*/ 20328 h 105277"/>
                  <a:gd name="connsiteX18" fmla="*/ 20328 w 106269"/>
                  <a:gd name="connsiteY18" fmla="*/ 34872 h 105277"/>
                  <a:gd name="connsiteX19" fmla="*/ 20328 w 106269"/>
                  <a:gd name="connsiteY19" fmla="*/ 46110 h 105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6269" h="105277">
                    <a:moveTo>
                      <a:pt x="70736" y="0"/>
                    </a:moveTo>
                    <a:cubicBezTo>
                      <a:pt x="95692" y="0"/>
                      <a:pt x="106269" y="11899"/>
                      <a:pt x="106269" y="32393"/>
                    </a:cubicBezTo>
                    <a:cubicBezTo>
                      <a:pt x="106269" y="52886"/>
                      <a:pt x="96518" y="62637"/>
                      <a:pt x="70571" y="62637"/>
                    </a:cubicBezTo>
                    <a:lnTo>
                      <a:pt x="20494" y="62637"/>
                    </a:lnTo>
                    <a:lnTo>
                      <a:pt x="20494" y="70240"/>
                    </a:lnTo>
                    <a:cubicBezTo>
                      <a:pt x="20494" y="78668"/>
                      <a:pt x="25121" y="84784"/>
                      <a:pt x="36690" y="84784"/>
                    </a:cubicBezTo>
                    <a:lnTo>
                      <a:pt x="101145" y="84784"/>
                    </a:lnTo>
                    <a:lnTo>
                      <a:pt x="101145" y="105277"/>
                    </a:lnTo>
                    <a:lnTo>
                      <a:pt x="36690" y="105277"/>
                    </a:lnTo>
                    <a:cubicBezTo>
                      <a:pt x="10412" y="105277"/>
                      <a:pt x="0" y="90568"/>
                      <a:pt x="0" y="70570"/>
                    </a:cubicBezTo>
                    <a:lnTo>
                      <a:pt x="0" y="34706"/>
                    </a:lnTo>
                    <a:cubicBezTo>
                      <a:pt x="0" y="14709"/>
                      <a:pt x="10412" y="0"/>
                      <a:pt x="36690" y="0"/>
                    </a:cubicBezTo>
                    <a:lnTo>
                      <a:pt x="70901" y="0"/>
                    </a:lnTo>
                    <a:close/>
                    <a:moveTo>
                      <a:pt x="20494" y="46110"/>
                    </a:moveTo>
                    <a:lnTo>
                      <a:pt x="70075" y="46110"/>
                    </a:lnTo>
                    <a:cubicBezTo>
                      <a:pt x="81479" y="46110"/>
                      <a:pt x="85610" y="41318"/>
                      <a:pt x="85610" y="33550"/>
                    </a:cubicBezTo>
                    <a:cubicBezTo>
                      <a:pt x="85610" y="25782"/>
                      <a:pt x="80982" y="20328"/>
                      <a:pt x="70571" y="20328"/>
                    </a:cubicBezTo>
                    <a:lnTo>
                      <a:pt x="36525" y="20328"/>
                    </a:lnTo>
                    <a:cubicBezTo>
                      <a:pt x="24956" y="20328"/>
                      <a:pt x="20328" y="26774"/>
                      <a:pt x="20328" y="34872"/>
                    </a:cubicBezTo>
                    <a:lnTo>
                      <a:pt x="20328" y="4611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7" name="Graphic 8">
              <a:extLst>
                <a:ext uri="{FF2B5EF4-FFF2-40B4-BE49-F238E27FC236}">
                  <a16:creationId xmlns:a16="http://schemas.microsoft.com/office/drawing/2014/main" id="{AECD8D9A-8E68-9CEA-96DF-2367E66F28FD}"/>
                </a:ext>
              </a:extLst>
            </p:cNvPr>
            <p:cNvGrpSpPr/>
            <p:nvPr/>
          </p:nvGrpSpPr>
          <p:grpSpPr>
            <a:xfrm>
              <a:off x="7596585" y="467263"/>
              <a:ext cx="3048167" cy="4652212"/>
              <a:chOff x="7596585" y="467263"/>
              <a:chExt cx="3048167" cy="4652212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5CE6B18-B5C7-88B0-8463-FCAB6C121978}"/>
                  </a:ext>
                </a:extLst>
              </p:cNvPr>
              <p:cNvSpPr/>
              <p:nvPr/>
            </p:nvSpPr>
            <p:spPr>
              <a:xfrm>
                <a:off x="9438356" y="3891725"/>
                <a:ext cx="1206396" cy="930285"/>
              </a:xfrm>
              <a:custGeom>
                <a:avLst/>
                <a:gdLst>
                  <a:gd name="connsiteX0" fmla="*/ 1191549 w 1206396"/>
                  <a:gd name="connsiteY0" fmla="*/ 925501 h 930285"/>
                  <a:gd name="connsiteX1" fmla="*/ 1154363 w 1206396"/>
                  <a:gd name="connsiteY1" fmla="*/ 916742 h 930285"/>
                  <a:gd name="connsiteX2" fmla="*/ 1151553 w 1206396"/>
                  <a:gd name="connsiteY2" fmla="*/ 894100 h 930285"/>
                  <a:gd name="connsiteX3" fmla="*/ 990415 w 1206396"/>
                  <a:gd name="connsiteY3" fmla="*/ 608183 h 930285"/>
                  <a:gd name="connsiteX4" fmla="*/ 706811 w 1206396"/>
                  <a:gd name="connsiteY4" fmla="*/ 614132 h 930285"/>
                  <a:gd name="connsiteX5" fmla="*/ 666981 w 1206396"/>
                  <a:gd name="connsiteY5" fmla="*/ 647186 h 930285"/>
                  <a:gd name="connsiteX6" fmla="*/ 630621 w 1206396"/>
                  <a:gd name="connsiteY6" fmla="*/ 686356 h 930285"/>
                  <a:gd name="connsiteX7" fmla="*/ 616573 w 1206396"/>
                  <a:gd name="connsiteY7" fmla="*/ 703048 h 930285"/>
                  <a:gd name="connsiteX8" fmla="*/ 582032 w 1206396"/>
                  <a:gd name="connsiteY8" fmla="*/ 698916 h 930285"/>
                  <a:gd name="connsiteX9" fmla="*/ 572777 w 1206396"/>
                  <a:gd name="connsiteY9" fmla="*/ 671647 h 930285"/>
                  <a:gd name="connsiteX10" fmla="*/ 558894 w 1206396"/>
                  <a:gd name="connsiteY10" fmla="*/ 640245 h 930285"/>
                  <a:gd name="connsiteX11" fmla="*/ 492621 w 1206396"/>
                  <a:gd name="connsiteY11" fmla="*/ 649500 h 930285"/>
                  <a:gd name="connsiteX12" fmla="*/ 446014 w 1206396"/>
                  <a:gd name="connsiteY12" fmla="*/ 656441 h 930285"/>
                  <a:gd name="connsiteX13" fmla="*/ 438577 w 1206396"/>
                  <a:gd name="connsiteY13" fmla="*/ 636279 h 930285"/>
                  <a:gd name="connsiteX14" fmla="*/ 442709 w 1206396"/>
                  <a:gd name="connsiteY14" fmla="*/ 620082 h 930285"/>
                  <a:gd name="connsiteX15" fmla="*/ 446841 w 1206396"/>
                  <a:gd name="connsiteY15" fmla="*/ 588185 h 930285"/>
                  <a:gd name="connsiteX16" fmla="*/ 442544 w 1206396"/>
                  <a:gd name="connsiteY16" fmla="*/ 553644 h 930285"/>
                  <a:gd name="connsiteX17" fmla="*/ 413787 w 1206396"/>
                  <a:gd name="connsiteY17" fmla="*/ 507368 h 930285"/>
                  <a:gd name="connsiteX18" fmla="*/ 264878 w 1206396"/>
                  <a:gd name="connsiteY18" fmla="*/ 493981 h 930285"/>
                  <a:gd name="connsiteX19" fmla="*/ 231659 w 1206396"/>
                  <a:gd name="connsiteY19" fmla="*/ 501088 h 930285"/>
                  <a:gd name="connsiteX20" fmla="*/ 207695 w 1206396"/>
                  <a:gd name="connsiteY20" fmla="*/ 486709 h 930285"/>
                  <a:gd name="connsiteX21" fmla="*/ 150677 w 1206396"/>
                  <a:gd name="connsiteY21" fmla="*/ 406884 h 930285"/>
                  <a:gd name="connsiteX22" fmla="*/ 45234 w 1206396"/>
                  <a:gd name="connsiteY22" fmla="*/ 186909 h 930285"/>
                  <a:gd name="connsiteX23" fmla="*/ 115 w 1206396"/>
                  <a:gd name="connsiteY23" fmla="*/ 30398 h 930285"/>
                  <a:gd name="connsiteX24" fmla="*/ 47383 w 1206396"/>
                  <a:gd name="connsiteY24" fmla="*/ 10235 h 930285"/>
                  <a:gd name="connsiteX25" fmla="*/ 59117 w 1206396"/>
                  <a:gd name="connsiteY25" fmla="*/ 45272 h 930285"/>
                  <a:gd name="connsiteX26" fmla="*/ 134150 w 1206396"/>
                  <a:gd name="connsiteY26" fmla="*/ 257645 h 930285"/>
                  <a:gd name="connsiteX27" fmla="*/ 229510 w 1206396"/>
                  <a:gd name="connsiteY27" fmla="*/ 417791 h 930285"/>
                  <a:gd name="connsiteX28" fmla="*/ 246203 w 1206396"/>
                  <a:gd name="connsiteY28" fmla="*/ 441260 h 930285"/>
                  <a:gd name="connsiteX29" fmla="*/ 251657 w 1206396"/>
                  <a:gd name="connsiteY29" fmla="*/ 439111 h 930285"/>
                  <a:gd name="connsiteX30" fmla="*/ 363545 w 1206396"/>
                  <a:gd name="connsiteY30" fmla="*/ 424402 h 930285"/>
                  <a:gd name="connsiteX31" fmla="*/ 457583 w 1206396"/>
                  <a:gd name="connsiteY31" fmla="*/ 473983 h 930285"/>
                  <a:gd name="connsiteX32" fmla="*/ 500884 w 1206396"/>
                  <a:gd name="connsiteY32" fmla="*/ 564386 h 930285"/>
                  <a:gd name="connsiteX33" fmla="*/ 503033 w 1206396"/>
                  <a:gd name="connsiteY33" fmla="*/ 578104 h 930285"/>
                  <a:gd name="connsiteX34" fmla="*/ 514601 w 1206396"/>
                  <a:gd name="connsiteY34" fmla="*/ 576120 h 930285"/>
                  <a:gd name="connsiteX35" fmla="*/ 563687 w 1206396"/>
                  <a:gd name="connsiteY35" fmla="*/ 580913 h 930285"/>
                  <a:gd name="connsiteX36" fmla="*/ 603352 w 1206396"/>
                  <a:gd name="connsiteY36" fmla="*/ 607852 h 930285"/>
                  <a:gd name="connsiteX37" fmla="*/ 613764 w 1206396"/>
                  <a:gd name="connsiteY37" fmla="*/ 619586 h 930285"/>
                  <a:gd name="connsiteX38" fmla="*/ 626655 w 1206396"/>
                  <a:gd name="connsiteY38" fmla="*/ 607356 h 930285"/>
                  <a:gd name="connsiteX39" fmla="*/ 931083 w 1206396"/>
                  <a:gd name="connsiteY39" fmla="*/ 527200 h 930285"/>
                  <a:gd name="connsiteX40" fmla="*/ 1206092 w 1206396"/>
                  <a:gd name="connsiteY40" fmla="*/ 887655 h 930285"/>
                  <a:gd name="connsiteX41" fmla="*/ 1197663 w 1206396"/>
                  <a:gd name="connsiteY41" fmla="*/ 919882 h 930285"/>
                  <a:gd name="connsiteX42" fmla="*/ 1191383 w 1206396"/>
                  <a:gd name="connsiteY42" fmla="*/ 925336 h 930285"/>
                  <a:gd name="connsiteX43" fmla="*/ 1191383 w 1206396"/>
                  <a:gd name="connsiteY43" fmla="*/ 925336 h 93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06396" h="930285">
                    <a:moveTo>
                      <a:pt x="1191549" y="925501"/>
                    </a:moveTo>
                    <a:cubicBezTo>
                      <a:pt x="1176509" y="934261"/>
                      <a:pt x="1161635" y="930790"/>
                      <a:pt x="1154363" y="916742"/>
                    </a:cubicBezTo>
                    <a:cubicBezTo>
                      <a:pt x="1151388" y="910958"/>
                      <a:pt x="1150892" y="906826"/>
                      <a:pt x="1151553" y="894100"/>
                    </a:cubicBezTo>
                    <a:cubicBezTo>
                      <a:pt x="1157668" y="776262"/>
                      <a:pt x="1094535" y="664375"/>
                      <a:pt x="990415" y="608183"/>
                    </a:cubicBezTo>
                    <a:cubicBezTo>
                      <a:pt x="899681" y="559263"/>
                      <a:pt x="793908" y="561411"/>
                      <a:pt x="706811" y="614132"/>
                    </a:cubicBezTo>
                    <a:cubicBezTo>
                      <a:pt x="694911" y="621239"/>
                      <a:pt x="690119" y="625371"/>
                      <a:pt x="666981" y="647186"/>
                    </a:cubicBezTo>
                    <a:cubicBezTo>
                      <a:pt x="643843" y="669167"/>
                      <a:pt x="639546" y="673795"/>
                      <a:pt x="630621" y="686356"/>
                    </a:cubicBezTo>
                    <a:cubicBezTo>
                      <a:pt x="624672" y="694784"/>
                      <a:pt x="619052" y="701726"/>
                      <a:pt x="616573" y="703048"/>
                    </a:cubicBezTo>
                    <a:cubicBezTo>
                      <a:pt x="605335" y="709824"/>
                      <a:pt x="590626" y="708006"/>
                      <a:pt x="582032" y="698916"/>
                    </a:cubicBezTo>
                    <a:cubicBezTo>
                      <a:pt x="575421" y="691975"/>
                      <a:pt x="573107" y="685033"/>
                      <a:pt x="572777" y="671647"/>
                    </a:cubicBezTo>
                    <a:cubicBezTo>
                      <a:pt x="572446" y="658425"/>
                      <a:pt x="567819" y="647517"/>
                      <a:pt x="558894" y="640245"/>
                    </a:cubicBezTo>
                    <a:cubicBezTo>
                      <a:pt x="538566" y="623387"/>
                      <a:pt x="510966" y="627189"/>
                      <a:pt x="492621" y="649500"/>
                    </a:cubicBezTo>
                    <a:cubicBezTo>
                      <a:pt x="477912" y="667349"/>
                      <a:pt x="459071" y="670159"/>
                      <a:pt x="446014" y="656441"/>
                    </a:cubicBezTo>
                    <a:cubicBezTo>
                      <a:pt x="441552" y="651649"/>
                      <a:pt x="438082" y="642228"/>
                      <a:pt x="438577" y="636279"/>
                    </a:cubicBezTo>
                    <a:cubicBezTo>
                      <a:pt x="438743" y="634295"/>
                      <a:pt x="440560" y="627023"/>
                      <a:pt x="442709" y="620082"/>
                    </a:cubicBezTo>
                    <a:cubicBezTo>
                      <a:pt x="445188" y="611984"/>
                      <a:pt x="446676" y="600911"/>
                      <a:pt x="446841" y="588185"/>
                    </a:cubicBezTo>
                    <a:cubicBezTo>
                      <a:pt x="447171" y="571823"/>
                      <a:pt x="446510" y="566369"/>
                      <a:pt x="442544" y="553644"/>
                    </a:cubicBezTo>
                    <a:cubicBezTo>
                      <a:pt x="436429" y="534142"/>
                      <a:pt x="427669" y="520094"/>
                      <a:pt x="413787" y="507368"/>
                    </a:cubicBezTo>
                    <a:cubicBezTo>
                      <a:pt x="375775" y="472330"/>
                      <a:pt x="319252" y="467207"/>
                      <a:pt x="264878" y="493981"/>
                    </a:cubicBezTo>
                    <a:cubicBezTo>
                      <a:pt x="247690" y="502410"/>
                      <a:pt x="241906" y="503732"/>
                      <a:pt x="231659" y="501088"/>
                    </a:cubicBezTo>
                    <a:cubicBezTo>
                      <a:pt x="221412" y="498443"/>
                      <a:pt x="215628" y="495138"/>
                      <a:pt x="207695" y="486709"/>
                    </a:cubicBezTo>
                    <a:cubicBezTo>
                      <a:pt x="197613" y="476132"/>
                      <a:pt x="171996" y="440103"/>
                      <a:pt x="150677" y="406884"/>
                    </a:cubicBezTo>
                    <a:cubicBezTo>
                      <a:pt x="116300" y="352840"/>
                      <a:pt x="74818" y="266404"/>
                      <a:pt x="45234" y="186909"/>
                    </a:cubicBezTo>
                    <a:cubicBezTo>
                      <a:pt x="27716" y="139807"/>
                      <a:pt x="1768" y="49569"/>
                      <a:pt x="115" y="30398"/>
                    </a:cubicBezTo>
                    <a:cubicBezTo>
                      <a:pt x="-2198" y="3128"/>
                      <a:pt x="30856" y="-10920"/>
                      <a:pt x="47383" y="10235"/>
                    </a:cubicBezTo>
                    <a:cubicBezTo>
                      <a:pt x="51019" y="14863"/>
                      <a:pt x="53498" y="22134"/>
                      <a:pt x="59117" y="45272"/>
                    </a:cubicBezTo>
                    <a:cubicBezTo>
                      <a:pt x="76966" y="117330"/>
                      <a:pt x="103079" y="191536"/>
                      <a:pt x="134150" y="257645"/>
                    </a:cubicBezTo>
                    <a:cubicBezTo>
                      <a:pt x="159601" y="312018"/>
                      <a:pt x="185549" y="355485"/>
                      <a:pt x="229510" y="417791"/>
                    </a:cubicBezTo>
                    <a:lnTo>
                      <a:pt x="246203" y="441260"/>
                    </a:lnTo>
                    <a:lnTo>
                      <a:pt x="251657" y="439111"/>
                    </a:lnTo>
                    <a:cubicBezTo>
                      <a:pt x="294296" y="422584"/>
                      <a:pt x="327020" y="418287"/>
                      <a:pt x="363545" y="424402"/>
                    </a:cubicBezTo>
                    <a:cubicBezTo>
                      <a:pt x="400565" y="430683"/>
                      <a:pt x="432297" y="447375"/>
                      <a:pt x="457583" y="473983"/>
                    </a:cubicBezTo>
                    <a:cubicBezTo>
                      <a:pt x="482374" y="500096"/>
                      <a:pt x="496918" y="530506"/>
                      <a:pt x="500884" y="564386"/>
                    </a:cubicBezTo>
                    <a:cubicBezTo>
                      <a:pt x="501710" y="571989"/>
                      <a:pt x="502702" y="578104"/>
                      <a:pt x="503033" y="578104"/>
                    </a:cubicBezTo>
                    <a:cubicBezTo>
                      <a:pt x="503528" y="577938"/>
                      <a:pt x="508487" y="577277"/>
                      <a:pt x="514601" y="576120"/>
                    </a:cubicBezTo>
                    <a:cubicBezTo>
                      <a:pt x="529972" y="573476"/>
                      <a:pt x="548813" y="575294"/>
                      <a:pt x="563687" y="580913"/>
                    </a:cubicBezTo>
                    <a:cubicBezTo>
                      <a:pt x="581701" y="587524"/>
                      <a:pt x="590957" y="593804"/>
                      <a:pt x="603352" y="607852"/>
                    </a:cubicBezTo>
                    <a:lnTo>
                      <a:pt x="613764" y="619586"/>
                    </a:lnTo>
                    <a:lnTo>
                      <a:pt x="626655" y="607356"/>
                    </a:lnTo>
                    <a:cubicBezTo>
                      <a:pt x="706646" y="531332"/>
                      <a:pt x="821178" y="501253"/>
                      <a:pt x="931083" y="527200"/>
                    </a:cubicBezTo>
                    <a:cubicBezTo>
                      <a:pt x="1095196" y="566039"/>
                      <a:pt x="1213199" y="720732"/>
                      <a:pt x="1206092" y="887655"/>
                    </a:cubicBezTo>
                    <a:cubicBezTo>
                      <a:pt x="1205266" y="906330"/>
                      <a:pt x="1204109" y="911123"/>
                      <a:pt x="1197663" y="919882"/>
                    </a:cubicBezTo>
                    <a:cubicBezTo>
                      <a:pt x="1196341" y="921535"/>
                      <a:pt x="1193532" y="924014"/>
                      <a:pt x="1191383" y="925336"/>
                    </a:cubicBezTo>
                    <a:lnTo>
                      <a:pt x="1191383" y="925336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B9F50876-5FB8-06AC-4A5D-E663B129ECD8}"/>
                  </a:ext>
                </a:extLst>
              </p:cNvPr>
              <p:cNvSpPr/>
              <p:nvPr/>
            </p:nvSpPr>
            <p:spPr>
              <a:xfrm>
                <a:off x="9263243" y="4301106"/>
                <a:ext cx="876635" cy="818369"/>
              </a:xfrm>
              <a:custGeom>
                <a:avLst/>
                <a:gdLst>
                  <a:gd name="connsiteX0" fmla="*/ 860109 w 876635"/>
                  <a:gd name="connsiteY0" fmla="*/ 816416 h 818369"/>
                  <a:gd name="connsiteX1" fmla="*/ 836971 w 876635"/>
                  <a:gd name="connsiteY1" fmla="*/ 815425 h 818369"/>
                  <a:gd name="connsiteX2" fmla="*/ 820444 w 876635"/>
                  <a:gd name="connsiteY2" fmla="*/ 779231 h 818369"/>
                  <a:gd name="connsiteX3" fmla="*/ 793505 w 876635"/>
                  <a:gd name="connsiteY3" fmla="*/ 705024 h 818369"/>
                  <a:gd name="connsiteX4" fmla="*/ 747890 w 876635"/>
                  <a:gd name="connsiteY4" fmla="*/ 655774 h 818369"/>
                  <a:gd name="connsiteX5" fmla="*/ 546591 w 876635"/>
                  <a:gd name="connsiteY5" fmla="*/ 654451 h 818369"/>
                  <a:gd name="connsiteX6" fmla="*/ 510397 w 876635"/>
                  <a:gd name="connsiteY6" fmla="*/ 684035 h 818369"/>
                  <a:gd name="connsiteX7" fmla="*/ 478169 w 876635"/>
                  <a:gd name="connsiteY7" fmla="*/ 719568 h 818369"/>
                  <a:gd name="connsiteX8" fmla="*/ 461146 w 876635"/>
                  <a:gd name="connsiteY8" fmla="*/ 737086 h 818369"/>
                  <a:gd name="connsiteX9" fmla="*/ 434868 w 876635"/>
                  <a:gd name="connsiteY9" fmla="*/ 735764 h 818369"/>
                  <a:gd name="connsiteX10" fmla="*/ 421647 w 876635"/>
                  <a:gd name="connsiteY10" fmla="*/ 712296 h 818369"/>
                  <a:gd name="connsiteX11" fmla="*/ 411070 w 876635"/>
                  <a:gd name="connsiteY11" fmla="*/ 692133 h 818369"/>
                  <a:gd name="connsiteX12" fmla="*/ 377354 w 876635"/>
                  <a:gd name="connsiteY12" fmla="*/ 683209 h 818369"/>
                  <a:gd name="connsiteX13" fmla="*/ 340003 w 876635"/>
                  <a:gd name="connsiteY13" fmla="*/ 664533 h 818369"/>
                  <a:gd name="connsiteX14" fmla="*/ 342152 w 876635"/>
                  <a:gd name="connsiteY14" fmla="*/ 641395 h 818369"/>
                  <a:gd name="connsiteX15" fmla="*/ 348101 w 876635"/>
                  <a:gd name="connsiteY15" fmla="*/ 627347 h 818369"/>
                  <a:gd name="connsiteX16" fmla="*/ 278357 w 876635"/>
                  <a:gd name="connsiteY16" fmla="*/ 523557 h 818369"/>
                  <a:gd name="connsiteX17" fmla="*/ 218199 w 876635"/>
                  <a:gd name="connsiteY17" fmla="*/ 543720 h 818369"/>
                  <a:gd name="connsiteX18" fmla="*/ 202829 w 876635"/>
                  <a:gd name="connsiteY18" fmla="*/ 552976 h 818369"/>
                  <a:gd name="connsiteX19" fmla="*/ 165147 w 876635"/>
                  <a:gd name="connsiteY19" fmla="*/ 541406 h 818369"/>
                  <a:gd name="connsiteX20" fmla="*/ 129118 w 876635"/>
                  <a:gd name="connsiteY20" fmla="*/ 471828 h 818369"/>
                  <a:gd name="connsiteX21" fmla="*/ 3183 w 876635"/>
                  <a:gd name="connsiteY21" fmla="*/ 65098 h 818369"/>
                  <a:gd name="connsiteX22" fmla="*/ 3513 w 876635"/>
                  <a:gd name="connsiteY22" fmla="*/ 12707 h 818369"/>
                  <a:gd name="connsiteX23" fmla="*/ 43343 w 876635"/>
                  <a:gd name="connsiteY23" fmla="*/ 6923 h 818369"/>
                  <a:gd name="connsiteX24" fmla="*/ 55408 w 876635"/>
                  <a:gd name="connsiteY24" fmla="*/ 42456 h 818369"/>
                  <a:gd name="connsiteX25" fmla="*/ 158041 w 876635"/>
                  <a:gd name="connsiteY25" fmla="*/ 402249 h 818369"/>
                  <a:gd name="connsiteX26" fmla="*/ 197540 w 876635"/>
                  <a:gd name="connsiteY26" fmla="*/ 488355 h 818369"/>
                  <a:gd name="connsiteX27" fmla="*/ 208448 w 876635"/>
                  <a:gd name="connsiteY27" fmla="*/ 484223 h 818369"/>
                  <a:gd name="connsiteX28" fmla="*/ 342152 w 876635"/>
                  <a:gd name="connsiteY28" fmla="*/ 487363 h 818369"/>
                  <a:gd name="connsiteX29" fmla="*/ 401484 w 876635"/>
                  <a:gd name="connsiteY29" fmla="*/ 562892 h 818369"/>
                  <a:gd name="connsiteX30" fmla="*/ 406938 w 876635"/>
                  <a:gd name="connsiteY30" fmla="*/ 615117 h 818369"/>
                  <a:gd name="connsiteX31" fmla="*/ 405450 w 876635"/>
                  <a:gd name="connsiteY31" fmla="*/ 627182 h 818369"/>
                  <a:gd name="connsiteX32" fmla="*/ 417515 w 876635"/>
                  <a:gd name="connsiteY32" fmla="*/ 631644 h 818369"/>
                  <a:gd name="connsiteX33" fmla="*/ 452057 w 876635"/>
                  <a:gd name="connsiteY33" fmla="*/ 653295 h 818369"/>
                  <a:gd name="connsiteX34" fmla="*/ 456684 w 876635"/>
                  <a:gd name="connsiteY34" fmla="*/ 658253 h 818369"/>
                  <a:gd name="connsiteX35" fmla="*/ 466931 w 876635"/>
                  <a:gd name="connsiteY35" fmla="*/ 647841 h 818369"/>
                  <a:gd name="connsiteX36" fmla="*/ 544773 w 876635"/>
                  <a:gd name="connsiteY36" fmla="*/ 593467 h 818369"/>
                  <a:gd name="connsiteX37" fmla="*/ 777969 w 876635"/>
                  <a:gd name="connsiteY37" fmla="*/ 609829 h 818369"/>
                  <a:gd name="connsiteX38" fmla="*/ 839119 w 876635"/>
                  <a:gd name="connsiteY38" fmla="*/ 674284 h 818369"/>
                  <a:gd name="connsiteX39" fmla="*/ 876636 w 876635"/>
                  <a:gd name="connsiteY39" fmla="*/ 788155 h 818369"/>
                  <a:gd name="connsiteX40" fmla="*/ 859943 w 876635"/>
                  <a:gd name="connsiteY40" fmla="*/ 816747 h 818369"/>
                  <a:gd name="connsiteX41" fmla="*/ 859943 w 876635"/>
                  <a:gd name="connsiteY41" fmla="*/ 816747 h 8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876635" h="818369">
                    <a:moveTo>
                      <a:pt x="860109" y="816416"/>
                    </a:moveTo>
                    <a:cubicBezTo>
                      <a:pt x="854324" y="819391"/>
                      <a:pt x="842755" y="818895"/>
                      <a:pt x="836971" y="815425"/>
                    </a:cubicBezTo>
                    <a:cubicBezTo>
                      <a:pt x="828212" y="810136"/>
                      <a:pt x="824080" y="801046"/>
                      <a:pt x="820444" y="779231"/>
                    </a:cubicBezTo>
                    <a:cubicBezTo>
                      <a:pt x="815816" y="750969"/>
                      <a:pt x="807057" y="726840"/>
                      <a:pt x="793505" y="705024"/>
                    </a:cubicBezTo>
                    <a:cubicBezTo>
                      <a:pt x="785076" y="691472"/>
                      <a:pt x="759459" y="663707"/>
                      <a:pt x="747890" y="655774"/>
                    </a:cubicBezTo>
                    <a:cubicBezTo>
                      <a:pt x="687567" y="614622"/>
                      <a:pt x="613856" y="614126"/>
                      <a:pt x="546591" y="654451"/>
                    </a:cubicBezTo>
                    <a:cubicBezTo>
                      <a:pt x="534526" y="661723"/>
                      <a:pt x="529899" y="665525"/>
                      <a:pt x="510397" y="684035"/>
                    </a:cubicBezTo>
                    <a:cubicBezTo>
                      <a:pt x="491226" y="702215"/>
                      <a:pt x="486598" y="707338"/>
                      <a:pt x="478169" y="719568"/>
                    </a:cubicBezTo>
                    <a:cubicBezTo>
                      <a:pt x="468749" y="733120"/>
                      <a:pt x="467922" y="733947"/>
                      <a:pt x="461146" y="737086"/>
                    </a:cubicBezTo>
                    <a:cubicBezTo>
                      <a:pt x="452718" y="741053"/>
                      <a:pt x="442636" y="740557"/>
                      <a:pt x="434868" y="735764"/>
                    </a:cubicBezTo>
                    <a:cubicBezTo>
                      <a:pt x="427597" y="731302"/>
                      <a:pt x="424787" y="726344"/>
                      <a:pt x="421647" y="712296"/>
                    </a:cubicBezTo>
                    <a:cubicBezTo>
                      <a:pt x="419168" y="701058"/>
                      <a:pt x="418507" y="699901"/>
                      <a:pt x="411070" y="692133"/>
                    </a:cubicBezTo>
                    <a:cubicBezTo>
                      <a:pt x="400823" y="681225"/>
                      <a:pt x="393881" y="679573"/>
                      <a:pt x="377354" y="683209"/>
                    </a:cubicBezTo>
                    <a:cubicBezTo>
                      <a:pt x="358183" y="687505"/>
                      <a:pt x="344796" y="680895"/>
                      <a:pt x="340003" y="664533"/>
                    </a:cubicBezTo>
                    <a:cubicBezTo>
                      <a:pt x="338020" y="657922"/>
                      <a:pt x="339342" y="644040"/>
                      <a:pt x="342152" y="641395"/>
                    </a:cubicBezTo>
                    <a:cubicBezTo>
                      <a:pt x="342813" y="640734"/>
                      <a:pt x="345622" y="634454"/>
                      <a:pt x="348101" y="627347"/>
                    </a:cubicBezTo>
                    <a:cubicBezTo>
                      <a:pt x="365620" y="578592"/>
                      <a:pt x="330748" y="526532"/>
                      <a:pt x="278357" y="523557"/>
                    </a:cubicBezTo>
                    <a:cubicBezTo>
                      <a:pt x="255715" y="522235"/>
                      <a:pt x="237370" y="528350"/>
                      <a:pt x="218199" y="543720"/>
                    </a:cubicBezTo>
                    <a:cubicBezTo>
                      <a:pt x="212745" y="548018"/>
                      <a:pt x="206300" y="551984"/>
                      <a:pt x="202829" y="552976"/>
                    </a:cubicBezTo>
                    <a:cubicBezTo>
                      <a:pt x="190930" y="556446"/>
                      <a:pt x="174898" y="551653"/>
                      <a:pt x="165147" y="541406"/>
                    </a:cubicBezTo>
                    <a:cubicBezTo>
                      <a:pt x="159693" y="535787"/>
                      <a:pt x="149447" y="515624"/>
                      <a:pt x="129118" y="471828"/>
                    </a:cubicBezTo>
                    <a:cubicBezTo>
                      <a:pt x="67803" y="339281"/>
                      <a:pt x="20371" y="185910"/>
                      <a:pt x="3183" y="65098"/>
                    </a:cubicBezTo>
                    <a:cubicBezTo>
                      <a:pt x="-1114" y="34357"/>
                      <a:pt x="-1114" y="20475"/>
                      <a:pt x="3513" y="12707"/>
                    </a:cubicBezTo>
                    <a:cubicBezTo>
                      <a:pt x="12272" y="-1506"/>
                      <a:pt x="30948" y="-4316"/>
                      <a:pt x="43343" y="6923"/>
                    </a:cubicBezTo>
                    <a:cubicBezTo>
                      <a:pt x="50946" y="13699"/>
                      <a:pt x="52598" y="18822"/>
                      <a:pt x="55408" y="42456"/>
                    </a:cubicBezTo>
                    <a:cubicBezTo>
                      <a:pt x="67638" y="143766"/>
                      <a:pt x="105320" y="275817"/>
                      <a:pt x="158041" y="402249"/>
                    </a:cubicBezTo>
                    <a:cubicBezTo>
                      <a:pt x="167792" y="425387"/>
                      <a:pt x="195722" y="486372"/>
                      <a:pt x="197540" y="488355"/>
                    </a:cubicBezTo>
                    <a:cubicBezTo>
                      <a:pt x="198201" y="489016"/>
                      <a:pt x="202994" y="487198"/>
                      <a:pt x="208448" y="484223"/>
                    </a:cubicBezTo>
                    <a:cubicBezTo>
                      <a:pt x="247783" y="462407"/>
                      <a:pt x="302487" y="463730"/>
                      <a:pt x="342152" y="487363"/>
                    </a:cubicBezTo>
                    <a:cubicBezTo>
                      <a:pt x="371735" y="505212"/>
                      <a:pt x="391402" y="530003"/>
                      <a:pt x="401484" y="562892"/>
                    </a:cubicBezTo>
                    <a:cubicBezTo>
                      <a:pt x="407268" y="581732"/>
                      <a:pt x="409086" y="598590"/>
                      <a:pt x="406938" y="615117"/>
                    </a:cubicBezTo>
                    <a:lnTo>
                      <a:pt x="405450" y="627182"/>
                    </a:lnTo>
                    <a:lnTo>
                      <a:pt x="417515" y="631644"/>
                    </a:lnTo>
                    <a:cubicBezTo>
                      <a:pt x="430241" y="636272"/>
                      <a:pt x="444124" y="645031"/>
                      <a:pt x="452057" y="653295"/>
                    </a:cubicBezTo>
                    <a:lnTo>
                      <a:pt x="456684" y="658253"/>
                    </a:lnTo>
                    <a:lnTo>
                      <a:pt x="466931" y="647841"/>
                    </a:lnTo>
                    <a:cubicBezTo>
                      <a:pt x="486433" y="628008"/>
                      <a:pt x="517338" y="606358"/>
                      <a:pt x="544773" y="593467"/>
                    </a:cubicBezTo>
                    <a:cubicBezTo>
                      <a:pt x="622946" y="556942"/>
                      <a:pt x="708721" y="562892"/>
                      <a:pt x="777969" y="609829"/>
                    </a:cubicBezTo>
                    <a:cubicBezTo>
                      <a:pt x="793505" y="620241"/>
                      <a:pt x="829369" y="658087"/>
                      <a:pt x="839119" y="674284"/>
                    </a:cubicBezTo>
                    <a:cubicBezTo>
                      <a:pt x="859778" y="708164"/>
                      <a:pt x="876305" y="758572"/>
                      <a:pt x="876636" y="788155"/>
                    </a:cubicBezTo>
                    <a:cubicBezTo>
                      <a:pt x="876636" y="800715"/>
                      <a:pt x="870521" y="811293"/>
                      <a:pt x="859943" y="816747"/>
                    </a:cubicBezTo>
                    <a:lnTo>
                      <a:pt x="859943" y="816747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4C5EB60D-6D83-6546-8146-F358D82B4788}"/>
                  </a:ext>
                </a:extLst>
              </p:cNvPr>
              <p:cNvSpPr/>
              <p:nvPr/>
            </p:nvSpPr>
            <p:spPr>
              <a:xfrm>
                <a:off x="8094383" y="4297816"/>
                <a:ext cx="893895" cy="798957"/>
              </a:xfrm>
              <a:custGeom>
                <a:avLst/>
                <a:gdLst>
                  <a:gd name="connsiteX0" fmla="*/ 708790 w 893895"/>
                  <a:gd name="connsiteY0" fmla="*/ 544201 h 798957"/>
                  <a:gd name="connsiteX1" fmla="*/ 678050 w 893895"/>
                  <a:gd name="connsiteY1" fmla="*/ 548003 h 798957"/>
                  <a:gd name="connsiteX2" fmla="*/ 661853 w 893895"/>
                  <a:gd name="connsiteY2" fmla="*/ 537260 h 798957"/>
                  <a:gd name="connsiteX3" fmla="*/ 607480 w 893895"/>
                  <a:gd name="connsiteY3" fmla="*/ 517097 h 798957"/>
                  <a:gd name="connsiteX4" fmla="*/ 549139 w 893895"/>
                  <a:gd name="connsiteY4" fmla="*/ 542383 h 798957"/>
                  <a:gd name="connsiteX5" fmla="*/ 534595 w 893895"/>
                  <a:gd name="connsiteY5" fmla="*/ 626671 h 798957"/>
                  <a:gd name="connsiteX6" fmla="*/ 529802 w 893895"/>
                  <a:gd name="connsiteY6" fmla="*/ 669972 h 798957"/>
                  <a:gd name="connsiteX7" fmla="*/ 499558 w 893895"/>
                  <a:gd name="connsiteY7" fmla="*/ 674104 h 798957"/>
                  <a:gd name="connsiteX8" fmla="*/ 467826 w 893895"/>
                  <a:gd name="connsiteY8" fmla="*/ 681376 h 798957"/>
                  <a:gd name="connsiteX9" fmla="*/ 458406 w 893895"/>
                  <a:gd name="connsiteY9" fmla="*/ 696415 h 798957"/>
                  <a:gd name="connsiteX10" fmla="*/ 445184 w 893895"/>
                  <a:gd name="connsiteY10" fmla="*/ 723189 h 798957"/>
                  <a:gd name="connsiteX11" fmla="*/ 416758 w 893895"/>
                  <a:gd name="connsiteY11" fmla="*/ 726494 h 798957"/>
                  <a:gd name="connsiteX12" fmla="*/ 400231 w 893895"/>
                  <a:gd name="connsiteY12" fmla="*/ 709141 h 798957"/>
                  <a:gd name="connsiteX13" fmla="*/ 339246 w 893895"/>
                  <a:gd name="connsiteY13" fmla="*/ 646008 h 798957"/>
                  <a:gd name="connsiteX14" fmla="*/ 231986 w 893895"/>
                  <a:gd name="connsiteY14" fmla="*/ 609814 h 798957"/>
                  <a:gd name="connsiteX15" fmla="*/ 74979 w 893895"/>
                  <a:gd name="connsiteY15" fmla="*/ 703357 h 798957"/>
                  <a:gd name="connsiteX16" fmla="*/ 56138 w 893895"/>
                  <a:gd name="connsiteY16" fmla="*/ 759879 h 798957"/>
                  <a:gd name="connsiteX17" fmla="*/ 43247 w 893895"/>
                  <a:gd name="connsiteY17" fmla="*/ 792272 h 798957"/>
                  <a:gd name="connsiteX18" fmla="*/ 1103 w 893895"/>
                  <a:gd name="connsiteY18" fmla="*/ 778224 h 798957"/>
                  <a:gd name="connsiteX19" fmla="*/ 27546 w 893895"/>
                  <a:gd name="connsiteY19" fmla="*/ 675757 h 798957"/>
                  <a:gd name="connsiteX20" fmla="*/ 73161 w 893895"/>
                  <a:gd name="connsiteY20" fmla="*/ 617085 h 798957"/>
                  <a:gd name="connsiteX21" fmla="*/ 108363 w 893895"/>
                  <a:gd name="connsiteY21" fmla="*/ 588163 h 798957"/>
                  <a:gd name="connsiteX22" fmla="*/ 248182 w 893895"/>
                  <a:gd name="connsiteY22" fmla="*/ 555605 h 798957"/>
                  <a:gd name="connsiteX23" fmla="*/ 371308 w 893895"/>
                  <a:gd name="connsiteY23" fmla="*/ 601881 h 798957"/>
                  <a:gd name="connsiteX24" fmla="*/ 418080 w 893895"/>
                  <a:gd name="connsiteY24" fmla="*/ 642537 h 798957"/>
                  <a:gd name="connsiteX25" fmla="*/ 422377 w 893895"/>
                  <a:gd name="connsiteY25" fmla="*/ 647826 h 798957"/>
                  <a:gd name="connsiteX26" fmla="*/ 428492 w 893895"/>
                  <a:gd name="connsiteY26" fmla="*/ 642041 h 798957"/>
                  <a:gd name="connsiteX27" fmla="*/ 462207 w 893895"/>
                  <a:gd name="connsiteY27" fmla="*/ 622044 h 798957"/>
                  <a:gd name="connsiteX28" fmla="*/ 474602 w 893895"/>
                  <a:gd name="connsiteY28" fmla="*/ 617912 h 798957"/>
                  <a:gd name="connsiteX29" fmla="*/ 473776 w 893895"/>
                  <a:gd name="connsiteY29" fmla="*/ 612623 h 798957"/>
                  <a:gd name="connsiteX30" fmla="*/ 477908 w 893895"/>
                  <a:gd name="connsiteY30" fmla="*/ 559406 h 798957"/>
                  <a:gd name="connsiteX31" fmla="*/ 525010 w 893895"/>
                  <a:gd name="connsiteY31" fmla="*/ 489993 h 798957"/>
                  <a:gd name="connsiteX32" fmla="*/ 655573 w 893895"/>
                  <a:gd name="connsiteY32" fmla="*/ 470987 h 798957"/>
                  <a:gd name="connsiteX33" fmla="*/ 677389 w 893895"/>
                  <a:gd name="connsiteY33" fmla="*/ 480737 h 798957"/>
                  <a:gd name="connsiteX34" fmla="*/ 684991 w 893895"/>
                  <a:gd name="connsiteY34" fmla="*/ 485200 h 798957"/>
                  <a:gd name="connsiteX35" fmla="*/ 693751 w 893895"/>
                  <a:gd name="connsiteY35" fmla="*/ 467846 h 798957"/>
                  <a:gd name="connsiteX36" fmla="*/ 772584 w 893895"/>
                  <a:gd name="connsiteY36" fmla="*/ 284397 h 798957"/>
                  <a:gd name="connsiteX37" fmla="*/ 837536 w 893895"/>
                  <a:gd name="connsiteY37" fmla="*/ 41615 h 798957"/>
                  <a:gd name="connsiteX38" fmla="*/ 842824 w 893895"/>
                  <a:gd name="connsiteY38" fmla="*/ 16163 h 798957"/>
                  <a:gd name="connsiteX39" fmla="*/ 892571 w 893895"/>
                  <a:gd name="connsiteY39" fmla="*/ 19138 h 798957"/>
                  <a:gd name="connsiteX40" fmla="*/ 888604 w 893895"/>
                  <a:gd name="connsiteY40" fmla="*/ 70537 h 798957"/>
                  <a:gd name="connsiteX41" fmla="*/ 735234 w 893895"/>
                  <a:gd name="connsiteY41" fmla="*/ 507181 h 798957"/>
                  <a:gd name="connsiteX42" fmla="*/ 708790 w 893895"/>
                  <a:gd name="connsiteY42" fmla="*/ 544201 h 798957"/>
                  <a:gd name="connsiteX43" fmla="*/ 708790 w 893895"/>
                  <a:gd name="connsiteY43" fmla="*/ 544201 h 79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893895" h="798957">
                    <a:moveTo>
                      <a:pt x="708790" y="544201"/>
                    </a:moveTo>
                    <a:cubicBezTo>
                      <a:pt x="697552" y="550316"/>
                      <a:pt x="687636" y="551473"/>
                      <a:pt x="678050" y="548003"/>
                    </a:cubicBezTo>
                    <a:cubicBezTo>
                      <a:pt x="674414" y="546680"/>
                      <a:pt x="667638" y="542218"/>
                      <a:pt x="661853" y="537260"/>
                    </a:cubicBezTo>
                    <a:cubicBezTo>
                      <a:pt x="645161" y="522882"/>
                      <a:pt x="629626" y="517097"/>
                      <a:pt x="607480" y="517097"/>
                    </a:cubicBezTo>
                    <a:cubicBezTo>
                      <a:pt x="584838" y="517097"/>
                      <a:pt x="564840" y="525691"/>
                      <a:pt x="549139" y="542383"/>
                    </a:cubicBezTo>
                    <a:cubicBezTo>
                      <a:pt x="527158" y="565687"/>
                      <a:pt x="522035" y="596096"/>
                      <a:pt x="534595" y="626671"/>
                    </a:cubicBezTo>
                    <a:cubicBezTo>
                      <a:pt x="543685" y="648322"/>
                      <a:pt x="542363" y="659560"/>
                      <a:pt x="529802" y="669972"/>
                    </a:cubicBezTo>
                    <a:cubicBezTo>
                      <a:pt x="521374" y="676913"/>
                      <a:pt x="513771" y="677905"/>
                      <a:pt x="499558" y="674104"/>
                    </a:cubicBezTo>
                    <a:cubicBezTo>
                      <a:pt x="485841" y="670302"/>
                      <a:pt x="477412" y="672286"/>
                      <a:pt x="467826" y="681376"/>
                    </a:cubicBezTo>
                    <a:cubicBezTo>
                      <a:pt x="462042" y="686829"/>
                      <a:pt x="460389" y="689639"/>
                      <a:pt x="458406" y="696415"/>
                    </a:cubicBezTo>
                    <a:cubicBezTo>
                      <a:pt x="452291" y="717239"/>
                      <a:pt x="452291" y="717405"/>
                      <a:pt x="445184" y="723189"/>
                    </a:cubicBezTo>
                    <a:cubicBezTo>
                      <a:pt x="436425" y="730296"/>
                      <a:pt x="427004" y="731453"/>
                      <a:pt x="416758" y="726494"/>
                    </a:cubicBezTo>
                    <a:cubicBezTo>
                      <a:pt x="409816" y="723189"/>
                      <a:pt x="409320" y="722693"/>
                      <a:pt x="400231" y="709141"/>
                    </a:cubicBezTo>
                    <a:cubicBezTo>
                      <a:pt x="386513" y="688648"/>
                      <a:pt x="356930" y="658238"/>
                      <a:pt x="339246" y="646008"/>
                    </a:cubicBezTo>
                    <a:cubicBezTo>
                      <a:pt x="304705" y="622374"/>
                      <a:pt x="270328" y="610805"/>
                      <a:pt x="231986" y="609814"/>
                    </a:cubicBezTo>
                    <a:cubicBezTo>
                      <a:pt x="164555" y="608161"/>
                      <a:pt x="106876" y="642372"/>
                      <a:pt x="74979" y="703357"/>
                    </a:cubicBezTo>
                    <a:cubicBezTo>
                      <a:pt x="67707" y="717239"/>
                      <a:pt x="58617" y="744344"/>
                      <a:pt x="56138" y="759879"/>
                    </a:cubicBezTo>
                    <a:cubicBezTo>
                      <a:pt x="53328" y="777067"/>
                      <a:pt x="49858" y="785826"/>
                      <a:pt x="43247" y="792272"/>
                    </a:cubicBezTo>
                    <a:cubicBezTo>
                      <a:pt x="29695" y="805493"/>
                      <a:pt x="7383" y="798221"/>
                      <a:pt x="1103" y="778224"/>
                    </a:cubicBezTo>
                    <a:cubicBezTo>
                      <a:pt x="-4020" y="762028"/>
                      <a:pt x="9367" y="709967"/>
                      <a:pt x="27546" y="675757"/>
                    </a:cubicBezTo>
                    <a:cubicBezTo>
                      <a:pt x="41264" y="649974"/>
                      <a:pt x="49031" y="639893"/>
                      <a:pt x="73161" y="617085"/>
                    </a:cubicBezTo>
                    <a:cubicBezTo>
                      <a:pt x="91671" y="599401"/>
                      <a:pt x="96960" y="595105"/>
                      <a:pt x="108363" y="588163"/>
                    </a:cubicBezTo>
                    <a:cubicBezTo>
                      <a:pt x="150838" y="562381"/>
                      <a:pt x="200584" y="550812"/>
                      <a:pt x="248182" y="555605"/>
                    </a:cubicBezTo>
                    <a:cubicBezTo>
                      <a:pt x="290822" y="559902"/>
                      <a:pt x="335445" y="576595"/>
                      <a:pt x="371308" y="601881"/>
                    </a:cubicBezTo>
                    <a:cubicBezTo>
                      <a:pt x="385687" y="611962"/>
                      <a:pt x="411634" y="634604"/>
                      <a:pt x="418080" y="642537"/>
                    </a:cubicBezTo>
                    <a:lnTo>
                      <a:pt x="422377" y="647826"/>
                    </a:lnTo>
                    <a:lnTo>
                      <a:pt x="428492" y="642041"/>
                    </a:lnTo>
                    <a:cubicBezTo>
                      <a:pt x="438078" y="632951"/>
                      <a:pt x="448820" y="626671"/>
                      <a:pt x="462207" y="622044"/>
                    </a:cubicBezTo>
                    <a:lnTo>
                      <a:pt x="474602" y="617912"/>
                    </a:lnTo>
                    <a:lnTo>
                      <a:pt x="473776" y="612623"/>
                    </a:lnTo>
                    <a:cubicBezTo>
                      <a:pt x="471958" y="601385"/>
                      <a:pt x="474272" y="572463"/>
                      <a:pt x="477908" y="559406"/>
                    </a:cubicBezTo>
                    <a:cubicBezTo>
                      <a:pt x="485675" y="532137"/>
                      <a:pt x="503194" y="506189"/>
                      <a:pt x="525010" y="489993"/>
                    </a:cubicBezTo>
                    <a:cubicBezTo>
                      <a:pt x="563518" y="461566"/>
                      <a:pt x="611611" y="454460"/>
                      <a:pt x="655573" y="470987"/>
                    </a:cubicBezTo>
                    <a:cubicBezTo>
                      <a:pt x="663341" y="473961"/>
                      <a:pt x="673092" y="478259"/>
                      <a:pt x="677389" y="480737"/>
                    </a:cubicBezTo>
                    <a:lnTo>
                      <a:pt x="684991" y="485200"/>
                    </a:lnTo>
                    <a:lnTo>
                      <a:pt x="693751" y="467846"/>
                    </a:lnTo>
                    <a:cubicBezTo>
                      <a:pt x="722673" y="410663"/>
                      <a:pt x="748455" y="351000"/>
                      <a:pt x="772584" y="284397"/>
                    </a:cubicBezTo>
                    <a:cubicBezTo>
                      <a:pt x="805969" y="192341"/>
                      <a:pt x="826628" y="115160"/>
                      <a:pt x="837536" y="41615"/>
                    </a:cubicBezTo>
                    <a:cubicBezTo>
                      <a:pt x="839188" y="30541"/>
                      <a:pt x="841667" y="18972"/>
                      <a:pt x="842824" y="16163"/>
                    </a:cubicBezTo>
                    <a:cubicBezTo>
                      <a:pt x="852906" y="-6810"/>
                      <a:pt x="884803" y="-4826"/>
                      <a:pt x="892571" y="19138"/>
                    </a:cubicBezTo>
                    <a:cubicBezTo>
                      <a:pt x="895050" y="26740"/>
                      <a:pt x="894223" y="36161"/>
                      <a:pt x="888604" y="70537"/>
                    </a:cubicBezTo>
                    <a:cubicBezTo>
                      <a:pt x="867119" y="198786"/>
                      <a:pt x="807457" y="368684"/>
                      <a:pt x="735234" y="507181"/>
                    </a:cubicBezTo>
                    <a:cubicBezTo>
                      <a:pt x="723003" y="530649"/>
                      <a:pt x="716227" y="540235"/>
                      <a:pt x="708790" y="544201"/>
                    </a:cubicBezTo>
                    <a:lnTo>
                      <a:pt x="708790" y="544201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E148B74-077C-E3D7-A9B2-3B9B718C8547}"/>
                  </a:ext>
                </a:extLst>
              </p:cNvPr>
              <p:cNvSpPr/>
              <p:nvPr/>
            </p:nvSpPr>
            <p:spPr>
              <a:xfrm>
                <a:off x="8262097" y="467263"/>
                <a:ext cx="1759274" cy="3892558"/>
              </a:xfrm>
              <a:custGeom>
                <a:avLst/>
                <a:gdLst>
                  <a:gd name="connsiteX0" fmla="*/ 1757135 w 1759274"/>
                  <a:gd name="connsiteY0" fmla="*/ 2427871 h 3892558"/>
                  <a:gd name="connsiteX1" fmla="*/ 1702430 w 1759274"/>
                  <a:gd name="connsiteY1" fmla="*/ 2290861 h 3892558"/>
                  <a:gd name="connsiteX2" fmla="*/ 1533854 w 1759274"/>
                  <a:gd name="connsiteY2" fmla="*/ 2059648 h 3892558"/>
                  <a:gd name="connsiteX3" fmla="*/ 1429239 w 1759274"/>
                  <a:gd name="connsiteY3" fmla="*/ 1952884 h 3892558"/>
                  <a:gd name="connsiteX4" fmla="*/ 1402795 w 1759274"/>
                  <a:gd name="connsiteY4" fmla="*/ 1921978 h 3892558"/>
                  <a:gd name="connsiteX5" fmla="*/ 1406596 w 1759274"/>
                  <a:gd name="connsiteY5" fmla="*/ 1872397 h 3892558"/>
                  <a:gd name="connsiteX6" fmla="*/ 1437998 w 1759274"/>
                  <a:gd name="connsiteY6" fmla="*/ 1357250 h 3892558"/>
                  <a:gd name="connsiteX7" fmla="*/ 1053083 w 1759274"/>
                  <a:gd name="connsiteY7" fmla="*/ 106485 h 3892558"/>
                  <a:gd name="connsiteX8" fmla="*/ 952599 w 1759274"/>
                  <a:gd name="connsiteY8" fmla="*/ 10793 h 3892558"/>
                  <a:gd name="connsiteX9" fmla="*/ 847653 w 1759274"/>
                  <a:gd name="connsiteY9" fmla="*/ 17073 h 3892558"/>
                  <a:gd name="connsiteX10" fmla="*/ 769976 w 1759274"/>
                  <a:gd name="connsiteY10" fmla="*/ 90619 h 3892558"/>
                  <a:gd name="connsiteX11" fmla="*/ 535127 w 1759274"/>
                  <a:gd name="connsiteY11" fmla="*/ 492225 h 3892558"/>
                  <a:gd name="connsiteX12" fmla="*/ 343248 w 1759274"/>
                  <a:gd name="connsiteY12" fmla="*/ 1422036 h 3892558"/>
                  <a:gd name="connsiteX13" fmla="*/ 343909 w 1759274"/>
                  <a:gd name="connsiteY13" fmla="*/ 1593256 h 3892558"/>
                  <a:gd name="connsiteX14" fmla="*/ 345562 w 1759274"/>
                  <a:gd name="connsiteY14" fmla="*/ 1633416 h 3892558"/>
                  <a:gd name="connsiteX15" fmla="*/ 365394 w 1759274"/>
                  <a:gd name="connsiteY15" fmla="*/ 1859671 h 3892558"/>
                  <a:gd name="connsiteX16" fmla="*/ 367543 w 1759274"/>
                  <a:gd name="connsiteY16" fmla="*/ 1911731 h 3892558"/>
                  <a:gd name="connsiteX17" fmla="*/ 329696 w 1759274"/>
                  <a:gd name="connsiteY17" fmla="*/ 1950074 h 3892558"/>
                  <a:gd name="connsiteX18" fmla="*/ 81294 w 1759274"/>
                  <a:gd name="connsiteY18" fmla="*/ 2238967 h 3892558"/>
                  <a:gd name="connsiteX19" fmla="*/ 6592 w 1759274"/>
                  <a:gd name="connsiteY19" fmla="*/ 2383743 h 3892558"/>
                  <a:gd name="connsiteX20" fmla="*/ 2956 w 1759274"/>
                  <a:gd name="connsiteY20" fmla="*/ 2486376 h 3892558"/>
                  <a:gd name="connsiteX21" fmla="*/ 28904 w 1759274"/>
                  <a:gd name="connsiteY21" fmla="*/ 2615452 h 3892558"/>
                  <a:gd name="connsiteX22" fmla="*/ 189051 w 1759274"/>
                  <a:gd name="connsiteY22" fmla="*/ 3085150 h 3892558"/>
                  <a:gd name="connsiteX23" fmla="*/ 239789 w 1759274"/>
                  <a:gd name="connsiteY23" fmla="*/ 3134401 h 3892558"/>
                  <a:gd name="connsiteX24" fmla="*/ 314821 w 1759274"/>
                  <a:gd name="connsiteY24" fmla="*/ 3117378 h 3892558"/>
                  <a:gd name="connsiteX25" fmla="*/ 335315 w 1759274"/>
                  <a:gd name="connsiteY25" fmla="*/ 3067962 h 3892558"/>
                  <a:gd name="connsiteX26" fmla="*/ 331018 w 1759274"/>
                  <a:gd name="connsiteY26" fmla="*/ 2928639 h 3892558"/>
                  <a:gd name="connsiteX27" fmla="*/ 328043 w 1759274"/>
                  <a:gd name="connsiteY27" fmla="*/ 2853276 h 3892558"/>
                  <a:gd name="connsiteX28" fmla="*/ 324903 w 1759274"/>
                  <a:gd name="connsiteY28" fmla="*/ 2770145 h 3892558"/>
                  <a:gd name="connsiteX29" fmla="*/ 323911 w 1759274"/>
                  <a:gd name="connsiteY29" fmla="*/ 2601735 h 3892558"/>
                  <a:gd name="connsiteX30" fmla="*/ 356635 w 1759274"/>
                  <a:gd name="connsiteY30" fmla="*/ 2508192 h 3892558"/>
                  <a:gd name="connsiteX31" fmla="*/ 414314 w 1759274"/>
                  <a:gd name="connsiteY31" fmla="*/ 2456462 h 3892558"/>
                  <a:gd name="connsiteX32" fmla="*/ 467696 w 1759274"/>
                  <a:gd name="connsiteY32" fmla="*/ 2413988 h 3892558"/>
                  <a:gd name="connsiteX33" fmla="*/ 488520 w 1759274"/>
                  <a:gd name="connsiteY33" fmla="*/ 2398122 h 3892558"/>
                  <a:gd name="connsiteX34" fmla="*/ 493644 w 1759274"/>
                  <a:gd name="connsiteY34" fmla="*/ 2410517 h 3892558"/>
                  <a:gd name="connsiteX35" fmla="*/ 527028 w 1759274"/>
                  <a:gd name="connsiteY35" fmla="*/ 2500094 h 3892558"/>
                  <a:gd name="connsiteX36" fmla="*/ 557438 w 1759274"/>
                  <a:gd name="connsiteY36" fmla="*/ 2550005 h 3892558"/>
                  <a:gd name="connsiteX37" fmla="*/ 567024 w 1759274"/>
                  <a:gd name="connsiteY37" fmla="*/ 2558765 h 3892558"/>
                  <a:gd name="connsiteX38" fmla="*/ 541737 w 1759274"/>
                  <a:gd name="connsiteY38" fmla="*/ 2630161 h 3892558"/>
                  <a:gd name="connsiteX39" fmla="*/ 513311 w 1759274"/>
                  <a:gd name="connsiteY39" fmla="*/ 2736761 h 3892558"/>
                  <a:gd name="connsiteX40" fmla="*/ 553141 w 1759274"/>
                  <a:gd name="connsiteY40" fmla="*/ 2791300 h 3892558"/>
                  <a:gd name="connsiteX41" fmla="*/ 564875 w 1759274"/>
                  <a:gd name="connsiteY41" fmla="*/ 2799729 h 3892558"/>
                  <a:gd name="connsiteX42" fmla="*/ 556612 w 1759274"/>
                  <a:gd name="connsiteY42" fmla="*/ 2815925 h 3892558"/>
                  <a:gd name="connsiteX43" fmla="*/ 512154 w 1759274"/>
                  <a:gd name="connsiteY43" fmla="*/ 2964999 h 3892558"/>
                  <a:gd name="connsiteX44" fmla="*/ 510832 w 1759274"/>
                  <a:gd name="connsiteY44" fmla="*/ 3075895 h 3892558"/>
                  <a:gd name="connsiteX45" fmla="*/ 553967 w 1759274"/>
                  <a:gd name="connsiteY45" fmla="*/ 3258519 h 3892558"/>
                  <a:gd name="connsiteX46" fmla="*/ 658583 w 1759274"/>
                  <a:gd name="connsiteY46" fmla="*/ 3467751 h 3892558"/>
                  <a:gd name="connsiteX47" fmla="*/ 699736 w 1759274"/>
                  <a:gd name="connsiteY47" fmla="*/ 3543940 h 3892558"/>
                  <a:gd name="connsiteX48" fmla="*/ 820383 w 1759274"/>
                  <a:gd name="connsiteY48" fmla="*/ 3840270 h 3892558"/>
                  <a:gd name="connsiteX49" fmla="*/ 845504 w 1759274"/>
                  <a:gd name="connsiteY49" fmla="*/ 3888198 h 3892558"/>
                  <a:gd name="connsiteX50" fmla="*/ 876740 w 1759274"/>
                  <a:gd name="connsiteY50" fmla="*/ 3890182 h 3892558"/>
                  <a:gd name="connsiteX51" fmla="*/ 876740 w 1759274"/>
                  <a:gd name="connsiteY51" fmla="*/ 3890182 h 3892558"/>
                  <a:gd name="connsiteX52" fmla="*/ 906324 w 1759274"/>
                  <a:gd name="connsiteY52" fmla="*/ 3839278 h 3892558"/>
                  <a:gd name="connsiteX53" fmla="*/ 1004329 w 1759274"/>
                  <a:gd name="connsiteY53" fmla="*/ 3603272 h 3892558"/>
                  <a:gd name="connsiteX54" fmla="*/ 1071098 w 1759274"/>
                  <a:gd name="connsiteY54" fmla="*/ 3480973 h 3892558"/>
                  <a:gd name="connsiteX55" fmla="*/ 1204802 w 1759274"/>
                  <a:gd name="connsiteY55" fmla="*/ 3211251 h 3892558"/>
                  <a:gd name="connsiteX56" fmla="*/ 1235707 w 1759274"/>
                  <a:gd name="connsiteY56" fmla="*/ 3013423 h 3892558"/>
                  <a:gd name="connsiteX57" fmla="*/ 1217031 w 1759274"/>
                  <a:gd name="connsiteY57" fmla="*/ 2886330 h 3892558"/>
                  <a:gd name="connsiteX58" fmla="*/ 1193233 w 1759274"/>
                  <a:gd name="connsiteY58" fmla="*/ 2823693 h 3892558"/>
                  <a:gd name="connsiteX59" fmla="*/ 1185795 w 1759274"/>
                  <a:gd name="connsiteY59" fmla="*/ 2807331 h 3892558"/>
                  <a:gd name="connsiteX60" fmla="*/ 1198025 w 1759274"/>
                  <a:gd name="connsiteY60" fmla="*/ 2798241 h 3892558"/>
                  <a:gd name="connsiteX61" fmla="*/ 1228435 w 1759274"/>
                  <a:gd name="connsiteY61" fmla="*/ 2770476 h 3892558"/>
                  <a:gd name="connsiteX62" fmla="*/ 1237029 w 1759274"/>
                  <a:gd name="connsiteY62" fmla="*/ 2718911 h 3892558"/>
                  <a:gd name="connsiteX63" fmla="*/ 1212074 w 1759274"/>
                  <a:gd name="connsiteY63" fmla="*/ 2636772 h 3892558"/>
                  <a:gd name="connsiteX64" fmla="*/ 1189266 w 1759274"/>
                  <a:gd name="connsiteY64" fmla="*/ 2566532 h 3892558"/>
                  <a:gd name="connsiteX65" fmla="*/ 1197034 w 1759274"/>
                  <a:gd name="connsiteY65" fmla="*/ 2559591 h 3892558"/>
                  <a:gd name="connsiteX66" fmla="*/ 1222320 w 1759274"/>
                  <a:gd name="connsiteY66" fmla="*/ 2526206 h 3892558"/>
                  <a:gd name="connsiteX67" fmla="*/ 1260498 w 1759274"/>
                  <a:gd name="connsiteY67" fmla="*/ 2432994 h 3892558"/>
                  <a:gd name="connsiteX68" fmla="*/ 1271240 w 1759274"/>
                  <a:gd name="connsiteY68" fmla="*/ 2407377 h 3892558"/>
                  <a:gd name="connsiteX69" fmla="*/ 1321152 w 1759274"/>
                  <a:gd name="connsiteY69" fmla="*/ 2447868 h 3892558"/>
                  <a:gd name="connsiteX70" fmla="*/ 1430561 w 1759274"/>
                  <a:gd name="connsiteY70" fmla="*/ 2611320 h 3892558"/>
                  <a:gd name="connsiteX71" fmla="*/ 1421801 w 1759274"/>
                  <a:gd name="connsiteY71" fmla="*/ 2850797 h 3892558"/>
                  <a:gd name="connsiteX72" fmla="*/ 1415356 w 1759274"/>
                  <a:gd name="connsiteY72" fmla="*/ 2955744 h 3892558"/>
                  <a:gd name="connsiteX73" fmla="*/ 1409406 w 1759274"/>
                  <a:gd name="connsiteY73" fmla="*/ 3050443 h 3892558"/>
                  <a:gd name="connsiteX74" fmla="*/ 1429569 w 1759274"/>
                  <a:gd name="connsiteY74" fmla="*/ 3131426 h 3892558"/>
                  <a:gd name="connsiteX75" fmla="*/ 1499644 w 1759274"/>
                  <a:gd name="connsiteY75" fmla="*/ 3149936 h 3892558"/>
                  <a:gd name="connsiteX76" fmla="*/ 1555174 w 1759274"/>
                  <a:gd name="connsiteY76" fmla="*/ 3100520 h 3892558"/>
                  <a:gd name="connsiteX77" fmla="*/ 1739285 w 1759274"/>
                  <a:gd name="connsiteY77" fmla="*/ 2580250 h 3892558"/>
                  <a:gd name="connsiteX78" fmla="*/ 1757465 w 1759274"/>
                  <a:gd name="connsiteY78" fmla="*/ 2427871 h 3892558"/>
                  <a:gd name="connsiteX79" fmla="*/ 607515 w 1759274"/>
                  <a:gd name="connsiteY79" fmla="*/ 469418 h 3892558"/>
                  <a:gd name="connsiteX80" fmla="*/ 793940 w 1759274"/>
                  <a:gd name="connsiteY80" fmla="*/ 153091 h 3892558"/>
                  <a:gd name="connsiteX81" fmla="*/ 889962 w 1759274"/>
                  <a:gd name="connsiteY81" fmla="*/ 64341 h 3892558"/>
                  <a:gd name="connsiteX82" fmla="*/ 942352 w 1759274"/>
                  <a:gd name="connsiteY82" fmla="*/ 73761 h 3892558"/>
                  <a:gd name="connsiteX83" fmla="*/ 975241 w 1759274"/>
                  <a:gd name="connsiteY83" fmla="*/ 103510 h 3892558"/>
                  <a:gd name="connsiteX84" fmla="*/ 1041515 w 1759274"/>
                  <a:gd name="connsiteY84" fmla="*/ 189781 h 3892558"/>
                  <a:gd name="connsiteX85" fmla="*/ 1193894 w 1759274"/>
                  <a:gd name="connsiteY85" fmla="*/ 469583 h 3892558"/>
                  <a:gd name="connsiteX86" fmla="*/ 1193894 w 1759274"/>
                  <a:gd name="connsiteY86" fmla="*/ 469583 h 3892558"/>
                  <a:gd name="connsiteX87" fmla="*/ 1204967 w 1759274"/>
                  <a:gd name="connsiteY87" fmla="*/ 497183 h 3892558"/>
                  <a:gd name="connsiteX88" fmla="*/ 1191580 w 1759274"/>
                  <a:gd name="connsiteY88" fmla="*/ 495696 h 3892558"/>
                  <a:gd name="connsiteX89" fmla="*/ 1018211 w 1759274"/>
                  <a:gd name="connsiteY89" fmla="*/ 468096 h 3892558"/>
                  <a:gd name="connsiteX90" fmla="*/ 897234 w 1759274"/>
                  <a:gd name="connsiteY90" fmla="*/ 462146 h 3892558"/>
                  <a:gd name="connsiteX91" fmla="*/ 864180 w 1759274"/>
                  <a:gd name="connsiteY91" fmla="*/ 462807 h 3892558"/>
                  <a:gd name="connsiteX92" fmla="*/ 747829 w 1759274"/>
                  <a:gd name="connsiteY92" fmla="*/ 467931 h 3892558"/>
                  <a:gd name="connsiteX93" fmla="*/ 613961 w 1759274"/>
                  <a:gd name="connsiteY93" fmla="*/ 488589 h 3892558"/>
                  <a:gd name="connsiteX94" fmla="*/ 598921 w 1759274"/>
                  <a:gd name="connsiteY94" fmla="*/ 490242 h 3892558"/>
                  <a:gd name="connsiteX95" fmla="*/ 607680 w 1759274"/>
                  <a:gd name="connsiteY95" fmla="*/ 469749 h 3892558"/>
                  <a:gd name="connsiteX96" fmla="*/ 467366 w 1759274"/>
                  <a:gd name="connsiteY96" fmla="*/ 2340608 h 3892558"/>
                  <a:gd name="connsiteX97" fmla="*/ 418776 w 1759274"/>
                  <a:gd name="connsiteY97" fmla="*/ 2379612 h 3892558"/>
                  <a:gd name="connsiteX98" fmla="*/ 316639 w 1759274"/>
                  <a:gd name="connsiteY98" fmla="*/ 2466874 h 3892558"/>
                  <a:gd name="connsiteX99" fmla="*/ 264910 w 1759274"/>
                  <a:gd name="connsiteY99" fmla="*/ 2575126 h 3892558"/>
                  <a:gd name="connsiteX100" fmla="*/ 263092 w 1759274"/>
                  <a:gd name="connsiteY100" fmla="*/ 2654291 h 3892558"/>
                  <a:gd name="connsiteX101" fmla="*/ 268215 w 1759274"/>
                  <a:gd name="connsiteY101" fmla="*/ 2787829 h 3892558"/>
                  <a:gd name="connsiteX102" fmla="*/ 270364 w 1759274"/>
                  <a:gd name="connsiteY102" fmla="*/ 2844847 h 3892558"/>
                  <a:gd name="connsiteX103" fmla="*/ 274165 w 1759274"/>
                  <a:gd name="connsiteY103" fmla="*/ 2945166 h 3892558"/>
                  <a:gd name="connsiteX104" fmla="*/ 276148 w 1759274"/>
                  <a:gd name="connsiteY104" fmla="*/ 2994086 h 3892558"/>
                  <a:gd name="connsiteX105" fmla="*/ 277801 w 1759274"/>
                  <a:gd name="connsiteY105" fmla="*/ 3066309 h 3892558"/>
                  <a:gd name="connsiteX106" fmla="*/ 277801 w 1759274"/>
                  <a:gd name="connsiteY106" fmla="*/ 3066309 h 3892558"/>
                  <a:gd name="connsiteX107" fmla="*/ 255820 w 1759274"/>
                  <a:gd name="connsiteY107" fmla="*/ 3077052 h 3892558"/>
                  <a:gd name="connsiteX108" fmla="*/ 188059 w 1759274"/>
                  <a:gd name="connsiteY108" fmla="*/ 2947150 h 3892558"/>
                  <a:gd name="connsiteX109" fmla="*/ 70221 w 1759274"/>
                  <a:gd name="connsiteY109" fmla="*/ 2534139 h 3892558"/>
                  <a:gd name="connsiteX110" fmla="*/ 63280 w 1759274"/>
                  <a:gd name="connsiteY110" fmla="*/ 2413327 h 3892558"/>
                  <a:gd name="connsiteX111" fmla="*/ 117323 w 1759274"/>
                  <a:gd name="connsiteY111" fmla="*/ 2288713 h 3892558"/>
                  <a:gd name="connsiteX112" fmla="*/ 288709 w 1759274"/>
                  <a:gd name="connsiteY112" fmla="*/ 2069730 h 3892558"/>
                  <a:gd name="connsiteX113" fmla="*/ 361923 w 1759274"/>
                  <a:gd name="connsiteY113" fmla="*/ 1998664 h 3892558"/>
                  <a:gd name="connsiteX114" fmla="*/ 373162 w 1759274"/>
                  <a:gd name="connsiteY114" fmla="*/ 1995689 h 3892558"/>
                  <a:gd name="connsiteX115" fmla="*/ 392168 w 1759274"/>
                  <a:gd name="connsiteY115" fmla="*/ 2028578 h 3892558"/>
                  <a:gd name="connsiteX116" fmla="*/ 464556 w 1759274"/>
                  <a:gd name="connsiteY116" fmla="*/ 2321271 h 3892558"/>
                  <a:gd name="connsiteX117" fmla="*/ 467531 w 1759274"/>
                  <a:gd name="connsiteY117" fmla="*/ 2340442 h 3892558"/>
                  <a:gd name="connsiteX118" fmla="*/ 1175218 w 1759274"/>
                  <a:gd name="connsiteY118" fmla="*/ 2733620 h 3892558"/>
                  <a:gd name="connsiteX119" fmla="*/ 1116547 w 1759274"/>
                  <a:gd name="connsiteY119" fmla="*/ 2774773 h 3892558"/>
                  <a:gd name="connsiteX120" fmla="*/ 899217 w 1759274"/>
                  <a:gd name="connsiteY120" fmla="*/ 2821875 h 3892558"/>
                  <a:gd name="connsiteX121" fmla="*/ 642222 w 1759274"/>
                  <a:gd name="connsiteY121" fmla="*/ 2772459 h 3892558"/>
                  <a:gd name="connsiteX122" fmla="*/ 578923 w 1759274"/>
                  <a:gd name="connsiteY122" fmla="*/ 2699575 h 3892558"/>
                  <a:gd name="connsiteX123" fmla="*/ 619910 w 1759274"/>
                  <a:gd name="connsiteY123" fmla="*/ 2582729 h 3892558"/>
                  <a:gd name="connsiteX124" fmla="*/ 630818 w 1759274"/>
                  <a:gd name="connsiteY124" fmla="*/ 2586530 h 3892558"/>
                  <a:gd name="connsiteX125" fmla="*/ 798898 w 1759274"/>
                  <a:gd name="connsiteY125" fmla="*/ 2622724 h 3892558"/>
                  <a:gd name="connsiteX126" fmla="*/ 1110102 w 1759274"/>
                  <a:gd name="connsiteY126" fmla="*/ 2596446 h 3892558"/>
                  <a:gd name="connsiteX127" fmla="*/ 1134892 w 1759274"/>
                  <a:gd name="connsiteY127" fmla="*/ 2589174 h 3892558"/>
                  <a:gd name="connsiteX128" fmla="*/ 1140677 w 1759274"/>
                  <a:gd name="connsiteY128" fmla="*/ 2607354 h 3892558"/>
                  <a:gd name="connsiteX129" fmla="*/ 1080023 w 1759274"/>
                  <a:gd name="connsiteY129" fmla="*/ 2629335 h 3892558"/>
                  <a:gd name="connsiteX130" fmla="*/ 1046473 w 1759274"/>
                  <a:gd name="connsiteY130" fmla="*/ 2642722 h 3892558"/>
                  <a:gd name="connsiteX131" fmla="*/ 1070106 w 1759274"/>
                  <a:gd name="connsiteY131" fmla="*/ 2684700 h 3892558"/>
                  <a:gd name="connsiteX132" fmla="*/ 1147453 w 1759274"/>
                  <a:gd name="connsiteY132" fmla="*/ 2656935 h 3892558"/>
                  <a:gd name="connsiteX133" fmla="*/ 1155882 w 1759274"/>
                  <a:gd name="connsiteY133" fmla="*/ 2654291 h 3892558"/>
                  <a:gd name="connsiteX134" fmla="*/ 1161996 w 1759274"/>
                  <a:gd name="connsiteY134" fmla="*/ 2669661 h 3892558"/>
                  <a:gd name="connsiteX135" fmla="*/ 1101508 w 1759274"/>
                  <a:gd name="connsiteY135" fmla="*/ 2696765 h 3892558"/>
                  <a:gd name="connsiteX136" fmla="*/ 938055 w 1759274"/>
                  <a:gd name="connsiteY136" fmla="*/ 2737752 h 3892558"/>
                  <a:gd name="connsiteX137" fmla="*/ 915248 w 1759274"/>
                  <a:gd name="connsiteY137" fmla="*/ 2744859 h 3892558"/>
                  <a:gd name="connsiteX138" fmla="*/ 906819 w 1759274"/>
                  <a:gd name="connsiteY138" fmla="*/ 2757419 h 3892558"/>
                  <a:gd name="connsiteX139" fmla="*/ 913099 w 1759274"/>
                  <a:gd name="connsiteY139" fmla="*/ 2780722 h 3892558"/>
                  <a:gd name="connsiteX140" fmla="*/ 937394 w 1759274"/>
                  <a:gd name="connsiteY140" fmla="*/ 2788655 h 3892558"/>
                  <a:gd name="connsiteX141" fmla="*/ 1073577 w 1759274"/>
                  <a:gd name="connsiteY141" fmla="*/ 2760394 h 3892558"/>
                  <a:gd name="connsiteX142" fmla="*/ 1149932 w 1759274"/>
                  <a:gd name="connsiteY142" fmla="*/ 2729489 h 3892558"/>
                  <a:gd name="connsiteX143" fmla="*/ 1174557 w 1759274"/>
                  <a:gd name="connsiteY143" fmla="*/ 2717259 h 3892558"/>
                  <a:gd name="connsiteX144" fmla="*/ 1175053 w 1759274"/>
                  <a:gd name="connsiteY144" fmla="*/ 2733620 h 3892558"/>
                  <a:gd name="connsiteX145" fmla="*/ 1175053 w 1759274"/>
                  <a:gd name="connsiteY145" fmla="*/ 2733620 h 3892558"/>
                  <a:gd name="connsiteX146" fmla="*/ 1210751 w 1759274"/>
                  <a:gd name="connsiteY146" fmla="*/ 2402419 h 3892558"/>
                  <a:gd name="connsiteX147" fmla="*/ 1182655 w 1759274"/>
                  <a:gd name="connsiteY147" fmla="*/ 2429689 h 3892558"/>
                  <a:gd name="connsiteX148" fmla="*/ 1102830 w 1759274"/>
                  <a:gd name="connsiteY148" fmla="*/ 2459933 h 3892558"/>
                  <a:gd name="connsiteX149" fmla="*/ 957557 w 1759274"/>
                  <a:gd name="connsiteY149" fmla="*/ 2484062 h 3892558"/>
                  <a:gd name="connsiteX150" fmla="*/ 936568 w 1759274"/>
                  <a:gd name="connsiteY150" fmla="*/ 2500589 h 3892558"/>
                  <a:gd name="connsiteX151" fmla="*/ 940369 w 1759274"/>
                  <a:gd name="connsiteY151" fmla="*/ 2524223 h 3892558"/>
                  <a:gd name="connsiteX152" fmla="*/ 978547 w 1759274"/>
                  <a:gd name="connsiteY152" fmla="*/ 2533478 h 3892558"/>
                  <a:gd name="connsiteX153" fmla="*/ 1159187 w 1759274"/>
                  <a:gd name="connsiteY153" fmla="*/ 2494309 h 3892558"/>
                  <a:gd name="connsiteX154" fmla="*/ 1175714 w 1759274"/>
                  <a:gd name="connsiteY154" fmla="*/ 2489351 h 3892558"/>
                  <a:gd name="connsiteX155" fmla="*/ 1170921 w 1759274"/>
                  <a:gd name="connsiteY155" fmla="*/ 2499763 h 3892558"/>
                  <a:gd name="connsiteX156" fmla="*/ 1170921 w 1759274"/>
                  <a:gd name="connsiteY156" fmla="*/ 2499763 h 3892558"/>
                  <a:gd name="connsiteX157" fmla="*/ 1144478 w 1759274"/>
                  <a:gd name="connsiteY157" fmla="*/ 2525215 h 3892558"/>
                  <a:gd name="connsiteX158" fmla="*/ 1056554 w 1759274"/>
                  <a:gd name="connsiteY158" fmla="*/ 2551162 h 3892558"/>
                  <a:gd name="connsiteX159" fmla="*/ 652964 w 1759274"/>
                  <a:gd name="connsiteY159" fmla="*/ 2533643 h 3892558"/>
                  <a:gd name="connsiteX160" fmla="*/ 597433 w 1759274"/>
                  <a:gd name="connsiteY160" fmla="*/ 2506374 h 3892558"/>
                  <a:gd name="connsiteX161" fmla="*/ 586526 w 1759274"/>
                  <a:gd name="connsiteY161" fmla="*/ 2494970 h 3892558"/>
                  <a:gd name="connsiteX162" fmla="*/ 577601 w 1759274"/>
                  <a:gd name="connsiteY162" fmla="*/ 2472163 h 3892558"/>
                  <a:gd name="connsiteX163" fmla="*/ 544712 w 1759274"/>
                  <a:gd name="connsiteY163" fmla="*/ 2382586 h 3892558"/>
                  <a:gd name="connsiteX164" fmla="*/ 563057 w 1759274"/>
                  <a:gd name="connsiteY164" fmla="*/ 2389693 h 3892558"/>
                  <a:gd name="connsiteX165" fmla="*/ 845173 w 1759274"/>
                  <a:gd name="connsiteY165" fmla="*/ 2453653 h 3892558"/>
                  <a:gd name="connsiteX166" fmla="*/ 1195547 w 1759274"/>
                  <a:gd name="connsiteY166" fmla="*/ 2397626 h 3892558"/>
                  <a:gd name="connsiteX167" fmla="*/ 1216370 w 1759274"/>
                  <a:gd name="connsiteY167" fmla="*/ 2387875 h 3892558"/>
                  <a:gd name="connsiteX168" fmla="*/ 1210751 w 1759274"/>
                  <a:gd name="connsiteY168" fmla="*/ 2402749 h 3892558"/>
                  <a:gd name="connsiteX169" fmla="*/ 1248433 w 1759274"/>
                  <a:gd name="connsiteY169" fmla="*/ 2286564 h 3892558"/>
                  <a:gd name="connsiteX170" fmla="*/ 1248433 w 1759274"/>
                  <a:gd name="connsiteY170" fmla="*/ 2286564 h 3892558"/>
                  <a:gd name="connsiteX171" fmla="*/ 1217031 w 1759274"/>
                  <a:gd name="connsiteY171" fmla="*/ 2317140 h 3892558"/>
                  <a:gd name="connsiteX172" fmla="*/ 1168773 w 1759274"/>
                  <a:gd name="connsiteY172" fmla="*/ 2346558 h 3892558"/>
                  <a:gd name="connsiteX173" fmla="*/ 892771 w 1759274"/>
                  <a:gd name="connsiteY173" fmla="*/ 2396800 h 3892558"/>
                  <a:gd name="connsiteX174" fmla="*/ 765348 w 1759274"/>
                  <a:gd name="connsiteY174" fmla="*/ 2387875 h 3892558"/>
                  <a:gd name="connsiteX175" fmla="*/ 613961 w 1759274"/>
                  <a:gd name="connsiteY175" fmla="*/ 2349532 h 3892558"/>
                  <a:gd name="connsiteX176" fmla="*/ 527028 w 1759274"/>
                  <a:gd name="connsiteY176" fmla="*/ 2292018 h 3892558"/>
                  <a:gd name="connsiteX177" fmla="*/ 510832 w 1759274"/>
                  <a:gd name="connsiteY177" fmla="*/ 2274996 h 3892558"/>
                  <a:gd name="connsiteX178" fmla="*/ 505708 w 1759274"/>
                  <a:gd name="connsiteY178" fmla="*/ 2258303 h 3892558"/>
                  <a:gd name="connsiteX179" fmla="*/ 477943 w 1759274"/>
                  <a:gd name="connsiteY179" fmla="*/ 2154018 h 3892558"/>
                  <a:gd name="connsiteX180" fmla="*/ 482901 w 1759274"/>
                  <a:gd name="connsiteY180" fmla="*/ 824419 h 3892558"/>
                  <a:gd name="connsiteX181" fmla="*/ 515129 w 1759274"/>
                  <a:gd name="connsiteY181" fmla="*/ 712200 h 3892558"/>
                  <a:gd name="connsiteX182" fmla="*/ 525045 w 1759274"/>
                  <a:gd name="connsiteY182" fmla="*/ 680468 h 3892558"/>
                  <a:gd name="connsiteX183" fmla="*/ 539589 w 1759274"/>
                  <a:gd name="connsiteY183" fmla="*/ 676502 h 3892558"/>
                  <a:gd name="connsiteX184" fmla="*/ 661228 w 1759274"/>
                  <a:gd name="connsiteY184" fmla="*/ 650720 h 3892558"/>
                  <a:gd name="connsiteX185" fmla="*/ 911777 w 1759274"/>
                  <a:gd name="connsiteY185" fmla="*/ 633531 h 3892558"/>
                  <a:gd name="connsiteX186" fmla="*/ 1212404 w 1759274"/>
                  <a:gd name="connsiteY186" fmla="*/ 672370 h 3892558"/>
                  <a:gd name="connsiteX187" fmla="*/ 1274546 w 1759274"/>
                  <a:gd name="connsiteY187" fmla="*/ 690219 h 3892558"/>
                  <a:gd name="connsiteX188" fmla="*/ 1286610 w 1759274"/>
                  <a:gd name="connsiteY188" fmla="*/ 729553 h 3892558"/>
                  <a:gd name="connsiteX189" fmla="*/ 1354041 w 1759274"/>
                  <a:gd name="connsiteY189" fmla="*/ 1047038 h 3892558"/>
                  <a:gd name="connsiteX190" fmla="*/ 1282148 w 1759274"/>
                  <a:gd name="connsiteY190" fmla="*/ 2182940 h 3892558"/>
                  <a:gd name="connsiteX191" fmla="*/ 1248763 w 1759274"/>
                  <a:gd name="connsiteY191" fmla="*/ 2286399 h 3892558"/>
                  <a:gd name="connsiteX192" fmla="*/ 1670533 w 1759274"/>
                  <a:gd name="connsiteY192" fmla="*/ 2618923 h 3892558"/>
                  <a:gd name="connsiteX193" fmla="*/ 1512700 w 1759274"/>
                  <a:gd name="connsiteY193" fmla="*/ 3058707 h 3892558"/>
                  <a:gd name="connsiteX194" fmla="*/ 1512700 w 1759274"/>
                  <a:gd name="connsiteY194" fmla="*/ 3058707 h 3892558"/>
                  <a:gd name="connsiteX195" fmla="*/ 1476340 w 1759274"/>
                  <a:gd name="connsiteY195" fmla="*/ 3093414 h 3892558"/>
                  <a:gd name="connsiteX196" fmla="*/ 1466094 w 1759274"/>
                  <a:gd name="connsiteY196" fmla="*/ 3083498 h 3892558"/>
                  <a:gd name="connsiteX197" fmla="*/ 1471878 w 1759274"/>
                  <a:gd name="connsiteY197" fmla="*/ 2974915 h 3892558"/>
                  <a:gd name="connsiteX198" fmla="*/ 1475680 w 1759274"/>
                  <a:gd name="connsiteY198" fmla="*/ 2913104 h 3892558"/>
                  <a:gd name="connsiteX199" fmla="*/ 1479315 w 1759274"/>
                  <a:gd name="connsiteY199" fmla="*/ 2852450 h 3892558"/>
                  <a:gd name="connsiteX200" fmla="*/ 1483943 w 1759274"/>
                  <a:gd name="connsiteY200" fmla="*/ 2778409 h 3892558"/>
                  <a:gd name="connsiteX201" fmla="*/ 1489397 w 1759274"/>
                  <a:gd name="connsiteY201" fmla="*/ 2688998 h 3892558"/>
                  <a:gd name="connsiteX202" fmla="*/ 1492702 w 1759274"/>
                  <a:gd name="connsiteY202" fmla="*/ 2634954 h 3892558"/>
                  <a:gd name="connsiteX203" fmla="*/ 1487909 w 1759274"/>
                  <a:gd name="connsiteY203" fmla="*/ 2570664 h 3892558"/>
                  <a:gd name="connsiteX204" fmla="*/ 1443617 w 1759274"/>
                  <a:gd name="connsiteY204" fmla="*/ 2482244 h 3892558"/>
                  <a:gd name="connsiteX205" fmla="*/ 1347925 w 1759274"/>
                  <a:gd name="connsiteY205" fmla="*/ 2396139 h 3892558"/>
                  <a:gd name="connsiteX206" fmla="*/ 1294543 w 1759274"/>
                  <a:gd name="connsiteY206" fmla="*/ 2351350 h 3892558"/>
                  <a:gd name="connsiteX207" fmla="*/ 1311236 w 1759274"/>
                  <a:gd name="connsiteY207" fmla="*/ 2286564 h 3892558"/>
                  <a:gd name="connsiteX208" fmla="*/ 1370072 w 1759274"/>
                  <a:gd name="connsiteY208" fmla="*/ 2066920 h 3892558"/>
                  <a:gd name="connsiteX209" fmla="*/ 1382632 w 1759274"/>
                  <a:gd name="connsiteY209" fmla="*/ 2016017 h 3892558"/>
                  <a:gd name="connsiteX210" fmla="*/ 1395854 w 1759274"/>
                  <a:gd name="connsiteY210" fmla="*/ 2008084 h 3892558"/>
                  <a:gd name="connsiteX211" fmla="*/ 1458822 w 1759274"/>
                  <a:gd name="connsiteY211" fmla="*/ 2062954 h 3892558"/>
                  <a:gd name="connsiteX212" fmla="*/ 1590707 w 1759274"/>
                  <a:gd name="connsiteY212" fmla="*/ 2225249 h 3892558"/>
                  <a:gd name="connsiteX213" fmla="*/ 1667723 w 1759274"/>
                  <a:gd name="connsiteY213" fmla="*/ 2350689 h 3892558"/>
                  <a:gd name="connsiteX214" fmla="*/ 1670533 w 1759274"/>
                  <a:gd name="connsiteY214" fmla="*/ 2619088 h 3892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</a:cxnLst>
                <a:rect l="l" t="t" r="r" b="b"/>
                <a:pathLst>
                  <a:path w="1759274" h="3892558">
                    <a:moveTo>
                      <a:pt x="1757135" y="2427871"/>
                    </a:moveTo>
                    <a:cubicBezTo>
                      <a:pt x="1752672" y="2385231"/>
                      <a:pt x="1740112" y="2353334"/>
                      <a:pt x="1702430" y="2290861"/>
                    </a:cubicBezTo>
                    <a:cubicBezTo>
                      <a:pt x="1655989" y="2213515"/>
                      <a:pt x="1599632" y="2136334"/>
                      <a:pt x="1533854" y="2059648"/>
                    </a:cubicBezTo>
                    <a:cubicBezTo>
                      <a:pt x="1504436" y="2025437"/>
                      <a:pt x="1450558" y="1970402"/>
                      <a:pt x="1429239" y="1952884"/>
                    </a:cubicBezTo>
                    <a:cubicBezTo>
                      <a:pt x="1412050" y="1938670"/>
                      <a:pt x="1405440" y="1931068"/>
                      <a:pt x="1402795" y="1921978"/>
                    </a:cubicBezTo>
                    <a:cubicBezTo>
                      <a:pt x="1400647" y="1914376"/>
                      <a:pt x="1400977" y="1908591"/>
                      <a:pt x="1406596" y="1872397"/>
                    </a:cubicBezTo>
                    <a:cubicBezTo>
                      <a:pt x="1431718" y="1709771"/>
                      <a:pt x="1443121" y="1523677"/>
                      <a:pt x="1437998" y="1357250"/>
                    </a:cubicBezTo>
                    <a:cubicBezTo>
                      <a:pt x="1422793" y="865075"/>
                      <a:pt x="1286941" y="423638"/>
                      <a:pt x="1053083" y="106485"/>
                    </a:cubicBezTo>
                    <a:cubicBezTo>
                      <a:pt x="1009617" y="47483"/>
                      <a:pt x="988132" y="26990"/>
                      <a:pt x="952599" y="10793"/>
                    </a:cubicBezTo>
                    <a:cubicBezTo>
                      <a:pt x="917397" y="-5403"/>
                      <a:pt x="884838" y="-3420"/>
                      <a:pt x="847653" y="17073"/>
                    </a:cubicBezTo>
                    <a:cubicBezTo>
                      <a:pt x="821044" y="31782"/>
                      <a:pt x="803360" y="48475"/>
                      <a:pt x="769976" y="90619"/>
                    </a:cubicBezTo>
                    <a:cubicBezTo>
                      <a:pt x="677424" y="207630"/>
                      <a:pt x="600243" y="339681"/>
                      <a:pt x="535127" y="492225"/>
                    </a:cubicBezTo>
                    <a:cubicBezTo>
                      <a:pt x="417785" y="767070"/>
                      <a:pt x="352338" y="1084223"/>
                      <a:pt x="343248" y="1422036"/>
                    </a:cubicBezTo>
                    <a:cubicBezTo>
                      <a:pt x="341926" y="1472113"/>
                      <a:pt x="342256" y="1555739"/>
                      <a:pt x="343909" y="1593256"/>
                    </a:cubicBezTo>
                    <a:cubicBezTo>
                      <a:pt x="344239" y="1600362"/>
                      <a:pt x="345066" y="1618377"/>
                      <a:pt x="345562" y="1633416"/>
                    </a:cubicBezTo>
                    <a:cubicBezTo>
                      <a:pt x="348206" y="1694897"/>
                      <a:pt x="355808" y="1782160"/>
                      <a:pt x="365394" y="1859671"/>
                    </a:cubicBezTo>
                    <a:cubicBezTo>
                      <a:pt x="370683" y="1902146"/>
                      <a:pt x="370683" y="1902311"/>
                      <a:pt x="367543" y="1911731"/>
                    </a:cubicBezTo>
                    <a:cubicBezTo>
                      <a:pt x="364898" y="1919665"/>
                      <a:pt x="357131" y="1927432"/>
                      <a:pt x="329696" y="1950074"/>
                    </a:cubicBezTo>
                    <a:cubicBezTo>
                      <a:pt x="262100" y="2005440"/>
                      <a:pt x="150212" y="2135507"/>
                      <a:pt x="81294" y="2238967"/>
                    </a:cubicBezTo>
                    <a:cubicBezTo>
                      <a:pt x="34854" y="2308545"/>
                      <a:pt x="14691" y="2347880"/>
                      <a:pt x="6592" y="2383743"/>
                    </a:cubicBezTo>
                    <a:cubicBezTo>
                      <a:pt x="-680" y="2416302"/>
                      <a:pt x="-2002" y="2452991"/>
                      <a:pt x="2956" y="2486376"/>
                    </a:cubicBezTo>
                    <a:cubicBezTo>
                      <a:pt x="6427" y="2509679"/>
                      <a:pt x="19483" y="2574630"/>
                      <a:pt x="28904" y="2615452"/>
                    </a:cubicBezTo>
                    <a:cubicBezTo>
                      <a:pt x="74684" y="2813776"/>
                      <a:pt x="140461" y="3006812"/>
                      <a:pt x="189051" y="3085150"/>
                    </a:cubicBezTo>
                    <a:cubicBezTo>
                      <a:pt x="207891" y="3115560"/>
                      <a:pt x="219791" y="3127129"/>
                      <a:pt x="239789" y="3134401"/>
                    </a:cubicBezTo>
                    <a:cubicBezTo>
                      <a:pt x="267554" y="3144647"/>
                      <a:pt x="295154" y="3138367"/>
                      <a:pt x="314821" y="3117378"/>
                    </a:cubicBezTo>
                    <a:cubicBezTo>
                      <a:pt x="327382" y="3103991"/>
                      <a:pt x="333166" y="3090108"/>
                      <a:pt x="335315" y="3067962"/>
                    </a:cubicBezTo>
                    <a:cubicBezTo>
                      <a:pt x="336141" y="3060690"/>
                      <a:pt x="333993" y="2993590"/>
                      <a:pt x="331018" y="2928639"/>
                    </a:cubicBezTo>
                    <a:cubicBezTo>
                      <a:pt x="330522" y="2918558"/>
                      <a:pt x="329200" y="2884677"/>
                      <a:pt x="328043" y="2853276"/>
                    </a:cubicBezTo>
                    <a:cubicBezTo>
                      <a:pt x="326886" y="2822040"/>
                      <a:pt x="325564" y="2784524"/>
                      <a:pt x="324903" y="2770145"/>
                    </a:cubicBezTo>
                    <a:cubicBezTo>
                      <a:pt x="320275" y="2651151"/>
                      <a:pt x="320275" y="2640408"/>
                      <a:pt x="323911" y="2601735"/>
                    </a:cubicBezTo>
                    <a:cubicBezTo>
                      <a:pt x="328869" y="2551162"/>
                      <a:pt x="334488" y="2534966"/>
                      <a:pt x="356635" y="2508192"/>
                    </a:cubicBezTo>
                    <a:cubicBezTo>
                      <a:pt x="368699" y="2493648"/>
                      <a:pt x="377293" y="2485880"/>
                      <a:pt x="414314" y="2456462"/>
                    </a:cubicBezTo>
                    <a:cubicBezTo>
                      <a:pt x="432659" y="2441918"/>
                      <a:pt x="456623" y="2422747"/>
                      <a:pt x="467696" y="2413988"/>
                    </a:cubicBezTo>
                    <a:cubicBezTo>
                      <a:pt x="478604" y="2405228"/>
                      <a:pt x="487859" y="2398122"/>
                      <a:pt x="488520" y="2398122"/>
                    </a:cubicBezTo>
                    <a:cubicBezTo>
                      <a:pt x="489016" y="2398122"/>
                      <a:pt x="491330" y="2403741"/>
                      <a:pt x="493644" y="2410517"/>
                    </a:cubicBezTo>
                    <a:cubicBezTo>
                      <a:pt x="500254" y="2429854"/>
                      <a:pt x="516947" y="2474311"/>
                      <a:pt x="527028" y="2500094"/>
                    </a:cubicBezTo>
                    <a:cubicBezTo>
                      <a:pt x="537936" y="2527859"/>
                      <a:pt x="544051" y="2537775"/>
                      <a:pt x="557438" y="2550005"/>
                    </a:cubicBezTo>
                    <a:lnTo>
                      <a:pt x="567024" y="2558765"/>
                    </a:lnTo>
                    <a:lnTo>
                      <a:pt x="541737" y="2630161"/>
                    </a:lnTo>
                    <a:cubicBezTo>
                      <a:pt x="515129" y="2705359"/>
                      <a:pt x="511328" y="2719407"/>
                      <a:pt x="513311" y="2736761"/>
                    </a:cubicBezTo>
                    <a:cubicBezTo>
                      <a:pt x="515625" y="2756593"/>
                      <a:pt x="529507" y="2775599"/>
                      <a:pt x="553141" y="2791300"/>
                    </a:cubicBezTo>
                    <a:cubicBezTo>
                      <a:pt x="559586" y="2795597"/>
                      <a:pt x="565040" y="2799233"/>
                      <a:pt x="564875" y="2799729"/>
                    </a:cubicBezTo>
                    <a:cubicBezTo>
                      <a:pt x="564875" y="2800059"/>
                      <a:pt x="561074" y="2807331"/>
                      <a:pt x="556612" y="2815925"/>
                    </a:cubicBezTo>
                    <a:cubicBezTo>
                      <a:pt x="536284" y="2854598"/>
                      <a:pt x="517608" y="2917236"/>
                      <a:pt x="512154" y="2964999"/>
                    </a:cubicBezTo>
                    <a:cubicBezTo>
                      <a:pt x="509344" y="2989789"/>
                      <a:pt x="508518" y="3049782"/>
                      <a:pt x="510832" y="3075895"/>
                    </a:cubicBezTo>
                    <a:cubicBezTo>
                      <a:pt x="515294" y="3128451"/>
                      <a:pt x="532813" y="3202823"/>
                      <a:pt x="553967" y="3258519"/>
                    </a:cubicBezTo>
                    <a:cubicBezTo>
                      <a:pt x="570825" y="3302976"/>
                      <a:pt x="605532" y="3372555"/>
                      <a:pt x="658583" y="3467751"/>
                    </a:cubicBezTo>
                    <a:cubicBezTo>
                      <a:pt x="673953" y="3495351"/>
                      <a:pt x="692464" y="3529727"/>
                      <a:pt x="699736" y="3543940"/>
                    </a:cubicBezTo>
                    <a:cubicBezTo>
                      <a:pt x="747333" y="3637318"/>
                      <a:pt x="790304" y="3742926"/>
                      <a:pt x="820383" y="3840270"/>
                    </a:cubicBezTo>
                    <a:cubicBezTo>
                      <a:pt x="830795" y="3874150"/>
                      <a:pt x="834927" y="3882083"/>
                      <a:pt x="845504" y="3888198"/>
                    </a:cubicBezTo>
                    <a:cubicBezTo>
                      <a:pt x="853933" y="3893157"/>
                      <a:pt x="867650" y="3893983"/>
                      <a:pt x="876740" y="3890182"/>
                    </a:cubicBezTo>
                    <a:lnTo>
                      <a:pt x="876740" y="3890182"/>
                    </a:lnTo>
                    <a:cubicBezTo>
                      <a:pt x="888970" y="3885058"/>
                      <a:pt x="894754" y="3875142"/>
                      <a:pt x="906324" y="3839278"/>
                    </a:cubicBezTo>
                    <a:cubicBezTo>
                      <a:pt x="928966" y="3769369"/>
                      <a:pt x="967474" y="3676652"/>
                      <a:pt x="1004329" y="3603272"/>
                    </a:cubicBezTo>
                    <a:cubicBezTo>
                      <a:pt x="1026805" y="3558319"/>
                      <a:pt x="1043002" y="3528736"/>
                      <a:pt x="1071098" y="3480973"/>
                    </a:cubicBezTo>
                    <a:cubicBezTo>
                      <a:pt x="1156708" y="3335204"/>
                      <a:pt x="1182325" y="3283640"/>
                      <a:pt x="1204802" y="3211251"/>
                    </a:cubicBezTo>
                    <a:cubicBezTo>
                      <a:pt x="1228766" y="3134401"/>
                      <a:pt x="1236533" y="3083993"/>
                      <a:pt x="1235707" y="3013423"/>
                    </a:cubicBezTo>
                    <a:cubicBezTo>
                      <a:pt x="1235046" y="2965329"/>
                      <a:pt x="1230419" y="2933102"/>
                      <a:pt x="1217031" y="2886330"/>
                    </a:cubicBezTo>
                    <a:cubicBezTo>
                      <a:pt x="1210421" y="2863192"/>
                      <a:pt x="1202818" y="2843194"/>
                      <a:pt x="1193233" y="2823693"/>
                    </a:cubicBezTo>
                    <a:cubicBezTo>
                      <a:pt x="1189101" y="2815594"/>
                      <a:pt x="1185795" y="2808157"/>
                      <a:pt x="1185795" y="2807331"/>
                    </a:cubicBezTo>
                    <a:cubicBezTo>
                      <a:pt x="1185795" y="2806505"/>
                      <a:pt x="1191249" y="2802373"/>
                      <a:pt x="1198025" y="2798241"/>
                    </a:cubicBezTo>
                    <a:cubicBezTo>
                      <a:pt x="1212735" y="2789151"/>
                      <a:pt x="1220337" y="2782210"/>
                      <a:pt x="1228435" y="2770476"/>
                    </a:cubicBezTo>
                    <a:cubicBezTo>
                      <a:pt x="1238517" y="2755767"/>
                      <a:pt x="1240996" y="2741058"/>
                      <a:pt x="1237029" y="2718911"/>
                    </a:cubicBezTo>
                    <a:cubicBezTo>
                      <a:pt x="1235872" y="2712300"/>
                      <a:pt x="1224634" y="2675445"/>
                      <a:pt x="1212074" y="2636772"/>
                    </a:cubicBezTo>
                    <a:lnTo>
                      <a:pt x="1189266" y="2566532"/>
                    </a:lnTo>
                    <a:lnTo>
                      <a:pt x="1197034" y="2559591"/>
                    </a:lnTo>
                    <a:cubicBezTo>
                      <a:pt x="1207281" y="2550666"/>
                      <a:pt x="1216701" y="2538106"/>
                      <a:pt x="1222320" y="2526206"/>
                    </a:cubicBezTo>
                    <a:cubicBezTo>
                      <a:pt x="1229096" y="2511828"/>
                      <a:pt x="1249425" y="2461916"/>
                      <a:pt x="1260498" y="2432994"/>
                    </a:cubicBezTo>
                    <a:cubicBezTo>
                      <a:pt x="1265786" y="2418946"/>
                      <a:pt x="1270579" y="2407377"/>
                      <a:pt x="1271240" y="2407377"/>
                    </a:cubicBezTo>
                    <a:cubicBezTo>
                      <a:pt x="1271736" y="2407377"/>
                      <a:pt x="1294213" y="2425557"/>
                      <a:pt x="1321152" y="2447868"/>
                    </a:cubicBezTo>
                    <a:cubicBezTo>
                      <a:pt x="1415852" y="2526206"/>
                      <a:pt x="1425272" y="2540254"/>
                      <a:pt x="1430561" y="2611320"/>
                    </a:cubicBezTo>
                    <a:cubicBezTo>
                      <a:pt x="1433866" y="2654787"/>
                      <a:pt x="1433370" y="2668339"/>
                      <a:pt x="1421801" y="2850797"/>
                    </a:cubicBezTo>
                    <a:cubicBezTo>
                      <a:pt x="1420644" y="2868977"/>
                      <a:pt x="1417669" y="2916244"/>
                      <a:pt x="1415356" y="2955744"/>
                    </a:cubicBezTo>
                    <a:cubicBezTo>
                      <a:pt x="1413042" y="2995243"/>
                      <a:pt x="1410232" y="3037883"/>
                      <a:pt x="1409406" y="3050443"/>
                    </a:cubicBezTo>
                    <a:cubicBezTo>
                      <a:pt x="1406596" y="3092422"/>
                      <a:pt x="1411555" y="3112585"/>
                      <a:pt x="1429569" y="3131426"/>
                    </a:cubicBezTo>
                    <a:cubicBezTo>
                      <a:pt x="1448410" y="3151258"/>
                      <a:pt x="1473200" y="3157869"/>
                      <a:pt x="1499644" y="3149936"/>
                    </a:cubicBezTo>
                    <a:cubicBezTo>
                      <a:pt x="1522451" y="3143160"/>
                      <a:pt x="1534185" y="3132583"/>
                      <a:pt x="1555174" y="3100520"/>
                    </a:cubicBezTo>
                    <a:cubicBezTo>
                      <a:pt x="1610870" y="3014910"/>
                      <a:pt x="1689870" y="2791630"/>
                      <a:pt x="1739285" y="2580250"/>
                    </a:cubicBezTo>
                    <a:cubicBezTo>
                      <a:pt x="1758953" y="2496292"/>
                      <a:pt x="1761927" y="2471171"/>
                      <a:pt x="1757465" y="2427871"/>
                    </a:cubicBezTo>
                    <a:close/>
                    <a:moveTo>
                      <a:pt x="607515" y="469418"/>
                    </a:moveTo>
                    <a:cubicBezTo>
                      <a:pt x="662550" y="350258"/>
                      <a:pt x="724526" y="244816"/>
                      <a:pt x="793940" y="153091"/>
                    </a:cubicBezTo>
                    <a:cubicBezTo>
                      <a:pt x="834100" y="99874"/>
                      <a:pt x="862196" y="73761"/>
                      <a:pt x="889962" y="64341"/>
                    </a:cubicBezTo>
                    <a:cubicBezTo>
                      <a:pt x="906819" y="58556"/>
                      <a:pt x="920867" y="61035"/>
                      <a:pt x="942352" y="73761"/>
                    </a:cubicBezTo>
                    <a:cubicBezTo>
                      <a:pt x="951773" y="79546"/>
                      <a:pt x="955078" y="82190"/>
                      <a:pt x="975241" y="103510"/>
                    </a:cubicBezTo>
                    <a:cubicBezTo>
                      <a:pt x="998710" y="128466"/>
                      <a:pt x="1007634" y="140034"/>
                      <a:pt x="1041515" y="189781"/>
                    </a:cubicBezTo>
                    <a:cubicBezTo>
                      <a:pt x="1097211" y="271590"/>
                      <a:pt x="1151089" y="370586"/>
                      <a:pt x="1193894" y="469583"/>
                    </a:cubicBezTo>
                    <a:lnTo>
                      <a:pt x="1193894" y="469583"/>
                    </a:lnTo>
                    <a:cubicBezTo>
                      <a:pt x="1200009" y="483797"/>
                      <a:pt x="1204967" y="496192"/>
                      <a:pt x="1204967" y="497183"/>
                    </a:cubicBezTo>
                    <a:cubicBezTo>
                      <a:pt x="1204967" y="498175"/>
                      <a:pt x="1199017" y="497514"/>
                      <a:pt x="1191580" y="495696"/>
                    </a:cubicBezTo>
                    <a:cubicBezTo>
                      <a:pt x="1142495" y="483136"/>
                      <a:pt x="1077048" y="472723"/>
                      <a:pt x="1018211" y="468096"/>
                    </a:cubicBezTo>
                    <a:cubicBezTo>
                      <a:pt x="986975" y="465617"/>
                      <a:pt x="902357" y="461485"/>
                      <a:pt x="897234" y="462146"/>
                    </a:cubicBezTo>
                    <a:cubicBezTo>
                      <a:pt x="895250" y="462477"/>
                      <a:pt x="880376" y="462807"/>
                      <a:pt x="864180" y="462807"/>
                    </a:cubicBezTo>
                    <a:cubicBezTo>
                      <a:pt x="831952" y="463138"/>
                      <a:pt x="778404" y="465452"/>
                      <a:pt x="747829" y="467931"/>
                    </a:cubicBezTo>
                    <a:cubicBezTo>
                      <a:pt x="713288" y="470740"/>
                      <a:pt x="649824" y="480491"/>
                      <a:pt x="613961" y="488589"/>
                    </a:cubicBezTo>
                    <a:cubicBezTo>
                      <a:pt x="605697" y="490407"/>
                      <a:pt x="598921" y="491234"/>
                      <a:pt x="598921" y="490242"/>
                    </a:cubicBezTo>
                    <a:cubicBezTo>
                      <a:pt x="598921" y="489251"/>
                      <a:pt x="602887" y="479995"/>
                      <a:pt x="607680" y="469749"/>
                    </a:cubicBezTo>
                    <a:close/>
                    <a:moveTo>
                      <a:pt x="467366" y="2340608"/>
                    </a:moveTo>
                    <a:cubicBezTo>
                      <a:pt x="466044" y="2341930"/>
                      <a:pt x="444228" y="2359449"/>
                      <a:pt x="418776" y="2379612"/>
                    </a:cubicBezTo>
                    <a:cubicBezTo>
                      <a:pt x="343744" y="2439274"/>
                      <a:pt x="336141" y="2445720"/>
                      <a:pt x="316639" y="2466874"/>
                    </a:cubicBezTo>
                    <a:cubicBezTo>
                      <a:pt x="283420" y="2502738"/>
                      <a:pt x="270859" y="2529181"/>
                      <a:pt x="264910" y="2575126"/>
                    </a:cubicBezTo>
                    <a:cubicBezTo>
                      <a:pt x="261770" y="2600082"/>
                      <a:pt x="261439" y="2613138"/>
                      <a:pt x="263092" y="2654291"/>
                    </a:cubicBezTo>
                    <a:cubicBezTo>
                      <a:pt x="265901" y="2723208"/>
                      <a:pt x="267223" y="2759568"/>
                      <a:pt x="268215" y="2787829"/>
                    </a:cubicBezTo>
                    <a:cubicBezTo>
                      <a:pt x="268711" y="2802869"/>
                      <a:pt x="269703" y="2828485"/>
                      <a:pt x="270364" y="2844847"/>
                    </a:cubicBezTo>
                    <a:cubicBezTo>
                      <a:pt x="271686" y="2877901"/>
                      <a:pt x="272512" y="2898064"/>
                      <a:pt x="274165" y="2945166"/>
                    </a:cubicBezTo>
                    <a:cubicBezTo>
                      <a:pt x="274826" y="2962685"/>
                      <a:pt x="275652" y="2984666"/>
                      <a:pt x="276148" y="2994086"/>
                    </a:cubicBezTo>
                    <a:cubicBezTo>
                      <a:pt x="277635" y="3025488"/>
                      <a:pt x="278462" y="3060360"/>
                      <a:pt x="277801" y="3066309"/>
                    </a:cubicBezTo>
                    <a:lnTo>
                      <a:pt x="277801" y="3066309"/>
                    </a:lnTo>
                    <a:cubicBezTo>
                      <a:pt x="276644" y="3077217"/>
                      <a:pt x="265075" y="3082836"/>
                      <a:pt x="255820" y="3077052"/>
                    </a:cubicBezTo>
                    <a:cubicBezTo>
                      <a:pt x="242763" y="3068788"/>
                      <a:pt x="213511" y="3012927"/>
                      <a:pt x="188059" y="2947150"/>
                    </a:cubicBezTo>
                    <a:cubicBezTo>
                      <a:pt x="143271" y="2831956"/>
                      <a:pt x="96004" y="2666190"/>
                      <a:pt x="70221" y="2534139"/>
                    </a:cubicBezTo>
                    <a:cubicBezTo>
                      <a:pt x="60966" y="2486376"/>
                      <a:pt x="58322" y="2440762"/>
                      <a:pt x="63280" y="2413327"/>
                    </a:cubicBezTo>
                    <a:cubicBezTo>
                      <a:pt x="69230" y="2381099"/>
                      <a:pt x="91541" y="2329535"/>
                      <a:pt x="117323" y="2288713"/>
                    </a:cubicBezTo>
                    <a:cubicBezTo>
                      <a:pt x="157484" y="2225084"/>
                      <a:pt x="227559" y="2135507"/>
                      <a:pt x="288709" y="2069730"/>
                    </a:cubicBezTo>
                    <a:cubicBezTo>
                      <a:pt x="311351" y="2045435"/>
                      <a:pt x="355313" y="2002795"/>
                      <a:pt x="361923" y="1998664"/>
                    </a:cubicBezTo>
                    <a:cubicBezTo>
                      <a:pt x="364568" y="1997011"/>
                      <a:pt x="369526" y="1995689"/>
                      <a:pt x="373162" y="1995689"/>
                    </a:cubicBezTo>
                    <a:cubicBezTo>
                      <a:pt x="383904" y="1995689"/>
                      <a:pt x="387706" y="2002134"/>
                      <a:pt x="392168" y="2028578"/>
                    </a:cubicBezTo>
                    <a:cubicBezTo>
                      <a:pt x="404728" y="2101627"/>
                      <a:pt x="439435" y="2241611"/>
                      <a:pt x="464556" y="2321271"/>
                    </a:cubicBezTo>
                    <a:cubicBezTo>
                      <a:pt x="469018" y="2335154"/>
                      <a:pt x="469514" y="2338624"/>
                      <a:pt x="467531" y="2340442"/>
                    </a:cubicBezTo>
                    <a:close/>
                    <a:moveTo>
                      <a:pt x="1175218" y="2733620"/>
                    </a:moveTo>
                    <a:cubicBezTo>
                      <a:pt x="1170756" y="2749156"/>
                      <a:pt x="1157039" y="2758741"/>
                      <a:pt x="1116547" y="2774773"/>
                    </a:cubicBezTo>
                    <a:cubicBezTo>
                      <a:pt x="1048125" y="2801877"/>
                      <a:pt x="971936" y="2818404"/>
                      <a:pt x="899217" y="2821875"/>
                    </a:cubicBezTo>
                    <a:cubicBezTo>
                      <a:pt x="824349" y="2825511"/>
                      <a:pt x="722047" y="2805843"/>
                      <a:pt x="642222" y="2772459"/>
                    </a:cubicBezTo>
                    <a:cubicBezTo>
                      <a:pt x="579254" y="2746181"/>
                      <a:pt x="569503" y="2734943"/>
                      <a:pt x="578923" y="2699575"/>
                    </a:cubicBezTo>
                    <a:cubicBezTo>
                      <a:pt x="582559" y="2686353"/>
                      <a:pt x="618919" y="2582729"/>
                      <a:pt x="619910" y="2582729"/>
                    </a:cubicBezTo>
                    <a:cubicBezTo>
                      <a:pt x="620241" y="2582729"/>
                      <a:pt x="625199" y="2584381"/>
                      <a:pt x="630818" y="2586530"/>
                    </a:cubicBezTo>
                    <a:cubicBezTo>
                      <a:pt x="671474" y="2601239"/>
                      <a:pt x="737748" y="2615452"/>
                      <a:pt x="798898" y="2622724"/>
                    </a:cubicBezTo>
                    <a:cubicBezTo>
                      <a:pt x="897895" y="2634293"/>
                      <a:pt x="1014906" y="2624377"/>
                      <a:pt x="1110102" y="2596446"/>
                    </a:cubicBezTo>
                    <a:cubicBezTo>
                      <a:pt x="1122993" y="2592645"/>
                      <a:pt x="1134231" y="2589339"/>
                      <a:pt x="1134892" y="2589174"/>
                    </a:cubicBezTo>
                    <a:cubicBezTo>
                      <a:pt x="1136380" y="2588844"/>
                      <a:pt x="1141999" y="2606032"/>
                      <a:pt x="1140677" y="2607354"/>
                    </a:cubicBezTo>
                    <a:cubicBezTo>
                      <a:pt x="1137702" y="2610164"/>
                      <a:pt x="1104482" y="2622228"/>
                      <a:pt x="1080023" y="2629335"/>
                    </a:cubicBezTo>
                    <a:cubicBezTo>
                      <a:pt x="1055728" y="2636441"/>
                      <a:pt x="1051265" y="2638259"/>
                      <a:pt x="1046473" y="2642722"/>
                    </a:cubicBezTo>
                    <a:cubicBezTo>
                      <a:pt x="1028128" y="2660075"/>
                      <a:pt x="1044324" y="2688832"/>
                      <a:pt x="1070106" y="2684700"/>
                    </a:cubicBezTo>
                    <a:cubicBezTo>
                      <a:pt x="1086303" y="2682221"/>
                      <a:pt x="1129438" y="2666686"/>
                      <a:pt x="1147453" y="2656935"/>
                    </a:cubicBezTo>
                    <a:cubicBezTo>
                      <a:pt x="1151089" y="2654952"/>
                      <a:pt x="1154890" y="2653795"/>
                      <a:pt x="1155882" y="2654291"/>
                    </a:cubicBezTo>
                    <a:cubicBezTo>
                      <a:pt x="1157204" y="2654952"/>
                      <a:pt x="1161831" y="2666355"/>
                      <a:pt x="1161996" y="2669661"/>
                    </a:cubicBezTo>
                    <a:cubicBezTo>
                      <a:pt x="1161996" y="2670487"/>
                      <a:pt x="1120183" y="2689163"/>
                      <a:pt x="1101508" y="2696765"/>
                    </a:cubicBezTo>
                    <a:cubicBezTo>
                      <a:pt x="1058207" y="2714449"/>
                      <a:pt x="991603" y="2731141"/>
                      <a:pt x="938055" y="2737752"/>
                    </a:cubicBezTo>
                    <a:cubicBezTo>
                      <a:pt x="923677" y="2739570"/>
                      <a:pt x="920867" y="2740397"/>
                      <a:pt x="915248" y="2744859"/>
                    </a:cubicBezTo>
                    <a:cubicBezTo>
                      <a:pt x="909959" y="2748990"/>
                      <a:pt x="908637" y="2751139"/>
                      <a:pt x="906819" y="2757419"/>
                    </a:cubicBezTo>
                    <a:cubicBezTo>
                      <a:pt x="904340" y="2766179"/>
                      <a:pt x="906324" y="2773616"/>
                      <a:pt x="913099" y="2780722"/>
                    </a:cubicBezTo>
                    <a:cubicBezTo>
                      <a:pt x="919380" y="2787333"/>
                      <a:pt x="924669" y="2788986"/>
                      <a:pt x="937394" y="2788655"/>
                    </a:cubicBezTo>
                    <a:cubicBezTo>
                      <a:pt x="961358" y="2787994"/>
                      <a:pt x="1032425" y="2773285"/>
                      <a:pt x="1073577" y="2760394"/>
                    </a:cubicBezTo>
                    <a:cubicBezTo>
                      <a:pt x="1107788" y="2749652"/>
                      <a:pt x="1122001" y="2744032"/>
                      <a:pt x="1149932" y="2729489"/>
                    </a:cubicBezTo>
                    <a:cubicBezTo>
                      <a:pt x="1162823" y="2722713"/>
                      <a:pt x="1173896" y="2717259"/>
                      <a:pt x="1174557" y="2717259"/>
                    </a:cubicBezTo>
                    <a:cubicBezTo>
                      <a:pt x="1176871" y="2717259"/>
                      <a:pt x="1177202" y="2726349"/>
                      <a:pt x="1175053" y="2733620"/>
                    </a:cubicBezTo>
                    <a:lnTo>
                      <a:pt x="1175053" y="2733620"/>
                    </a:lnTo>
                    <a:close/>
                    <a:moveTo>
                      <a:pt x="1210751" y="2402419"/>
                    </a:moveTo>
                    <a:cubicBezTo>
                      <a:pt x="1204471" y="2419442"/>
                      <a:pt x="1204802" y="2419111"/>
                      <a:pt x="1182655" y="2429689"/>
                    </a:cubicBezTo>
                    <a:cubicBezTo>
                      <a:pt x="1167616" y="2436960"/>
                      <a:pt x="1123489" y="2453653"/>
                      <a:pt x="1102830" y="2459933"/>
                    </a:cubicBezTo>
                    <a:cubicBezTo>
                      <a:pt x="1064652" y="2471502"/>
                      <a:pt x="1015567" y="2479600"/>
                      <a:pt x="957557" y="2484062"/>
                    </a:cubicBezTo>
                    <a:cubicBezTo>
                      <a:pt x="949955" y="2484558"/>
                      <a:pt x="939212" y="2493152"/>
                      <a:pt x="936568" y="2500589"/>
                    </a:cubicBezTo>
                    <a:cubicBezTo>
                      <a:pt x="934089" y="2507861"/>
                      <a:pt x="935576" y="2517943"/>
                      <a:pt x="940369" y="2524223"/>
                    </a:cubicBezTo>
                    <a:cubicBezTo>
                      <a:pt x="947145" y="2533148"/>
                      <a:pt x="955574" y="2535296"/>
                      <a:pt x="978547" y="2533478"/>
                    </a:cubicBezTo>
                    <a:cubicBezTo>
                      <a:pt x="1043332" y="2528685"/>
                      <a:pt x="1107292" y="2514803"/>
                      <a:pt x="1159187" y="2494309"/>
                    </a:cubicBezTo>
                    <a:cubicBezTo>
                      <a:pt x="1168112" y="2490838"/>
                      <a:pt x="1175549" y="2488525"/>
                      <a:pt x="1175714" y="2489351"/>
                    </a:cubicBezTo>
                    <a:cubicBezTo>
                      <a:pt x="1175714" y="2490177"/>
                      <a:pt x="1173731" y="2494805"/>
                      <a:pt x="1170921" y="2499763"/>
                    </a:cubicBezTo>
                    <a:lnTo>
                      <a:pt x="1170921" y="2499763"/>
                    </a:lnTo>
                    <a:cubicBezTo>
                      <a:pt x="1164806" y="2510836"/>
                      <a:pt x="1155055" y="2520091"/>
                      <a:pt x="1144478" y="2525215"/>
                    </a:cubicBezTo>
                    <a:cubicBezTo>
                      <a:pt x="1133240" y="2530503"/>
                      <a:pt x="1085642" y="2544551"/>
                      <a:pt x="1056554" y="2551162"/>
                    </a:cubicBezTo>
                    <a:cubicBezTo>
                      <a:pt x="922355" y="2581076"/>
                      <a:pt x="780883" y="2574961"/>
                      <a:pt x="652964" y="2533643"/>
                    </a:cubicBezTo>
                    <a:cubicBezTo>
                      <a:pt x="611316" y="2520257"/>
                      <a:pt x="609994" y="2519430"/>
                      <a:pt x="597433" y="2506374"/>
                    </a:cubicBezTo>
                    <a:lnTo>
                      <a:pt x="586526" y="2494970"/>
                    </a:lnTo>
                    <a:lnTo>
                      <a:pt x="577601" y="2472163"/>
                    </a:lnTo>
                    <a:cubicBezTo>
                      <a:pt x="568842" y="2449852"/>
                      <a:pt x="546034" y="2387545"/>
                      <a:pt x="544712" y="2382586"/>
                    </a:cubicBezTo>
                    <a:cubicBezTo>
                      <a:pt x="544216" y="2380768"/>
                      <a:pt x="549836" y="2382917"/>
                      <a:pt x="563057" y="2389693"/>
                    </a:cubicBezTo>
                    <a:cubicBezTo>
                      <a:pt x="632140" y="2424400"/>
                      <a:pt x="736426" y="2448034"/>
                      <a:pt x="845173" y="2453653"/>
                    </a:cubicBezTo>
                    <a:cubicBezTo>
                      <a:pt x="971275" y="2460263"/>
                      <a:pt x="1109771" y="2437952"/>
                      <a:pt x="1195547" y="2397626"/>
                    </a:cubicBezTo>
                    <a:lnTo>
                      <a:pt x="1216370" y="2387875"/>
                    </a:lnTo>
                    <a:lnTo>
                      <a:pt x="1210751" y="2402749"/>
                    </a:lnTo>
                    <a:close/>
                    <a:moveTo>
                      <a:pt x="1248433" y="2286564"/>
                    </a:moveTo>
                    <a:lnTo>
                      <a:pt x="1248433" y="2286564"/>
                    </a:lnTo>
                    <a:cubicBezTo>
                      <a:pt x="1243805" y="2293010"/>
                      <a:pt x="1223642" y="2312677"/>
                      <a:pt x="1217031" y="2317140"/>
                    </a:cubicBezTo>
                    <a:cubicBezTo>
                      <a:pt x="1189762" y="2335650"/>
                      <a:pt x="1181333" y="2340773"/>
                      <a:pt x="1168773" y="2346558"/>
                    </a:cubicBezTo>
                    <a:cubicBezTo>
                      <a:pt x="1102004" y="2377132"/>
                      <a:pt x="997222" y="2396304"/>
                      <a:pt x="892771" y="2396800"/>
                    </a:cubicBezTo>
                    <a:cubicBezTo>
                      <a:pt x="844843" y="2396965"/>
                      <a:pt x="816912" y="2395147"/>
                      <a:pt x="765348" y="2387875"/>
                    </a:cubicBezTo>
                    <a:cubicBezTo>
                      <a:pt x="709982" y="2380107"/>
                      <a:pt x="652799" y="2365729"/>
                      <a:pt x="613961" y="2349532"/>
                    </a:cubicBezTo>
                    <a:cubicBezTo>
                      <a:pt x="575948" y="2333832"/>
                      <a:pt x="551323" y="2317635"/>
                      <a:pt x="527028" y="2292018"/>
                    </a:cubicBezTo>
                    <a:lnTo>
                      <a:pt x="510832" y="2274996"/>
                    </a:lnTo>
                    <a:lnTo>
                      <a:pt x="505708" y="2258303"/>
                    </a:lnTo>
                    <a:cubicBezTo>
                      <a:pt x="499594" y="2238306"/>
                      <a:pt x="485545" y="2185749"/>
                      <a:pt x="477943" y="2154018"/>
                    </a:cubicBezTo>
                    <a:cubicBezTo>
                      <a:pt x="372170" y="1718035"/>
                      <a:pt x="373988" y="1245197"/>
                      <a:pt x="482901" y="824419"/>
                    </a:cubicBezTo>
                    <a:cubicBezTo>
                      <a:pt x="492487" y="787398"/>
                      <a:pt x="501412" y="756492"/>
                      <a:pt x="515129" y="712200"/>
                    </a:cubicBezTo>
                    <a:lnTo>
                      <a:pt x="525045" y="680468"/>
                    </a:lnTo>
                    <a:lnTo>
                      <a:pt x="539589" y="676502"/>
                    </a:lnTo>
                    <a:cubicBezTo>
                      <a:pt x="566363" y="669395"/>
                      <a:pt x="627678" y="656339"/>
                      <a:pt x="661228" y="650720"/>
                    </a:cubicBezTo>
                    <a:cubicBezTo>
                      <a:pt x="744359" y="636672"/>
                      <a:pt x="816086" y="631879"/>
                      <a:pt x="911777" y="633531"/>
                    </a:cubicBezTo>
                    <a:cubicBezTo>
                      <a:pt x="1022343" y="635515"/>
                      <a:pt x="1107623" y="646588"/>
                      <a:pt x="1212404" y="672370"/>
                    </a:cubicBezTo>
                    <a:cubicBezTo>
                      <a:pt x="1251408" y="681956"/>
                      <a:pt x="1272562" y="688071"/>
                      <a:pt x="1274546" y="690219"/>
                    </a:cubicBezTo>
                    <a:cubicBezTo>
                      <a:pt x="1275372" y="691045"/>
                      <a:pt x="1280661" y="708729"/>
                      <a:pt x="1286610" y="729553"/>
                    </a:cubicBezTo>
                    <a:cubicBezTo>
                      <a:pt x="1316194" y="834335"/>
                      <a:pt x="1338505" y="939116"/>
                      <a:pt x="1354041" y="1047038"/>
                    </a:cubicBezTo>
                    <a:cubicBezTo>
                      <a:pt x="1408249" y="1421375"/>
                      <a:pt x="1382963" y="1819180"/>
                      <a:pt x="1282148" y="2182940"/>
                    </a:cubicBezTo>
                    <a:cubicBezTo>
                      <a:pt x="1263307" y="2250701"/>
                      <a:pt x="1254383" y="2278632"/>
                      <a:pt x="1248763" y="2286399"/>
                    </a:cubicBezTo>
                    <a:close/>
                    <a:moveTo>
                      <a:pt x="1670533" y="2618923"/>
                    </a:moveTo>
                    <a:cubicBezTo>
                      <a:pt x="1626075" y="2794936"/>
                      <a:pt x="1561785" y="2974089"/>
                      <a:pt x="1512700" y="3058707"/>
                    </a:cubicBezTo>
                    <a:lnTo>
                      <a:pt x="1512700" y="3058707"/>
                    </a:lnTo>
                    <a:cubicBezTo>
                      <a:pt x="1496173" y="3087134"/>
                      <a:pt x="1486257" y="3096554"/>
                      <a:pt x="1476340" y="3093414"/>
                    </a:cubicBezTo>
                    <a:cubicBezTo>
                      <a:pt x="1472870" y="3092257"/>
                      <a:pt x="1467581" y="3087134"/>
                      <a:pt x="1466094" y="3083498"/>
                    </a:cubicBezTo>
                    <a:cubicBezTo>
                      <a:pt x="1465267" y="3081349"/>
                      <a:pt x="1467416" y="3040693"/>
                      <a:pt x="1471878" y="2974915"/>
                    </a:cubicBezTo>
                    <a:cubicBezTo>
                      <a:pt x="1472870" y="2959710"/>
                      <a:pt x="1474522" y="2931945"/>
                      <a:pt x="1475680" y="2913104"/>
                    </a:cubicBezTo>
                    <a:cubicBezTo>
                      <a:pt x="1476671" y="2894263"/>
                      <a:pt x="1478324" y="2866993"/>
                      <a:pt x="1479315" y="2852450"/>
                    </a:cubicBezTo>
                    <a:cubicBezTo>
                      <a:pt x="1480307" y="2837906"/>
                      <a:pt x="1482290" y="2804521"/>
                      <a:pt x="1483943" y="2778409"/>
                    </a:cubicBezTo>
                    <a:cubicBezTo>
                      <a:pt x="1485596" y="2752296"/>
                      <a:pt x="1488075" y="2712135"/>
                      <a:pt x="1489397" y="2688998"/>
                    </a:cubicBezTo>
                    <a:cubicBezTo>
                      <a:pt x="1490884" y="2665860"/>
                      <a:pt x="1492372" y="2641565"/>
                      <a:pt x="1492702" y="2634954"/>
                    </a:cubicBezTo>
                    <a:cubicBezTo>
                      <a:pt x="1493529" y="2621402"/>
                      <a:pt x="1491050" y="2588513"/>
                      <a:pt x="1487909" y="2570664"/>
                    </a:cubicBezTo>
                    <a:cubicBezTo>
                      <a:pt x="1481960" y="2536618"/>
                      <a:pt x="1470060" y="2512819"/>
                      <a:pt x="1443617" y="2482244"/>
                    </a:cubicBezTo>
                    <a:cubicBezTo>
                      <a:pt x="1428082" y="2464230"/>
                      <a:pt x="1411720" y="2449521"/>
                      <a:pt x="1347925" y="2396139"/>
                    </a:cubicBezTo>
                    <a:cubicBezTo>
                      <a:pt x="1320160" y="2372836"/>
                      <a:pt x="1295865" y="2352838"/>
                      <a:pt x="1294543" y="2351350"/>
                    </a:cubicBezTo>
                    <a:cubicBezTo>
                      <a:pt x="1291403" y="2348541"/>
                      <a:pt x="1290081" y="2353664"/>
                      <a:pt x="1311236" y="2286564"/>
                    </a:cubicBezTo>
                    <a:cubicBezTo>
                      <a:pt x="1333878" y="2215168"/>
                      <a:pt x="1351396" y="2150051"/>
                      <a:pt x="1370072" y="2066920"/>
                    </a:cubicBezTo>
                    <a:cubicBezTo>
                      <a:pt x="1375856" y="2040973"/>
                      <a:pt x="1381641" y="2018166"/>
                      <a:pt x="1382632" y="2016017"/>
                    </a:cubicBezTo>
                    <a:cubicBezTo>
                      <a:pt x="1385772" y="2009571"/>
                      <a:pt x="1388582" y="2007919"/>
                      <a:pt x="1395854" y="2008084"/>
                    </a:cubicBezTo>
                    <a:cubicBezTo>
                      <a:pt x="1407092" y="2008415"/>
                      <a:pt x="1414530" y="2014695"/>
                      <a:pt x="1458822" y="2062954"/>
                    </a:cubicBezTo>
                    <a:cubicBezTo>
                      <a:pt x="1508899" y="2117328"/>
                      <a:pt x="1547242" y="2164430"/>
                      <a:pt x="1590707" y="2225249"/>
                    </a:cubicBezTo>
                    <a:cubicBezTo>
                      <a:pt x="1628389" y="2277970"/>
                      <a:pt x="1650535" y="2313834"/>
                      <a:pt x="1667723" y="2350689"/>
                    </a:cubicBezTo>
                    <a:cubicBezTo>
                      <a:pt x="1707223" y="2435142"/>
                      <a:pt x="1707554" y="2471832"/>
                      <a:pt x="1670533" y="261908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ACBC4AE-CEED-8588-A4C2-66A252081790}"/>
                  </a:ext>
                </a:extLst>
              </p:cNvPr>
              <p:cNvSpPr/>
              <p:nvPr/>
            </p:nvSpPr>
            <p:spPr>
              <a:xfrm>
                <a:off x="8829340" y="3293111"/>
                <a:ext cx="610954" cy="963419"/>
              </a:xfrm>
              <a:custGeom>
                <a:avLst/>
                <a:gdLst>
                  <a:gd name="connsiteX0" fmla="*/ 310654 w 610954"/>
                  <a:gd name="connsiteY0" fmla="*/ 926003 h 963419"/>
                  <a:gd name="connsiteX1" fmla="*/ 374613 w 610954"/>
                  <a:gd name="connsiteY1" fmla="*/ 773789 h 963419"/>
                  <a:gd name="connsiteX2" fmla="*/ 458405 w 610954"/>
                  <a:gd name="connsiteY2" fmla="*/ 619261 h 963419"/>
                  <a:gd name="connsiteX3" fmla="*/ 560707 w 610954"/>
                  <a:gd name="connsiteY3" fmla="*/ 429200 h 963419"/>
                  <a:gd name="connsiteX4" fmla="*/ 605000 w 610954"/>
                  <a:gd name="connsiteY4" fmla="*/ 278309 h 963419"/>
                  <a:gd name="connsiteX5" fmla="*/ 608801 w 610954"/>
                  <a:gd name="connsiteY5" fmla="*/ 143779 h 963419"/>
                  <a:gd name="connsiteX6" fmla="*/ 591447 w 610954"/>
                  <a:gd name="connsiteY6" fmla="*/ 66597 h 963419"/>
                  <a:gd name="connsiteX7" fmla="*/ 566988 w 610954"/>
                  <a:gd name="connsiteY7" fmla="*/ 5943 h 963419"/>
                  <a:gd name="connsiteX8" fmla="*/ 552774 w 610954"/>
                  <a:gd name="connsiteY8" fmla="*/ 8918 h 963419"/>
                  <a:gd name="connsiteX9" fmla="*/ 469313 w 610954"/>
                  <a:gd name="connsiteY9" fmla="*/ 34204 h 963419"/>
                  <a:gd name="connsiteX10" fmla="*/ 451629 w 610954"/>
                  <a:gd name="connsiteY10" fmla="*/ 38997 h 963419"/>
                  <a:gd name="connsiteX11" fmla="*/ 460719 w 610954"/>
                  <a:gd name="connsiteY11" fmla="*/ 57012 h 963419"/>
                  <a:gd name="connsiteX12" fmla="*/ 498566 w 610954"/>
                  <a:gd name="connsiteY12" fmla="*/ 221621 h 963419"/>
                  <a:gd name="connsiteX13" fmla="*/ 422541 w 610954"/>
                  <a:gd name="connsiteY13" fmla="*/ 446719 h 963419"/>
                  <a:gd name="connsiteX14" fmla="*/ 329494 w 610954"/>
                  <a:gd name="connsiteY14" fmla="*/ 642564 h 963419"/>
                  <a:gd name="connsiteX15" fmla="*/ 308505 w 610954"/>
                  <a:gd name="connsiteY15" fmla="*/ 669338 h 963419"/>
                  <a:gd name="connsiteX16" fmla="*/ 281731 w 610954"/>
                  <a:gd name="connsiteY16" fmla="*/ 663719 h 963419"/>
                  <a:gd name="connsiteX17" fmla="*/ 269171 w 610954"/>
                  <a:gd name="connsiteY17" fmla="*/ 637771 h 963419"/>
                  <a:gd name="connsiteX18" fmla="*/ 179098 w 610954"/>
                  <a:gd name="connsiteY18" fmla="*/ 437960 h 963419"/>
                  <a:gd name="connsiteX19" fmla="*/ 119436 w 610954"/>
                  <a:gd name="connsiteY19" fmla="*/ 290373 h 963419"/>
                  <a:gd name="connsiteX20" fmla="*/ 129517 w 610954"/>
                  <a:gd name="connsiteY20" fmla="*/ 104610 h 963419"/>
                  <a:gd name="connsiteX21" fmla="*/ 157448 w 610954"/>
                  <a:gd name="connsiteY21" fmla="*/ 45939 h 963419"/>
                  <a:gd name="connsiteX22" fmla="*/ 162571 w 610954"/>
                  <a:gd name="connsiteY22" fmla="*/ 35527 h 963419"/>
                  <a:gd name="connsiteX23" fmla="*/ 144391 w 610954"/>
                  <a:gd name="connsiteY23" fmla="*/ 30568 h 963419"/>
                  <a:gd name="connsiteX24" fmla="*/ 67541 w 610954"/>
                  <a:gd name="connsiteY24" fmla="*/ 5778 h 963419"/>
                  <a:gd name="connsiteX25" fmla="*/ 48204 w 610954"/>
                  <a:gd name="connsiteY25" fmla="*/ 159 h 963419"/>
                  <a:gd name="connsiteX26" fmla="*/ 22257 w 610954"/>
                  <a:gd name="connsiteY26" fmla="*/ 59821 h 963419"/>
                  <a:gd name="connsiteX27" fmla="*/ 276 w 610954"/>
                  <a:gd name="connsiteY27" fmla="*/ 187741 h 963419"/>
                  <a:gd name="connsiteX28" fmla="*/ 25232 w 610954"/>
                  <a:gd name="connsiteY28" fmla="*/ 365902 h 963419"/>
                  <a:gd name="connsiteX29" fmla="*/ 143070 w 610954"/>
                  <a:gd name="connsiteY29" fmla="*/ 616782 h 963419"/>
                  <a:gd name="connsiteX30" fmla="*/ 210996 w 610954"/>
                  <a:gd name="connsiteY30" fmla="*/ 747676 h 963419"/>
                  <a:gd name="connsiteX31" fmla="*/ 281401 w 610954"/>
                  <a:gd name="connsiteY31" fmla="*/ 920879 h 963419"/>
                  <a:gd name="connsiteX32" fmla="*/ 296771 w 610954"/>
                  <a:gd name="connsiteY32" fmla="*/ 963354 h 963419"/>
                  <a:gd name="connsiteX33" fmla="*/ 310654 w 610954"/>
                  <a:gd name="connsiteY33" fmla="*/ 926003 h 963419"/>
                  <a:gd name="connsiteX34" fmla="*/ 310654 w 610954"/>
                  <a:gd name="connsiteY34" fmla="*/ 926003 h 96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10954" h="963419">
                    <a:moveTo>
                      <a:pt x="310654" y="926003"/>
                    </a:moveTo>
                    <a:cubicBezTo>
                      <a:pt x="328007" y="878074"/>
                      <a:pt x="355772" y="812131"/>
                      <a:pt x="374613" y="773789"/>
                    </a:cubicBezTo>
                    <a:cubicBezTo>
                      <a:pt x="403205" y="716110"/>
                      <a:pt x="424194" y="677271"/>
                      <a:pt x="458405" y="619261"/>
                    </a:cubicBezTo>
                    <a:cubicBezTo>
                      <a:pt x="511787" y="528528"/>
                      <a:pt x="542858" y="470848"/>
                      <a:pt x="560707" y="429200"/>
                    </a:cubicBezTo>
                    <a:cubicBezTo>
                      <a:pt x="578722" y="387387"/>
                      <a:pt x="597728" y="322766"/>
                      <a:pt x="605000" y="278309"/>
                    </a:cubicBezTo>
                    <a:cubicBezTo>
                      <a:pt x="611115" y="241949"/>
                      <a:pt x="612767" y="181130"/>
                      <a:pt x="608801" y="143779"/>
                    </a:cubicBezTo>
                    <a:cubicBezTo>
                      <a:pt x="606818" y="124607"/>
                      <a:pt x="599381" y="91388"/>
                      <a:pt x="591447" y="66597"/>
                    </a:cubicBezTo>
                    <a:cubicBezTo>
                      <a:pt x="585167" y="46600"/>
                      <a:pt x="569962" y="9083"/>
                      <a:pt x="566988" y="5943"/>
                    </a:cubicBezTo>
                    <a:cubicBezTo>
                      <a:pt x="565831" y="4786"/>
                      <a:pt x="561203" y="5613"/>
                      <a:pt x="552774" y="8918"/>
                    </a:cubicBezTo>
                    <a:cubicBezTo>
                      <a:pt x="534429" y="16025"/>
                      <a:pt x="489641" y="29577"/>
                      <a:pt x="469313" y="34204"/>
                    </a:cubicBezTo>
                    <a:cubicBezTo>
                      <a:pt x="459562" y="36353"/>
                      <a:pt x="451629" y="38502"/>
                      <a:pt x="451629" y="38997"/>
                    </a:cubicBezTo>
                    <a:cubicBezTo>
                      <a:pt x="451629" y="39493"/>
                      <a:pt x="455761" y="47426"/>
                      <a:pt x="460719" y="57012"/>
                    </a:cubicBezTo>
                    <a:cubicBezTo>
                      <a:pt x="489311" y="111881"/>
                      <a:pt x="500053" y="158653"/>
                      <a:pt x="498566" y="221621"/>
                    </a:cubicBezTo>
                    <a:cubicBezTo>
                      <a:pt x="496913" y="292852"/>
                      <a:pt x="479064" y="345573"/>
                      <a:pt x="422541" y="446719"/>
                    </a:cubicBezTo>
                    <a:cubicBezTo>
                      <a:pt x="386017" y="512166"/>
                      <a:pt x="344534" y="599594"/>
                      <a:pt x="329494" y="642564"/>
                    </a:cubicBezTo>
                    <a:cubicBezTo>
                      <a:pt x="323545" y="659917"/>
                      <a:pt x="318752" y="666032"/>
                      <a:pt x="308505" y="669338"/>
                    </a:cubicBezTo>
                    <a:cubicBezTo>
                      <a:pt x="299084" y="672313"/>
                      <a:pt x="289334" y="670164"/>
                      <a:pt x="281731" y="663719"/>
                    </a:cubicBezTo>
                    <a:cubicBezTo>
                      <a:pt x="276608" y="659257"/>
                      <a:pt x="275616" y="656612"/>
                      <a:pt x="269171" y="637771"/>
                    </a:cubicBezTo>
                    <a:cubicBezTo>
                      <a:pt x="253470" y="590339"/>
                      <a:pt x="219094" y="514314"/>
                      <a:pt x="179098" y="437960"/>
                    </a:cubicBezTo>
                    <a:cubicBezTo>
                      <a:pt x="145053" y="373008"/>
                      <a:pt x="130013" y="335823"/>
                      <a:pt x="119436" y="290373"/>
                    </a:cubicBezTo>
                    <a:cubicBezTo>
                      <a:pt x="105884" y="231868"/>
                      <a:pt x="109685" y="160636"/>
                      <a:pt x="129517" y="104610"/>
                    </a:cubicBezTo>
                    <a:cubicBezTo>
                      <a:pt x="135302" y="88413"/>
                      <a:pt x="147036" y="63788"/>
                      <a:pt x="157448" y="45939"/>
                    </a:cubicBezTo>
                    <a:cubicBezTo>
                      <a:pt x="160588" y="40485"/>
                      <a:pt x="162902" y="35857"/>
                      <a:pt x="162571" y="35527"/>
                    </a:cubicBezTo>
                    <a:cubicBezTo>
                      <a:pt x="162241" y="35196"/>
                      <a:pt x="154143" y="32882"/>
                      <a:pt x="144391" y="30568"/>
                    </a:cubicBezTo>
                    <a:cubicBezTo>
                      <a:pt x="121915" y="24949"/>
                      <a:pt x="90348" y="14703"/>
                      <a:pt x="67541" y="5778"/>
                    </a:cubicBezTo>
                    <a:cubicBezTo>
                      <a:pt x="57459" y="1812"/>
                      <a:pt x="49031" y="-668"/>
                      <a:pt x="48204" y="159"/>
                    </a:cubicBezTo>
                    <a:cubicBezTo>
                      <a:pt x="45395" y="2803"/>
                      <a:pt x="28372" y="42137"/>
                      <a:pt x="22257" y="59821"/>
                    </a:cubicBezTo>
                    <a:cubicBezTo>
                      <a:pt x="6556" y="105932"/>
                      <a:pt x="1598" y="135350"/>
                      <a:pt x="276" y="187741"/>
                    </a:cubicBezTo>
                    <a:cubicBezTo>
                      <a:pt x="-1377" y="254179"/>
                      <a:pt x="4077" y="293679"/>
                      <a:pt x="25232" y="365902"/>
                    </a:cubicBezTo>
                    <a:cubicBezTo>
                      <a:pt x="44073" y="430853"/>
                      <a:pt x="68863" y="483409"/>
                      <a:pt x="143070" y="616782"/>
                    </a:cubicBezTo>
                    <a:cubicBezTo>
                      <a:pt x="174471" y="673304"/>
                      <a:pt x="188519" y="700243"/>
                      <a:pt x="210996" y="747676"/>
                    </a:cubicBezTo>
                    <a:cubicBezTo>
                      <a:pt x="238596" y="806182"/>
                      <a:pt x="262395" y="864522"/>
                      <a:pt x="281401" y="920879"/>
                    </a:cubicBezTo>
                    <a:cubicBezTo>
                      <a:pt x="294787" y="960379"/>
                      <a:pt x="296110" y="964015"/>
                      <a:pt x="296771" y="963354"/>
                    </a:cubicBezTo>
                    <a:cubicBezTo>
                      <a:pt x="297101" y="963023"/>
                      <a:pt x="303382" y="946166"/>
                      <a:pt x="310654" y="926003"/>
                    </a:cubicBezTo>
                    <a:lnTo>
                      <a:pt x="310654" y="926003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B2FA952B-36CA-A5DB-C6A7-7321C4828F6C}"/>
                  </a:ext>
                </a:extLst>
              </p:cNvPr>
              <p:cNvSpPr/>
              <p:nvPr/>
            </p:nvSpPr>
            <p:spPr>
              <a:xfrm>
                <a:off x="8998464" y="3339876"/>
                <a:ext cx="272718" cy="512689"/>
              </a:xfrm>
              <a:custGeom>
                <a:avLst/>
                <a:gdLst>
                  <a:gd name="connsiteX0" fmla="*/ 144009 w 272718"/>
                  <a:gd name="connsiteY0" fmla="*/ 487382 h 512689"/>
                  <a:gd name="connsiteX1" fmla="*/ 206316 w 272718"/>
                  <a:gd name="connsiteY1" fmla="*/ 366900 h 512689"/>
                  <a:gd name="connsiteX2" fmla="*/ 245650 w 272718"/>
                  <a:gd name="connsiteY2" fmla="*/ 290049 h 512689"/>
                  <a:gd name="connsiteX3" fmla="*/ 266804 w 272718"/>
                  <a:gd name="connsiteY3" fmla="*/ 106434 h 512689"/>
                  <a:gd name="connsiteX4" fmla="*/ 232924 w 272718"/>
                  <a:gd name="connsiteY4" fmla="*/ 22642 h 512689"/>
                  <a:gd name="connsiteX5" fmla="*/ 194581 w 272718"/>
                  <a:gd name="connsiteY5" fmla="*/ 4958 h 512689"/>
                  <a:gd name="connsiteX6" fmla="*/ 80214 w 272718"/>
                  <a:gd name="connsiteY6" fmla="*/ 3471 h 512689"/>
                  <a:gd name="connsiteX7" fmla="*/ 57407 w 272718"/>
                  <a:gd name="connsiteY7" fmla="*/ 0 h 512689"/>
                  <a:gd name="connsiteX8" fmla="*/ 52779 w 272718"/>
                  <a:gd name="connsiteY8" fmla="*/ 5619 h 512689"/>
                  <a:gd name="connsiteX9" fmla="*/ 21874 w 272718"/>
                  <a:gd name="connsiteY9" fmla="*/ 59167 h 512689"/>
                  <a:gd name="connsiteX10" fmla="*/ 389 w 272718"/>
                  <a:gd name="connsiteY10" fmla="*/ 156180 h 512689"/>
                  <a:gd name="connsiteX11" fmla="*/ 60051 w 272718"/>
                  <a:gd name="connsiteY11" fmla="*/ 362603 h 512689"/>
                  <a:gd name="connsiteX12" fmla="*/ 125168 w 272718"/>
                  <a:gd name="connsiteY12" fmla="*/ 496967 h 512689"/>
                  <a:gd name="connsiteX13" fmla="*/ 132109 w 272718"/>
                  <a:gd name="connsiteY13" fmla="*/ 512668 h 512689"/>
                  <a:gd name="connsiteX14" fmla="*/ 144339 w 272718"/>
                  <a:gd name="connsiteY14" fmla="*/ 487217 h 512689"/>
                  <a:gd name="connsiteX15" fmla="*/ 144339 w 272718"/>
                  <a:gd name="connsiteY15" fmla="*/ 487217 h 512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2718" h="512689">
                    <a:moveTo>
                      <a:pt x="144009" y="487382"/>
                    </a:moveTo>
                    <a:cubicBezTo>
                      <a:pt x="152437" y="469037"/>
                      <a:pt x="171278" y="432512"/>
                      <a:pt x="206316" y="366900"/>
                    </a:cubicBezTo>
                    <a:cubicBezTo>
                      <a:pt x="223999" y="333680"/>
                      <a:pt x="241683" y="299139"/>
                      <a:pt x="245650" y="290049"/>
                    </a:cubicBezTo>
                    <a:cubicBezTo>
                      <a:pt x="272093" y="228569"/>
                      <a:pt x="279200" y="166592"/>
                      <a:pt x="266804" y="106434"/>
                    </a:cubicBezTo>
                    <a:cubicBezTo>
                      <a:pt x="260855" y="77512"/>
                      <a:pt x="250773" y="52721"/>
                      <a:pt x="232924" y="22642"/>
                    </a:cubicBezTo>
                    <a:cubicBezTo>
                      <a:pt x="219868" y="496"/>
                      <a:pt x="222181" y="1653"/>
                      <a:pt x="194581" y="4958"/>
                    </a:cubicBezTo>
                    <a:cubicBezTo>
                      <a:pt x="164337" y="8594"/>
                      <a:pt x="110294" y="7933"/>
                      <a:pt x="80214" y="3471"/>
                    </a:cubicBezTo>
                    <a:lnTo>
                      <a:pt x="57407" y="0"/>
                    </a:lnTo>
                    <a:lnTo>
                      <a:pt x="52779" y="5619"/>
                    </a:lnTo>
                    <a:cubicBezTo>
                      <a:pt x="46003" y="13883"/>
                      <a:pt x="29972" y="41648"/>
                      <a:pt x="21874" y="59167"/>
                    </a:cubicBezTo>
                    <a:cubicBezTo>
                      <a:pt x="8983" y="87097"/>
                      <a:pt x="2042" y="118168"/>
                      <a:pt x="389" y="156180"/>
                    </a:cubicBezTo>
                    <a:cubicBezTo>
                      <a:pt x="-2586" y="221793"/>
                      <a:pt x="10966" y="268729"/>
                      <a:pt x="60051" y="362603"/>
                    </a:cubicBezTo>
                    <a:cubicBezTo>
                      <a:pt x="83685" y="407887"/>
                      <a:pt x="112773" y="468045"/>
                      <a:pt x="125168" y="496967"/>
                    </a:cubicBezTo>
                    <a:cubicBezTo>
                      <a:pt x="128804" y="505396"/>
                      <a:pt x="131778" y="512503"/>
                      <a:pt x="132109" y="512668"/>
                    </a:cubicBezTo>
                    <a:cubicBezTo>
                      <a:pt x="132440" y="512999"/>
                      <a:pt x="134092" y="509693"/>
                      <a:pt x="144339" y="487217"/>
                    </a:cubicBezTo>
                    <a:lnTo>
                      <a:pt x="144339" y="487217"/>
                    </a:lnTo>
                    <a:close/>
                  </a:path>
                </a:pathLst>
              </a:custGeom>
              <a:solidFill>
                <a:schemeClr val="tx1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7CD14FF0-8D4E-B5E8-FFDB-ACD11B55F984}"/>
                  </a:ext>
                </a:extLst>
              </p:cNvPr>
              <p:cNvSpPr/>
              <p:nvPr/>
            </p:nvSpPr>
            <p:spPr>
              <a:xfrm>
                <a:off x="9408026" y="2413541"/>
                <a:ext cx="117288" cy="339581"/>
              </a:xfrm>
              <a:custGeom>
                <a:avLst/>
                <a:gdLst>
                  <a:gd name="connsiteX0" fmla="*/ 40032 w 117288"/>
                  <a:gd name="connsiteY0" fmla="*/ 336981 h 339581"/>
                  <a:gd name="connsiteX1" fmla="*/ 532 w 117288"/>
                  <a:gd name="connsiteY1" fmla="*/ 316653 h 339581"/>
                  <a:gd name="connsiteX2" fmla="*/ 6647 w 117288"/>
                  <a:gd name="connsiteY2" fmla="*/ 285252 h 339581"/>
                  <a:gd name="connsiteX3" fmla="*/ 47965 w 117288"/>
                  <a:gd name="connsiteY3" fmla="*/ 118494 h 339581"/>
                  <a:gd name="connsiteX4" fmla="*/ 66971 w 117288"/>
                  <a:gd name="connsiteY4" fmla="*/ 21480 h 339581"/>
                  <a:gd name="connsiteX5" fmla="*/ 114238 w 117288"/>
                  <a:gd name="connsiteY5" fmla="*/ 13547 h 339581"/>
                  <a:gd name="connsiteX6" fmla="*/ 113246 w 117288"/>
                  <a:gd name="connsiteY6" fmla="*/ 71557 h 339581"/>
                  <a:gd name="connsiteX7" fmla="*/ 66144 w 117288"/>
                  <a:gd name="connsiteY7" fmla="*/ 287896 h 339581"/>
                  <a:gd name="connsiteX8" fmla="*/ 40197 w 117288"/>
                  <a:gd name="connsiteY8" fmla="*/ 337147 h 33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288" h="339581">
                    <a:moveTo>
                      <a:pt x="40032" y="336981"/>
                    </a:moveTo>
                    <a:cubicBezTo>
                      <a:pt x="23009" y="344584"/>
                      <a:pt x="4168" y="334833"/>
                      <a:pt x="532" y="316653"/>
                    </a:cubicBezTo>
                    <a:cubicBezTo>
                      <a:pt x="-790" y="309877"/>
                      <a:pt x="36" y="305580"/>
                      <a:pt x="6647" y="285252"/>
                    </a:cubicBezTo>
                    <a:cubicBezTo>
                      <a:pt x="23339" y="233357"/>
                      <a:pt x="37387" y="176173"/>
                      <a:pt x="47965" y="118494"/>
                    </a:cubicBezTo>
                    <a:cubicBezTo>
                      <a:pt x="52096" y="95522"/>
                      <a:pt x="55567" y="77672"/>
                      <a:pt x="66971" y="21480"/>
                    </a:cubicBezTo>
                    <a:cubicBezTo>
                      <a:pt x="71929" y="-2814"/>
                      <a:pt x="102669" y="-7938"/>
                      <a:pt x="114238" y="13547"/>
                    </a:cubicBezTo>
                    <a:cubicBezTo>
                      <a:pt x="118535" y="21480"/>
                      <a:pt x="118370" y="34041"/>
                      <a:pt x="113246" y="71557"/>
                    </a:cubicBezTo>
                    <a:cubicBezTo>
                      <a:pt x="103000" y="147251"/>
                      <a:pt x="87299" y="219144"/>
                      <a:pt x="66144" y="287896"/>
                    </a:cubicBezTo>
                    <a:cubicBezTo>
                      <a:pt x="54741" y="324751"/>
                      <a:pt x="50774" y="332519"/>
                      <a:pt x="40197" y="33714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F392505F-14F6-1F78-F8AE-D677B80BE315}"/>
                  </a:ext>
                </a:extLst>
              </p:cNvPr>
              <p:cNvSpPr/>
              <p:nvPr/>
            </p:nvSpPr>
            <p:spPr>
              <a:xfrm>
                <a:off x="9285294" y="2599115"/>
                <a:ext cx="86070" cy="200458"/>
              </a:xfrm>
              <a:custGeom>
                <a:avLst/>
                <a:gdLst>
                  <a:gd name="connsiteX0" fmla="*/ 37158 w 86070"/>
                  <a:gd name="connsiteY0" fmla="*/ 198840 h 200458"/>
                  <a:gd name="connsiteX1" fmla="*/ 13690 w 86070"/>
                  <a:gd name="connsiteY1" fmla="*/ 196195 h 200458"/>
                  <a:gd name="connsiteX2" fmla="*/ 1459 w 86070"/>
                  <a:gd name="connsiteY2" fmla="*/ 162150 h 200458"/>
                  <a:gd name="connsiteX3" fmla="*/ 23275 w 86070"/>
                  <a:gd name="connsiteY3" fmla="*/ 79184 h 200458"/>
                  <a:gd name="connsiteX4" fmla="*/ 31208 w 86070"/>
                  <a:gd name="connsiteY4" fmla="*/ 43320 h 200458"/>
                  <a:gd name="connsiteX5" fmla="*/ 44265 w 86070"/>
                  <a:gd name="connsiteY5" fmla="*/ 6961 h 200458"/>
                  <a:gd name="connsiteX6" fmla="*/ 83103 w 86070"/>
                  <a:gd name="connsiteY6" fmla="*/ 12911 h 200458"/>
                  <a:gd name="connsiteX7" fmla="*/ 65419 w 86070"/>
                  <a:gd name="connsiteY7" fmla="*/ 145457 h 200458"/>
                  <a:gd name="connsiteX8" fmla="*/ 55833 w 86070"/>
                  <a:gd name="connsiteY8" fmla="*/ 179999 h 200458"/>
                  <a:gd name="connsiteX9" fmla="*/ 37323 w 86070"/>
                  <a:gd name="connsiteY9" fmla="*/ 199170 h 200458"/>
                  <a:gd name="connsiteX10" fmla="*/ 37323 w 86070"/>
                  <a:gd name="connsiteY10" fmla="*/ 199170 h 20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6070" h="200458">
                    <a:moveTo>
                      <a:pt x="37158" y="198840"/>
                    </a:moveTo>
                    <a:cubicBezTo>
                      <a:pt x="28399" y="201649"/>
                      <a:pt x="21292" y="200823"/>
                      <a:pt x="13690" y="196195"/>
                    </a:cubicBezTo>
                    <a:cubicBezTo>
                      <a:pt x="1625" y="188593"/>
                      <a:pt x="-2507" y="177189"/>
                      <a:pt x="1459" y="162150"/>
                    </a:cubicBezTo>
                    <a:cubicBezTo>
                      <a:pt x="6418" y="143639"/>
                      <a:pt x="19143" y="94885"/>
                      <a:pt x="23275" y="79184"/>
                    </a:cubicBezTo>
                    <a:cubicBezTo>
                      <a:pt x="25424" y="70755"/>
                      <a:pt x="29060" y="54559"/>
                      <a:pt x="31208" y="43320"/>
                    </a:cubicBezTo>
                    <a:cubicBezTo>
                      <a:pt x="36331" y="16712"/>
                      <a:pt x="37488" y="13241"/>
                      <a:pt x="44265" y="6961"/>
                    </a:cubicBezTo>
                    <a:cubicBezTo>
                      <a:pt x="56164" y="-4277"/>
                      <a:pt x="73683" y="-1633"/>
                      <a:pt x="83103" y="12911"/>
                    </a:cubicBezTo>
                    <a:cubicBezTo>
                      <a:pt x="90540" y="24479"/>
                      <a:pt x="83764" y="76209"/>
                      <a:pt x="65419" y="145457"/>
                    </a:cubicBezTo>
                    <a:cubicBezTo>
                      <a:pt x="61122" y="161489"/>
                      <a:pt x="56825" y="177024"/>
                      <a:pt x="55833" y="179999"/>
                    </a:cubicBezTo>
                    <a:cubicBezTo>
                      <a:pt x="52858" y="188427"/>
                      <a:pt x="44760" y="196691"/>
                      <a:pt x="37323" y="199170"/>
                    </a:cubicBezTo>
                    <a:lnTo>
                      <a:pt x="37323" y="199170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5A833B7A-AEBC-7CED-53B6-E37DCEC79399}"/>
                  </a:ext>
                </a:extLst>
              </p:cNvPr>
              <p:cNvSpPr/>
              <p:nvPr/>
            </p:nvSpPr>
            <p:spPr>
              <a:xfrm>
                <a:off x="9186914" y="2744573"/>
                <a:ext cx="57415" cy="71418"/>
              </a:xfrm>
              <a:custGeom>
                <a:avLst/>
                <a:gdLst>
                  <a:gd name="connsiteX0" fmla="*/ 36707 w 57415"/>
                  <a:gd name="connsiteY0" fmla="*/ 69082 h 71418"/>
                  <a:gd name="connsiteX1" fmla="*/ 17 w 57415"/>
                  <a:gd name="connsiteY1" fmla="*/ 43796 h 71418"/>
                  <a:gd name="connsiteX2" fmla="*/ 14561 w 57415"/>
                  <a:gd name="connsiteY2" fmla="*/ 5784 h 71418"/>
                  <a:gd name="connsiteX3" fmla="*/ 50259 w 57415"/>
                  <a:gd name="connsiteY3" fmla="*/ 8098 h 71418"/>
                  <a:gd name="connsiteX4" fmla="*/ 53564 w 57415"/>
                  <a:gd name="connsiteY4" fmla="*/ 46606 h 71418"/>
                  <a:gd name="connsiteX5" fmla="*/ 36872 w 57415"/>
                  <a:gd name="connsiteY5" fmla="*/ 69082 h 7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415" h="71418">
                    <a:moveTo>
                      <a:pt x="36707" y="69082"/>
                    </a:moveTo>
                    <a:cubicBezTo>
                      <a:pt x="18362" y="77016"/>
                      <a:pt x="-644" y="63794"/>
                      <a:pt x="17" y="43796"/>
                    </a:cubicBezTo>
                    <a:cubicBezTo>
                      <a:pt x="182" y="35533"/>
                      <a:pt x="9933" y="10081"/>
                      <a:pt x="14561" y="5784"/>
                    </a:cubicBezTo>
                    <a:cubicBezTo>
                      <a:pt x="23650" y="-2810"/>
                      <a:pt x="41004" y="-1653"/>
                      <a:pt x="50259" y="8098"/>
                    </a:cubicBezTo>
                    <a:cubicBezTo>
                      <a:pt x="58688" y="17022"/>
                      <a:pt x="59514" y="27765"/>
                      <a:pt x="53564" y="46606"/>
                    </a:cubicBezTo>
                    <a:cubicBezTo>
                      <a:pt x="49433" y="59331"/>
                      <a:pt x="44640" y="65777"/>
                      <a:pt x="36872" y="6908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68CD792-367C-03AE-60D5-650AB1A71E6B}"/>
                  </a:ext>
                </a:extLst>
              </p:cNvPr>
              <p:cNvSpPr/>
              <p:nvPr/>
            </p:nvSpPr>
            <p:spPr>
              <a:xfrm>
                <a:off x="9041702" y="2742651"/>
                <a:ext cx="56769" cy="71811"/>
              </a:xfrm>
              <a:custGeom>
                <a:avLst/>
                <a:gdLst>
                  <a:gd name="connsiteX0" fmla="*/ 39125 w 56769"/>
                  <a:gd name="connsiteY0" fmla="*/ 70509 h 71811"/>
                  <a:gd name="connsiteX1" fmla="*/ 12682 w 56769"/>
                  <a:gd name="connsiteY1" fmla="*/ 63732 h 71811"/>
                  <a:gd name="connsiteX2" fmla="*/ 1113 w 56769"/>
                  <a:gd name="connsiteY2" fmla="*/ 17953 h 71811"/>
                  <a:gd name="connsiteX3" fmla="*/ 19458 w 56769"/>
                  <a:gd name="connsiteY3" fmla="*/ 930 h 71811"/>
                  <a:gd name="connsiteX4" fmla="*/ 43422 w 56769"/>
                  <a:gd name="connsiteY4" fmla="*/ 6880 h 71811"/>
                  <a:gd name="connsiteX5" fmla="*/ 56479 w 56769"/>
                  <a:gd name="connsiteY5" fmla="*/ 51337 h 71811"/>
                  <a:gd name="connsiteX6" fmla="*/ 38960 w 56769"/>
                  <a:gd name="connsiteY6" fmla="*/ 70509 h 71811"/>
                  <a:gd name="connsiteX7" fmla="*/ 38960 w 56769"/>
                  <a:gd name="connsiteY7" fmla="*/ 70509 h 71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769" h="71811">
                    <a:moveTo>
                      <a:pt x="39125" y="70509"/>
                    </a:moveTo>
                    <a:cubicBezTo>
                      <a:pt x="29705" y="73649"/>
                      <a:pt x="19623" y="71004"/>
                      <a:pt x="12682" y="63732"/>
                    </a:cubicBezTo>
                    <a:cubicBezTo>
                      <a:pt x="3758" y="54312"/>
                      <a:pt x="-2688" y="28860"/>
                      <a:pt x="1113" y="17953"/>
                    </a:cubicBezTo>
                    <a:cubicBezTo>
                      <a:pt x="3262" y="11838"/>
                      <a:pt x="12682" y="3078"/>
                      <a:pt x="19458" y="930"/>
                    </a:cubicBezTo>
                    <a:cubicBezTo>
                      <a:pt x="27061" y="-1549"/>
                      <a:pt x="37968" y="1095"/>
                      <a:pt x="43422" y="6880"/>
                    </a:cubicBezTo>
                    <a:cubicBezTo>
                      <a:pt x="49868" y="13656"/>
                      <a:pt x="58462" y="42743"/>
                      <a:pt x="56479" y="51337"/>
                    </a:cubicBezTo>
                    <a:cubicBezTo>
                      <a:pt x="54495" y="59931"/>
                      <a:pt x="47554" y="67699"/>
                      <a:pt x="38960" y="70509"/>
                    </a:cubicBezTo>
                    <a:lnTo>
                      <a:pt x="38960" y="70509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418E6758-4798-798B-3867-92C1A4C803C9}"/>
                  </a:ext>
                </a:extLst>
              </p:cNvPr>
              <p:cNvSpPr/>
              <p:nvPr/>
            </p:nvSpPr>
            <p:spPr>
              <a:xfrm>
                <a:off x="8918030" y="2593921"/>
                <a:ext cx="82836" cy="201113"/>
              </a:xfrm>
              <a:custGeom>
                <a:avLst/>
                <a:gdLst>
                  <a:gd name="connsiteX0" fmla="*/ 64130 w 82836"/>
                  <a:gd name="connsiteY0" fmla="*/ 200232 h 201113"/>
                  <a:gd name="connsiteX1" fmla="*/ 44794 w 82836"/>
                  <a:gd name="connsiteY1" fmla="*/ 199736 h 201113"/>
                  <a:gd name="connsiteX2" fmla="*/ 26779 w 82836"/>
                  <a:gd name="connsiteY2" fmla="*/ 179243 h 201113"/>
                  <a:gd name="connsiteX3" fmla="*/ 7112 w 82836"/>
                  <a:gd name="connsiteY3" fmla="*/ 94624 h 201113"/>
                  <a:gd name="connsiteX4" fmla="*/ 5 w 82836"/>
                  <a:gd name="connsiteY4" fmla="*/ 28681 h 201113"/>
                  <a:gd name="connsiteX5" fmla="*/ 38844 w 82836"/>
                  <a:gd name="connsiteY5" fmla="*/ 3891 h 201113"/>
                  <a:gd name="connsiteX6" fmla="*/ 53718 w 82836"/>
                  <a:gd name="connsiteY6" fmla="*/ 38598 h 201113"/>
                  <a:gd name="connsiteX7" fmla="*/ 69254 w 82836"/>
                  <a:gd name="connsiteY7" fmla="*/ 110490 h 201113"/>
                  <a:gd name="connsiteX8" fmla="*/ 81649 w 82836"/>
                  <a:gd name="connsiteY8" fmla="*/ 182383 h 201113"/>
                  <a:gd name="connsiteX9" fmla="*/ 64296 w 82836"/>
                  <a:gd name="connsiteY9" fmla="*/ 200067 h 201113"/>
                  <a:gd name="connsiteX10" fmla="*/ 64296 w 82836"/>
                  <a:gd name="connsiteY10" fmla="*/ 200067 h 20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2836" h="201113">
                    <a:moveTo>
                      <a:pt x="64130" y="200232"/>
                    </a:moveTo>
                    <a:cubicBezTo>
                      <a:pt x="58842" y="201554"/>
                      <a:pt x="49586" y="201389"/>
                      <a:pt x="44794" y="199736"/>
                    </a:cubicBezTo>
                    <a:cubicBezTo>
                      <a:pt x="38183" y="197423"/>
                      <a:pt x="29258" y="187341"/>
                      <a:pt x="26779" y="179243"/>
                    </a:cubicBezTo>
                    <a:cubicBezTo>
                      <a:pt x="22978" y="166682"/>
                      <a:pt x="9426" y="108176"/>
                      <a:pt x="7112" y="94624"/>
                    </a:cubicBezTo>
                    <a:cubicBezTo>
                      <a:pt x="3476" y="73470"/>
                      <a:pt x="-160" y="39424"/>
                      <a:pt x="5" y="28681"/>
                    </a:cubicBezTo>
                    <a:cubicBezTo>
                      <a:pt x="336" y="6205"/>
                      <a:pt x="20995" y="-7017"/>
                      <a:pt x="38844" y="3891"/>
                    </a:cubicBezTo>
                    <a:cubicBezTo>
                      <a:pt x="47108" y="9014"/>
                      <a:pt x="49917" y="15625"/>
                      <a:pt x="53718" y="38598"/>
                    </a:cubicBezTo>
                    <a:cubicBezTo>
                      <a:pt x="55536" y="49671"/>
                      <a:pt x="62478" y="82064"/>
                      <a:pt x="69254" y="110490"/>
                    </a:cubicBezTo>
                    <a:cubicBezTo>
                      <a:pt x="83467" y="169988"/>
                      <a:pt x="84293" y="174946"/>
                      <a:pt x="81649" y="182383"/>
                    </a:cubicBezTo>
                    <a:cubicBezTo>
                      <a:pt x="79335" y="188663"/>
                      <a:pt x="69419" y="198745"/>
                      <a:pt x="64296" y="200067"/>
                    </a:cubicBezTo>
                    <a:lnTo>
                      <a:pt x="64296" y="200067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E76EB67B-98AE-7081-4A8A-AE4A7F65FBA9}"/>
                  </a:ext>
                </a:extLst>
              </p:cNvPr>
              <p:cNvSpPr/>
              <p:nvPr/>
            </p:nvSpPr>
            <p:spPr>
              <a:xfrm>
                <a:off x="8768968" y="2405202"/>
                <a:ext cx="111073" cy="340976"/>
              </a:xfrm>
              <a:custGeom>
                <a:avLst/>
                <a:gdLst>
                  <a:gd name="connsiteX0" fmla="*/ 91553 w 111073"/>
                  <a:gd name="connsiteY0" fmla="*/ 339701 h 340976"/>
                  <a:gd name="connsiteX1" fmla="*/ 70895 w 111073"/>
                  <a:gd name="connsiteY1" fmla="*/ 338710 h 340976"/>
                  <a:gd name="connsiteX2" fmla="*/ 61309 w 111073"/>
                  <a:gd name="connsiteY2" fmla="*/ 330777 h 340976"/>
                  <a:gd name="connsiteX3" fmla="*/ 47757 w 111073"/>
                  <a:gd name="connsiteY3" fmla="*/ 297723 h 340976"/>
                  <a:gd name="connsiteX4" fmla="*/ 3795 w 111073"/>
                  <a:gd name="connsiteY4" fmla="*/ 78905 h 340976"/>
                  <a:gd name="connsiteX5" fmla="*/ 2803 w 111073"/>
                  <a:gd name="connsiteY5" fmla="*/ 14119 h 340976"/>
                  <a:gd name="connsiteX6" fmla="*/ 43790 w 111073"/>
                  <a:gd name="connsiteY6" fmla="*/ 8004 h 340976"/>
                  <a:gd name="connsiteX7" fmla="*/ 65606 w 111073"/>
                  <a:gd name="connsiteY7" fmla="*/ 109645 h 340976"/>
                  <a:gd name="connsiteX8" fmla="*/ 73208 w 111073"/>
                  <a:gd name="connsiteY8" fmla="*/ 154433 h 340976"/>
                  <a:gd name="connsiteX9" fmla="*/ 100974 w 111073"/>
                  <a:gd name="connsiteY9" fmla="*/ 274089 h 340976"/>
                  <a:gd name="connsiteX10" fmla="*/ 111055 w 111073"/>
                  <a:gd name="connsiteY10" fmla="*/ 312597 h 340976"/>
                  <a:gd name="connsiteX11" fmla="*/ 91884 w 111073"/>
                  <a:gd name="connsiteY11" fmla="*/ 339701 h 340976"/>
                  <a:gd name="connsiteX12" fmla="*/ 91884 w 111073"/>
                  <a:gd name="connsiteY12" fmla="*/ 339701 h 340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073" h="340976">
                    <a:moveTo>
                      <a:pt x="91553" y="339701"/>
                    </a:moveTo>
                    <a:cubicBezTo>
                      <a:pt x="85769" y="341685"/>
                      <a:pt x="76349" y="341354"/>
                      <a:pt x="70895" y="338710"/>
                    </a:cubicBezTo>
                    <a:cubicBezTo>
                      <a:pt x="68581" y="337718"/>
                      <a:pt x="64284" y="334082"/>
                      <a:pt x="61309" y="330777"/>
                    </a:cubicBezTo>
                    <a:cubicBezTo>
                      <a:pt x="56351" y="325488"/>
                      <a:pt x="54863" y="321852"/>
                      <a:pt x="47757" y="297723"/>
                    </a:cubicBezTo>
                    <a:cubicBezTo>
                      <a:pt x="27759" y="229962"/>
                      <a:pt x="12224" y="152450"/>
                      <a:pt x="3795" y="78905"/>
                    </a:cubicBezTo>
                    <a:cubicBezTo>
                      <a:pt x="-998" y="37753"/>
                      <a:pt x="-1163" y="22548"/>
                      <a:pt x="2803" y="14119"/>
                    </a:cubicBezTo>
                    <a:cubicBezTo>
                      <a:pt x="10406" y="-1747"/>
                      <a:pt x="31560" y="-4887"/>
                      <a:pt x="43790" y="8004"/>
                    </a:cubicBezTo>
                    <a:cubicBezTo>
                      <a:pt x="49409" y="13954"/>
                      <a:pt x="50071" y="16929"/>
                      <a:pt x="65606" y="109645"/>
                    </a:cubicBezTo>
                    <a:cubicBezTo>
                      <a:pt x="67754" y="122040"/>
                      <a:pt x="71060" y="142203"/>
                      <a:pt x="73208" y="154433"/>
                    </a:cubicBezTo>
                    <a:cubicBezTo>
                      <a:pt x="78662" y="187157"/>
                      <a:pt x="89570" y="234424"/>
                      <a:pt x="100974" y="274089"/>
                    </a:cubicBezTo>
                    <a:cubicBezTo>
                      <a:pt x="106428" y="293260"/>
                      <a:pt x="110890" y="310614"/>
                      <a:pt x="111055" y="312597"/>
                    </a:cubicBezTo>
                    <a:cubicBezTo>
                      <a:pt x="111551" y="322678"/>
                      <a:pt x="102131" y="336065"/>
                      <a:pt x="91884" y="339701"/>
                    </a:cubicBezTo>
                    <a:lnTo>
                      <a:pt x="91884" y="339701"/>
                    </a:ln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70F92E3F-1AEB-D40C-33E3-0EF2FCC30919}"/>
                  </a:ext>
                </a:extLst>
              </p:cNvPr>
              <p:cNvSpPr/>
              <p:nvPr/>
            </p:nvSpPr>
            <p:spPr>
              <a:xfrm>
                <a:off x="8811061" y="987682"/>
                <a:ext cx="704465" cy="104527"/>
              </a:xfrm>
              <a:custGeom>
                <a:avLst/>
                <a:gdLst>
                  <a:gd name="connsiteX0" fmla="*/ 700626 w 704465"/>
                  <a:gd name="connsiteY0" fmla="*/ 92123 h 104527"/>
                  <a:gd name="connsiteX1" fmla="*/ 689552 w 704465"/>
                  <a:gd name="connsiteY1" fmla="*/ 60887 h 104527"/>
                  <a:gd name="connsiteX2" fmla="*/ 682611 w 704465"/>
                  <a:gd name="connsiteY2" fmla="*/ 41715 h 104527"/>
                  <a:gd name="connsiteX3" fmla="*/ 675505 w 704465"/>
                  <a:gd name="connsiteY3" fmla="*/ 39567 h 104527"/>
                  <a:gd name="connsiteX4" fmla="*/ 639641 w 704465"/>
                  <a:gd name="connsiteY4" fmla="*/ 31964 h 104527"/>
                  <a:gd name="connsiteX5" fmla="*/ 582788 w 704465"/>
                  <a:gd name="connsiteY5" fmla="*/ 20891 h 104527"/>
                  <a:gd name="connsiteX6" fmla="*/ 313728 w 704465"/>
                  <a:gd name="connsiteY6" fmla="*/ 67 h 104527"/>
                  <a:gd name="connsiteX7" fmla="*/ 91274 w 704465"/>
                  <a:gd name="connsiteY7" fmla="*/ 20891 h 104527"/>
                  <a:gd name="connsiteX8" fmla="*/ 22852 w 704465"/>
                  <a:gd name="connsiteY8" fmla="*/ 35105 h 104527"/>
                  <a:gd name="connsiteX9" fmla="*/ 45 w 704465"/>
                  <a:gd name="connsiteY9" fmla="*/ 95593 h 104527"/>
                  <a:gd name="connsiteX10" fmla="*/ 11779 w 704465"/>
                  <a:gd name="connsiteY10" fmla="*/ 93114 h 104527"/>
                  <a:gd name="connsiteX11" fmla="*/ 141021 w 704465"/>
                  <a:gd name="connsiteY11" fmla="*/ 67828 h 104527"/>
                  <a:gd name="connsiteX12" fmla="*/ 516515 w 704465"/>
                  <a:gd name="connsiteY12" fmla="*/ 65845 h 104527"/>
                  <a:gd name="connsiteX13" fmla="*/ 688726 w 704465"/>
                  <a:gd name="connsiteY13" fmla="*/ 100056 h 104527"/>
                  <a:gd name="connsiteX14" fmla="*/ 704427 w 704465"/>
                  <a:gd name="connsiteY14" fmla="*/ 104518 h 104527"/>
                  <a:gd name="connsiteX15" fmla="*/ 700626 w 704465"/>
                  <a:gd name="connsiteY15" fmla="*/ 91958 h 104527"/>
                  <a:gd name="connsiteX16" fmla="*/ 700626 w 704465"/>
                  <a:gd name="connsiteY16" fmla="*/ 91958 h 10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04465" h="104527">
                    <a:moveTo>
                      <a:pt x="700626" y="92123"/>
                    </a:moveTo>
                    <a:cubicBezTo>
                      <a:pt x="698312" y="85512"/>
                      <a:pt x="693354" y="71299"/>
                      <a:pt x="689552" y="60887"/>
                    </a:cubicBezTo>
                    <a:lnTo>
                      <a:pt x="682611" y="41715"/>
                    </a:lnTo>
                    <a:lnTo>
                      <a:pt x="675505" y="39567"/>
                    </a:lnTo>
                    <a:cubicBezTo>
                      <a:pt x="671538" y="38410"/>
                      <a:pt x="655342" y="34939"/>
                      <a:pt x="639641" y="31964"/>
                    </a:cubicBezTo>
                    <a:cubicBezTo>
                      <a:pt x="623775" y="28990"/>
                      <a:pt x="598323" y="23866"/>
                      <a:pt x="582788" y="20891"/>
                    </a:cubicBezTo>
                    <a:cubicBezTo>
                      <a:pt x="507921" y="6017"/>
                      <a:pt x="420658" y="-759"/>
                      <a:pt x="313728" y="67"/>
                    </a:cubicBezTo>
                    <a:cubicBezTo>
                      <a:pt x="227126" y="728"/>
                      <a:pt x="183991" y="4695"/>
                      <a:pt x="91274" y="20891"/>
                    </a:cubicBezTo>
                    <a:cubicBezTo>
                      <a:pt x="34421" y="30808"/>
                      <a:pt x="25662" y="32626"/>
                      <a:pt x="22852" y="35105"/>
                    </a:cubicBezTo>
                    <a:cubicBezTo>
                      <a:pt x="20373" y="37418"/>
                      <a:pt x="-1112" y="94437"/>
                      <a:pt x="45" y="95593"/>
                    </a:cubicBezTo>
                    <a:cubicBezTo>
                      <a:pt x="541" y="96089"/>
                      <a:pt x="5830" y="94932"/>
                      <a:pt x="11779" y="93114"/>
                    </a:cubicBezTo>
                    <a:cubicBezTo>
                      <a:pt x="34917" y="85843"/>
                      <a:pt x="92101" y="74769"/>
                      <a:pt x="141021" y="67828"/>
                    </a:cubicBezTo>
                    <a:cubicBezTo>
                      <a:pt x="257205" y="51466"/>
                      <a:pt x="391735" y="50805"/>
                      <a:pt x="516515" y="65845"/>
                    </a:cubicBezTo>
                    <a:cubicBezTo>
                      <a:pt x="566591" y="71795"/>
                      <a:pt x="654185" y="89313"/>
                      <a:pt x="688726" y="100056"/>
                    </a:cubicBezTo>
                    <a:cubicBezTo>
                      <a:pt x="697155" y="102700"/>
                      <a:pt x="704262" y="104683"/>
                      <a:pt x="704427" y="104518"/>
                    </a:cubicBezTo>
                    <a:cubicBezTo>
                      <a:pt x="704757" y="104188"/>
                      <a:pt x="702939" y="98734"/>
                      <a:pt x="700626" y="91958"/>
                    </a:cubicBezTo>
                    <a:lnTo>
                      <a:pt x="700626" y="91958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56433456-2585-B992-119A-451972E682A2}"/>
                  </a:ext>
                </a:extLst>
              </p:cNvPr>
              <p:cNvSpPr/>
              <p:nvPr/>
            </p:nvSpPr>
            <p:spPr>
              <a:xfrm>
                <a:off x="7596585" y="3884235"/>
                <a:ext cx="1225543" cy="903351"/>
              </a:xfrm>
              <a:custGeom>
                <a:avLst/>
                <a:gdLst>
                  <a:gd name="connsiteX0" fmla="*/ 988761 w 1225543"/>
                  <a:gd name="connsiteY0" fmla="*/ 494529 h 903351"/>
                  <a:gd name="connsiteX1" fmla="*/ 950915 w 1225543"/>
                  <a:gd name="connsiteY1" fmla="*/ 488580 h 903351"/>
                  <a:gd name="connsiteX2" fmla="*/ 911250 w 1225543"/>
                  <a:gd name="connsiteY2" fmla="*/ 473209 h 903351"/>
                  <a:gd name="connsiteX3" fmla="*/ 852579 w 1225543"/>
                  <a:gd name="connsiteY3" fmla="*/ 472053 h 903351"/>
                  <a:gd name="connsiteX4" fmla="*/ 777546 w 1225543"/>
                  <a:gd name="connsiteY4" fmla="*/ 527418 h 903351"/>
                  <a:gd name="connsiteX5" fmla="*/ 768291 w 1225543"/>
                  <a:gd name="connsiteY5" fmla="*/ 604930 h 903351"/>
                  <a:gd name="connsiteX6" fmla="*/ 771266 w 1225543"/>
                  <a:gd name="connsiteY6" fmla="*/ 637488 h 903351"/>
                  <a:gd name="connsiteX7" fmla="*/ 754904 w 1225543"/>
                  <a:gd name="connsiteY7" fmla="*/ 653354 h 903351"/>
                  <a:gd name="connsiteX8" fmla="*/ 718379 w 1225543"/>
                  <a:gd name="connsiteY8" fmla="*/ 638149 h 903351"/>
                  <a:gd name="connsiteX9" fmla="*/ 685160 w 1225543"/>
                  <a:gd name="connsiteY9" fmla="*/ 618647 h 903351"/>
                  <a:gd name="connsiteX10" fmla="*/ 650949 w 1225543"/>
                  <a:gd name="connsiteY10" fmla="*/ 630381 h 903351"/>
                  <a:gd name="connsiteX11" fmla="*/ 638389 w 1225543"/>
                  <a:gd name="connsiteY11" fmla="*/ 660295 h 903351"/>
                  <a:gd name="connsiteX12" fmla="*/ 628142 w 1225543"/>
                  <a:gd name="connsiteY12" fmla="*/ 686243 h 903351"/>
                  <a:gd name="connsiteX13" fmla="*/ 592774 w 1225543"/>
                  <a:gd name="connsiteY13" fmla="*/ 688391 h 903351"/>
                  <a:gd name="connsiteX14" fmla="*/ 580048 w 1225543"/>
                  <a:gd name="connsiteY14" fmla="*/ 672525 h 903351"/>
                  <a:gd name="connsiteX15" fmla="*/ 517907 w 1225543"/>
                  <a:gd name="connsiteY15" fmla="*/ 607078 h 903351"/>
                  <a:gd name="connsiteX16" fmla="*/ 247359 w 1225543"/>
                  <a:gd name="connsiteY16" fmla="*/ 574520 h 903351"/>
                  <a:gd name="connsiteX17" fmla="*/ 109193 w 1225543"/>
                  <a:gd name="connsiteY17" fmla="*/ 684755 h 903351"/>
                  <a:gd name="connsiteX18" fmla="*/ 54819 w 1225543"/>
                  <a:gd name="connsiteY18" fmla="*/ 861760 h 903351"/>
                  <a:gd name="connsiteX19" fmla="*/ 48539 w 1225543"/>
                  <a:gd name="connsiteY19" fmla="*/ 895144 h 903351"/>
                  <a:gd name="connsiteX20" fmla="*/ 5404 w 1225543"/>
                  <a:gd name="connsiteY20" fmla="*/ 889194 h 903351"/>
                  <a:gd name="connsiteX21" fmla="*/ 115 w 1225543"/>
                  <a:gd name="connsiteY21" fmla="*/ 849860 h 903351"/>
                  <a:gd name="connsiteX22" fmla="*/ 56307 w 1225543"/>
                  <a:gd name="connsiteY22" fmla="*/ 665253 h 903351"/>
                  <a:gd name="connsiteX23" fmla="*/ 313633 w 1225543"/>
                  <a:gd name="connsiteY23" fmla="*/ 501305 h 903351"/>
                  <a:gd name="connsiteX24" fmla="*/ 400069 w 1225543"/>
                  <a:gd name="connsiteY24" fmla="*/ 501801 h 903351"/>
                  <a:gd name="connsiteX25" fmla="*/ 585006 w 1225543"/>
                  <a:gd name="connsiteY25" fmla="*/ 592369 h 903351"/>
                  <a:gd name="connsiteX26" fmla="*/ 598724 w 1225543"/>
                  <a:gd name="connsiteY26" fmla="*/ 605426 h 903351"/>
                  <a:gd name="connsiteX27" fmla="*/ 609631 w 1225543"/>
                  <a:gd name="connsiteY27" fmla="*/ 594352 h 903351"/>
                  <a:gd name="connsiteX28" fmla="*/ 630456 w 1225543"/>
                  <a:gd name="connsiteY28" fmla="*/ 577164 h 903351"/>
                  <a:gd name="connsiteX29" fmla="*/ 698051 w 1225543"/>
                  <a:gd name="connsiteY29" fmla="*/ 564934 h 903351"/>
                  <a:gd name="connsiteX30" fmla="*/ 710612 w 1225543"/>
                  <a:gd name="connsiteY30" fmla="*/ 566422 h 903351"/>
                  <a:gd name="connsiteX31" fmla="*/ 711273 w 1225543"/>
                  <a:gd name="connsiteY31" fmla="*/ 561629 h 903351"/>
                  <a:gd name="connsiteX32" fmla="*/ 713917 w 1225543"/>
                  <a:gd name="connsiteY32" fmla="*/ 544441 h 903351"/>
                  <a:gd name="connsiteX33" fmla="*/ 884972 w 1225543"/>
                  <a:gd name="connsiteY33" fmla="*/ 415200 h 903351"/>
                  <a:gd name="connsiteX34" fmla="*/ 965458 w 1225543"/>
                  <a:gd name="connsiteY34" fmla="*/ 434536 h 903351"/>
                  <a:gd name="connsiteX35" fmla="*/ 971739 w 1225543"/>
                  <a:gd name="connsiteY35" fmla="*/ 433875 h 903351"/>
                  <a:gd name="connsiteX36" fmla="*/ 992397 w 1225543"/>
                  <a:gd name="connsiteY36" fmla="*/ 405779 h 903351"/>
                  <a:gd name="connsiteX37" fmla="*/ 1056522 w 1225543"/>
                  <a:gd name="connsiteY37" fmla="*/ 310253 h 903351"/>
                  <a:gd name="connsiteX38" fmla="*/ 1163452 w 1225543"/>
                  <a:gd name="connsiteY38" fmla="*/ 52266 h 903351"/>
                  <a:gd name="connsiteX39" fmla="*/ 1179814 w 1225543"/>
                  <a:gd name="connsiteY39" fmla="*/ 8965 h 903351"/>
                  <a:gd name="connsiteX40" fmla="*/ 1192705 w 1225543"/>
                  <a:gd name="connsiteY40" fmla="*/ 702 h 903351"/>
                  <a:gd name="connsiteX41" fmla="*/ 1225098 w 1225543"/>
                  <a:gd name="connsiteY41" fmla="*/ 33425 h 903351"/>
                  <a:gd name="connsiteX42" fmla="*/ 1203943 w 1225543"/>
                  <a:gd name="connsiteY42" fmla="*/ 109119 h 903351"/>
                  <a:gd name="connsiteX43" fmla="*/ 1061976 w 1225543"/>
                  <a:gd name="connsiteY43" fmla="*/ 410076 h 903351"/>
                  <a:gd name="connsiteX44" fmla="*/ 1008759 w 1225543"/>
                  <a:gd name="connsiteY44" fmla="*/ 479820 h 903351"/>
                  <a:gd name="connsiteX45" fmla="*/ 988761 w 1225543"/>
                  <a:gd name="connsiteY45" fmla="*/ 494860 h 903351"/>
                  <a:gd name="connsiteX46" fmla="*/ 988761 w 1225543"/>
                  <a:gd name="connsiteY46" fmla="*/ 494860 h 903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225543" h="903351">
                    <a:moveTo>
                      <a:pt x="988761" y="494529"/>
                    </a:moveTo>
                    <a:cubicBezTo>
                      <a:pt x="974714" y="498991"/>
                      <a:pt x="968433" y="498000"/>
                      <a:pt x="950915" y="488580"/>
                    </a:cubicBezTo>
                    <a:cubicBezTo>
                      <a:pt x="936536" y="480812"/>
                      <a:pt x="926455" y="476845"/>
                      <a:pt x="911250" y="473209"/>
                    </a:cubicBezTo>
                    <a:cubicBezTo>
                      <a:pt x="895384" y="469243"/>
                      <a:pt x="867784" y="468747"/>
                      <a:pt x="852579" y="472053"/>
                    </a:cubicBezTo>
                    <a:cubicBezTo>
                      <a:pt x="820847" y="478994"/>
                      <a:pt x="792090" y="500148"/>
                      <a:pt x="777546" y="527418"/>
                    </a:cubicBezTo>
                    <a:cubicBezTo>
                      <a:pt x="766142" y="548738"/>
                      <a:pt x="762341" y="580470"/>
                      <a:pt x="768291" y="604930"/>
                    </a:cubicBezTo>
                    <a:cubicBezTo>
                      <a:pt x="773414" y="626084"/>
                      <a:pt x="773745" y="630547"/>
                      <a:pt x="771266" y="637488"/>
                    </a:cubicBezTo>
                    <a:cubicBezTo>
                      <a:pt x="768291" y="645586"/>
                      <a:pt x="763168" y="650544"/>
                      <a:pt x="754904" y="653354"/>
                    </a:cubicBezTo>
                    <a:cubicBezTo>
                      <a:pt x="741683" y="657816"/>
                      <a:pt x="733088" y="654180"/>
                      <a:pt x="718379" y="638149"/>
                    </a:cubicBezTo>
                    <a:cubicBezTo>
                      <a:pt x="705488" y="623936"/>
                      <a:pt x="698216" y="619804"/>
                      <a:pt x="685160" y="618647"/>
                    </a:cubicBezTo>
                    <a:cubicBezTo>
                      <a:pt x="671112" y="617325"/>
                      <a:pt x="661031" y="620796"/>
                      <a:pt x="650949" y="630381"/>
                    </a:cubicBezTo>
                    <a:cubicBezTo>
                      <a:pt x="641198" y="639471"/>
                      <a:pt x="639215" y="644429"/>
                      <a:pt x="638389" y="660295"/>
                    </a:cubicBezTo>
                    <a:cubicBezTo>
                      <a:pt x="637728" y="673021"/>
                      <a:pt x="635083" y="679797"/>
                      <a:pt x="628142" y="686243"/>
                    </a:cubicBezTo>
                    <a:cubicBezTo>
                      <a:pt x="618556" y="695333"/>
                      <a:pt x="603517" y="696324"/>
                      <a:pt x="592774" y="688391"/>
                    </a:cubicBezTo>
                    <a:cubicBezTo>
                      <a:pt x="590130" y="686408"/>
                      <a:pt x="584676" y="679962"/>
                      <a:pt x="580048" y="672525"/>
                    </a:cubicBezTo>
                    <a:cubicBezTo>
                      <a:pt x="568479" y="654676"/>
                      <a:pt x="535095" y="619804"/>
                      <a:pt x="517907" y="607078"/>
                    </a:cubicBezTo>
                    <a:cubicBezTo>
                      <a:pt x="440064" y="550060"/>
                      <a:pt x="338919" y="537995"/>
                      <a:pt x="247359" y="574520"/>
                    </a:cubicBezTo>
                    <a:cubicBezTo>
                      <a:pt x="192324" y="596501"/>
                      <a:pt x="144065" y="635009"/>
                      <a:pt x="109193" y="684755"/>
                    </a:cubicBezTo>
                    <a:cubicBezTo>
                      <a:pt x="73825" y="734997"/>
                      <a:pt x="53828" y="800114"/>
                      <a:pt x="54819" y="861760"/>
                    </a:cubicBezTo>
                    <a:cubicBezTo>
                      <a:pt x="55150" y="883080"/>
                      <a:pt x="54324" y="887542"/>
                      <a:pt x="48539" y="895144"/>
                    </a:cubicBezTo>
                    <a:cubicBezTo>
                      <a:pt x="38458" y="908366"/>
                      <a:pt x="14824" y="905060"/>
                      <a:pt x="5404" y="889194"/>
                    </a:cubicBezTo>
                    <a:cubicBezTo>
                      <a:pt x="611" y="881261"/>
                      <a:pt x="-381" y="873163"/>
                      <a:pt x="115" y="849860"/>
                    </a:cubicBezTo>
                    <a:cubicBezTo>
                      <a:pt x="1602" y="784909"/>
                      <a:pt x="21104" y="720784"/>
                      <a:pt x="56307" y="665253"/>
                    </a:cubicBezTo>
                    <a:cubicBezTo>
                      <a:pt x="113325" y="575181"/>
                      <a:pt x="209016" y="514196"/>
                      <a:pt x="313633" y="501305"/>
                    </a:cubicBezTo>
                    <a:cubicBezTo>
                      <a:pt x="337431" y="498330"/>
                      <a:pt x="377262" y="498661"/>
                      <a:pt x="400069" y="501801"/>
                    </a:cubicBezTo>
                    <a:cubicBezTo>
                      <a:pt x="469813" y="511387"/>
                      <a:pt x="531128" y="541466"/>
                      <a:pt x="585006" y="592369"/>
                    </a:cubicBezTo>
                    <a:lnTo>
                      <a:pt x="598724" y="605426"/>
                    </a:lnTo>
                    <a:lnTo>
                      <a:pt x="609631" y="594352"/>
                    </a:lnTo>
                    <a:cubicBezTo>
                      <a:pt x="617234" y="586585"/>
                      <a:pt x="623514" y="581461"/>
                      <a:pt x="630456" y="577164"/>
                    </a:cubicBezTo>
                    <a:cubicBezTo>
                      <a:pt x="649957" y="565430"/>
                      <a:pt x="676070" y="560803"/>
                      <a:pt x="698051" y="564934"/>
                    </a:cubicBezTo>
                    <a:cubicBezTo>
                      <a:pt x="704497" y="566257"/>
                      <a:pt x="710281" y="566918"/>
                      <a:pt x="710612" y="566422"/>
                    </a:cubicBezTo>
                    <a:cubicBezTo>
                      <a:pt x="710942" y="565926"/>
                      <a:pt x="711438" y="563777"/>
                      <a:pt x="711273" y="561629"/>
                    </a:cubicBezTo>
                    <a:cubicBezTo>
                      <a:pt x="711273" y="559480"/>
                      <a:pt x="712430" y="551713"/>
                      <a:pt x="713917" y="544441"/>
                    </a:cubicBezTo>
                    <a:cubicBezTo>
                      <a:pt x="730279" y="465937"/>
                      <a:pt x="800684" y="412720"/>
                      <a:pt x="884972" y="415200"/>
                    </a:cubicBezTo>
                    <a:cubicBezTo>
                      <a:pt x="912241" y="416026"/>
                      <a:pt x="944469" y="423628"/>
                      <a:pt x="965458" y="434536"/>
                    </a:cubicBezTo>
                    <a:cubicBezTo>
                      <a:pt x="968929" y="436354"/>
                      <a:pt x="970086" y="436189"/>
                      <a:pt x="971739" y="433875"/>
                    </a:cubicBezTo>
                    <a:cubicBezTo>
                      <a:pt x="972896" y="432222"/>
                      <a:pt x="982151" y="419662"/>
                      <a:pt x="992397" y="405779"/>
                    </a:cubicBezTo>
                    <a:cubicBezTo>
                      <a:pt x="1012560" y="378675"/>
                      <a:pt x="1042309" y="334217"/>
                      <a:pt x="1056522" y="310253"/>
                    </a:cubicBezTo>
                    <a:cubicBezTo>
                      <a:pt x="1097014" y="241996"/>
                      <a:pt x="1138992" y="140851"/>
                      <a:pt x="1163452" y="52266"/>
                    </a:cubicBezTo>
                    <a:cubicBezTo>
                      <a:pt x="1173038" y="17725"/>
                      <a:pt x="1173864" y="15245"/>
                      <a:pt x="1179814" y="8965"/>
                    </a:cubicBezTo>
                    <a:cubicBezTo>
                      <a:pt x="1184772" y="3511"/>
                      <a:pt x="1187251" y="2024"/>
                      <a:pt x="1192705" y="702"/>
                    </a:cubicBezTo>
                    <a:cubicBezTo>
                      <a:pt x="1211215" y="-3761"/>
                      <a:pt x="1228569" y="13758"/>
                      <a:pt x="1225098" y="33425"/>
                    </a:cubicBezTo>
                    <a:cubicBezTo>
                      <a:pt x="1223445" y="42680"/>
                      <a:pt x="1211711" y="84824"/>
                      <a:pt x="1203943" y="109119"/>
                    </a:cubicBezTo>
                    <a:cubicBezTo>
                      <a:pt x="1171220" y="212413"/>
                      <a:pt x="1115028" y="331242"/>
                      <a:pt x="1061976" y="410076"/>
                    </a:cubicBezTo>
                    <a:cubicBezTo>
                      <a:pt x="1040326" y="442138"/>
                      <a:pt x="1021981" y="466433"/>
                      <a:pt x="1008759" y="479820"/>
                    </a:cubicBezTo>
                    <a:cubicBezTo>
                      <a:pt x="997521" y="491389"/>
                      <a:pt x="996033" y="492546"/>
                      <a:pt x="988761" y="494860"/>
                    </a:cubicBezTo>
                    <a:lnTo>
                      <a:pt x="988761" y="494860"/>
                    </a:lnTo>
                    <a:close/>
                  </a:path>
                </a:pathLst>
              </a:custGeom>
              <a:solidFill>
                <a:srgbClr val="FFFFFF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588C6435-2C73-AE1C-6AA2-98349E442A43}"/>
                  </a:ext>
                </a:extLst>
              </p:cNvPr>
              <p:cNvSpPr/>
              <p:nvPr/>
            </p:nvSpPr>
            <p:spPr>
              <a:xfrm>
                <a:off x="8818213" y="1211856"/>
                <a:ext cx="644553" cy="644553"/>
              </a:xfrm>
              <a:custGeom>
                <a:avLst/>
                <a:gdLst>
                  <a:gd name="connsiteX0" fmla="*/ 322277 w 644553"/>
                  <a:gd name="connsiteY0" fmla="*/ 0 h 644553"/>
                  <a:gd name="connsiteX1" fmla="*/ 322277 w 644553"/>
                  <a:gd name="connsiteY1" fmla="*/ 0 h 644553"/>
                  <a:gd name="connsiteX2" fmla="*/ 0 w 644553"/>
                  <a:gd name="connsiteY2" fmla="*/ 322277 h 644553"/>
                  <a:gd name="connsiteX3" fmla="*/ 322277 w 644553"/>
                  <a:gd name="connsiteY3" fmla="*/ 644554 h 644553"/>
                  <a:gd name="connsiteX4" fmla="*/ 322277 w 644553"/>
                  <a:gd name="connsiteY4" fmla="*/ 644554 h 644553"/>
                  <a:gd name="connsiteX5" fmla="*/ 644554 w 644553"/>
                  <a:gd name="connsiteY5" fmla="*/ 322277 h 644553"/>
                  <a:gd name="connsiteX6" fmla="*/ 322277 w 644553"/>
                  <a:gd name="connsiteY6" fmla="*/ 0 h 644553"/>
                  <a:gd name="connsiteX7" fmla="*/ 617945 w 644553"/>
                  <a:gd name="connsiteY7" fmla="*/ 322442 h 644553"/>
                  <a:gd name="connsiteX8" fmla="*/ 506057 w 644553"/>
                  <a:gd name="connsiteY8" fmla="*/ 345249 h 644553"/>
                  <a:gd name="connsiteX9" fmla="*/ 538120 w 644553"/>
                  <a:gd name="connsiteY9" fmla="*/ 302445 h 644553"/>
                  <a:gd name="connsiteX10" fmla="*/ 617945 w 644553"/>
                  <a:gd name="connsiteY10" fmla="*/ 322442 h 644553"/>
                  <a:gd name="connsiteX11" fmla="*/ 557126 w 644553"/>
                  <a:gd name="connsiteY11" fmla="*/ 272531 h 644553"/>
                  <a:gd name="connsiteX12" fmla="*/ 588693 w 644553"/>
                  <a:gd name="connsiteY12" fmla="*/ 193862 h 644553"/>
                  <a:gd name="connsiteX13" fmla="*/ 616293 w 644553"/>
                  <a:gd name="connsiteY13" fmla="*/ 289553 h 644553"/>
                  <a:gd name="connsiteX14" fmla="*/ 600923 w 644553"/>
                  <a:gd name="connsiteY14" fmla="*/ 285256 h 644553"/>
                  <a:gd name="connsiteX15" fmla="*/ 554151 w 644553"/>
                  <a:gd name="connsiteY15" fmla="*/ 277654 h 644553"/>
                  <a:gd name="connsiteX16" fmla="*/ 557126 w 644553"/>
                  <a:gd name="connsiteY16" fmla="*/ 272696 h 644553"/>
                  <a:gd name="connsiteX17" fmla="*/ 548036 w 644553"/>
                  <a:gd name="connsiteY17" fmla="*/ 131720 h 644553"/>
                  <a:gd name="connsiteX18" fmla="*/ 549193 w 644553"/>
                  <a:gd name="connsiteY18" fmla="*/ 133043 h 644553"/>
                  <a:gd name="connsiteX19" fmla="*/ 502752 w 644553"/>
                  <a:gd name="connsiteY19" fmla="*/ 261623 h 644553"/>
                  <a:gd name="connsiteX20" fmla="*/ 471681 w 644553"/>
                  <a:gd name="connsiteY20" fmla="*/ 133043 h 644553"/>
                  <a:gd name="connsiteX21" fmla="*/ 548036 w 644553"/>
                  <a:gd name="connsiteY21" fmla="*/ 131886 h 644553"/>
                  <a:gd name="connsiteX22" fmla="*/ 322277 w 644553"/>
                  <a:gd name="connsiteY22" fmla="*/ 351530 h 644553"/>
                  <a:gd name="connsiteX23" fmla="*/ 168576 w 644553"/>
                  <a:gd name="connsiteY23" fmla="*/ 347233 h 644553"/>
                  <a:gd name="connsiteX24" fmla="*/ 215843 w 644553"/>
                  <a:gd name="connsiteY24" fmla="*/ 295007 h 644553"/>
                  <a:gd name="connsiteX25" fmla="*/ 322277 w 644553"/>
                  <a:gd name="connsiteY25" fmla="*/ 293024 h 644553"/>
                  <a:gd name="connsiteX26" fmla="*/ 475978 w 644553"/>
                  <a:gd name="connsiteY26" fmla="*/ 297321 h 644553"/>
                  <a:gd name="connsiteX27" fmla="*/ 428711 w 644553"/>
                  <a:gd name="connsiteY27" fmla="*/ 349547 h 644553"/>
                  <a:gd name="connsiteX28" fmla="*/ 322277 w 644553"/>
                  <a:gd name="connsiteY28" fmla="*/ 351530 h 644553"/>
                  <a:gd name="connsiteX29" fmla="*/ 399954 w 644553"/>
                  <a:gd name="connsiteY29" fmla="*/ 377147 h 644553"/>
                  <a:gd name="connsiteX30" fmla="*/ 381774 w 644553"/>
                  <a:gd name="connsiteY30" fmla="*/ 393178 h 644553"/>
                  <a:gd name="connsiteX31" fmla="*/ 261292 w 644553"/>
                  <a:gd name="connsiteY31" fmla="*/ 474987 h 644553"/>
                  <a:gd name="connsiteX32" fmla="*/ 198159 w 644553"/>
                  <a:gd name="connsiteY32" fmla="*/ 503248 h 644553"/>
                  <a:gd name="connsiteX33" fmla="*/ 167749 w 644553"/>
                  <a:gd name="connsiteY33" fmla="*/ 374007 h 644553"/>
                  <a:gd name="connsiteX34" fmla="*/ 322442 w 644553"/>
                  <a:gd name="connsiteY34" fmla="*/ 378304 h 644553"/>
                  <a:gd name="connsiteX35" fmla="*/ 400119 w 644553"/>
                  <a:gd name="connsiteY35" fmla="*/ 377312 h 644553"/>
                  <a:gd name="connsiteX36" fmla="*/ 322277 w 644553"/>
                  <a:gd name="connsiteY36" fmla="*/ 266581 h 644553"/>
                  <a:gd name="connsiteX37" fmla="*/ 244600 w 644553"/>
                  <a:gd name="connsiteY37" fmla="*/ 267573 h 644553"/>
                  <a:gd name="connsiteX38" fmla="*/ 262780 w 644553"/>
                  <a:gd name="connsiteY38" fmla="*/ 251541 h 644553"/>
                  <a:gd name="connsiteX39" fmla="*/ 383262 w 644553"/>
                  <a:gd name="connsiteY39" fmla="*/ 169733 h 644553"/>
                  <a:gd name="connsiteX40" fmla="*/ 446395 w 644553"/>
                  <a:gd name="connsiteY40" fmla="*/ 141471 h 644553"/>
                  <a:gd name="connsiteX41" fmla="*/ 476804 w 644553"/>
                  <a:gd name="connsiteY41" fmla="*/ 270713 h 644553"/>
                  <a:gd name="connsiteX42" fmla="*/ 322112 w 644553"/>
                  <a:gd name="connsiteY42" fmla="*/ 266416 h 644553"/>
                  <a:gd name="connsiteX43" fmla="*/ 494819 w 644553"/>
                  <a:gd name="connsiteY43" fmla="*/ 82305 h 644553"/>
                  <a:gd name="connsiteX44" fmla="*/ 449535 w 644553"/>
                  <a:gd name="connsiteY44" fmla="*/ 88089 h 644553"/>
                  <a:gd name="connsiteX45" fmla="*/ 413010 w 644553"/>
                  <a:gd name="connsiteY45" fmla="*/ 40822 h 644553"/>
                  <a:gd name="connsiteX46" fmla="*/ 494819 w 644553"/>
                  <a:gd name="connsiteY46" fmla="*/ 82305 h 644553"/>
                  <a:gd name="connsiteX47" fmla="*/ 322277 w 644553"/>
                  <a:gd name="connsiteY47" fmla="*/ 26608 h 644553"/>
                  <a:gd name="connsiteX48" fmla="*/ 322277 w 644553"/>
                  <a:gd name="connsiteY48" fmla="*/ 26608 h 644553"/>
                  <a:gd name="connsiteX49" fmla="*/ 423257 w 644553"/>
                  <a:gd name="connsiteY49" fmla="*/ 95857 h 644553"/>
                  <a:gd name="connsiteX50" fmla="*/ 412184 w 644553"/>
                  <a:gd name="connsiteY50" fmla="*/ 99823 h 644553"/>
                  <a:gd name="connsiteX51" fmla="*/ 227742 w 644553"/>
                  <a:gd name="connsiteY51" fmla="*/ 209728 h 644553"/>
                  <a:gd name="connsiteX52" fmla="*/ 168080 w 644553"/>
                  <a:gd name="connsiteY52" fmla="*/ 265920 h 644553"/>
                  <a:gd name="connsiteX53" fmla="*/ 322277 w 644553"/>
                  <a:gd name="connsiteY53" fmla="*/ 26608 h 644553"/>
                  <a:gd name="connsiteX54" fmla="*/ 231544 w 644553"/>
                  <a:gd name="connsiteY54" fmla="*/ 40822 h 644553"/>
                  <a:gd name="connsiteX55" fmla="*/ 140645 w 644553"/>
                  <a:gd name="connsiteY55" fmla="*/ 272696 h 644553"/>
                  <a:gd name="connsiteX56" fmla="*/ 110566 w 644553"/>
                  <a:gd name="connsiteY56" fmla="*/ 275340 h 644553"/>
                  <a:gd name="connsiteX57" fmla="*/ 43797 w 644553"/>
                  <a:gd name="connsiteY57" fmla="*/ 285256 h 644553"/>
                  <a:gd name="connsiteX58" fmla="*/ 28427 w 644553"/>
                  <a:gd name="connsiteY58" fmla="*/ 289553 h 644553"/>
                  <a:gd name="connsiteX59" fmla="*/ 231544 w 644553"/>
                  <a:gd name="connsiteY59" fmla="*/ 40987 h 644553"/>
                  <a:gd name="connsiteX60" fmla="*/ 26609 w 644553"/>
                  <a:gd name="connsiteY60" fmla="*/ 322442 h 644553"/>
                  <a:gd name="connsiteX61" fmla="*/ 138496 w 644553"/>
                  <a:gd name="connsiteY61" fmla="*/ 299635 h 644553"/>
                  <a:gd name="connsiteX62" fmla="*/ 106434 w 644553"/>
                  <a:gd name="connsiteY62" fmla="*/ 342440 h 644553"/>
                  <a:gd name="connsiteX63" fmla="*/ 26609 w 644553"/>
                  <a:gd name="connsiteY63" fmla="*/ 322442 h 644553"/>
                  <a:gd name="connsiteX64" fmla="*/ 87428 w 644553"/>
                  <a:gd name="connsiteY64" fmla="*/ 372189 h 644553"/>
                  <a:gd name="connsiteX65" fmla="*/ 55861 w 644553"/>
                  <a:gd name="connsiteY65" fmla="*/ 450857 h 644553"/>
                  <a:gd name="connsiteX66" fmla="*/ 28261 w 644553"/>
                  <a:gd name="connsiteY66" fmla="*/ 355166 h 644553"/>
                  <a:gd name="connsiteX67" fmla="*/ 43631 w 644553"/>
                  <a:gd name="connsiteY67" fmla="*/ 359463 h 644553"/>
                  <a:gd name="connsiteX68" fmla="*/ 90403 w 644553"/>
                  <a:gd name="connsiteY68" fmla="*/ 367065 h 644553"/>
                  <a:gd name="connsiteX69" fmla="*/ 87428 w 644553"/>
                  <a:gd name="connsiteY69" fmla="*/ 372023 h 644553"/>
                  <a:gd name="connsiteX70" fmla="*/ 96353 w 644553"/>
                  <a:gd name="connsiteY70" fmla="*/ 513164 h 644553"/>
                  <a:gd name="connsiteX71" fmla="*/ 95196 w 644553"/>
                  <a:gd name="connsiteY71" fmla="*/ 511842 h 644553"/>
                  <a:gd name="connsiteX72" fmla="*/ 141636 w 644553"/>
                  <a:gd name="connsiteY72" fmla="*/ 383262 h 644553"/>
                  <a:gd name="connsiteX73" fmla="*/ 172707 w 644553"/>
                  <a:gd name="connsiteY73" fmla="*/ 511842 h 644553"/>
                  <a:gd name="connsiteX74" fmla="*/ 96353 w 644553"/>
                  <a:gd name="connsiteY74" fmla="*/ 512999 h 644553"/>
                  <a:gd name="connsiteX75" fmla="*/ 149735 w 644553"/>
                  <a:gd name="connsiteY75" fmla="*/ 562415 h 644553"/>
                  <a:gd name="connsiteX76" fmla="*/ 195019 w 644553"/>
                  <a:gd name="connsiteY76" fmla="*/ 556630 h 644553"/>
                  <a:gd name="connsiteX77" fmla="*/ 231544 w 644553"/>
                  <a:gd name="connsiteY77" fmla="*/ 603897 h 644553"/>
                  <a:gd name="connsiteX78" fmla="*/ 149735 w 644553"/>
                  <a:gd name="connsiteY78" fmla="*/ 562415 h 644553"/>
                  <a:gd name="connsiteX79" fmla="*/ 322277 w 644553"/>
                  <a:gd name="connsiteY79" fmla="*/ 618111 h 644553"/>
                  <a:gd name="connsiteX80" fmla="*/ 221297 w 644553"/>
                  <a:gd name="connsiteY80" fmla="*/ 548862 h 644553"/>
                  <a:gd name="connsiteX81" fmla="*/ 232370 w 644553"/>
                  <a:gd name="connsiteY81" fmla="*/ 544896 h 644553"/>
                  <a:gd name="connsiteX82" fmla="*/ 416812 w 644553"/>
                  <a:gd name="connsiteY82" fmla="*/ 434991 h 644553"/>
                  <a:gd name="connsiteX83" fmla="*/ 476474 w 644553"/>
                  <a:gd name="connsiteY83" fmla="*/ 378799 h 644553"/>
                  <a:gd name="connsiteX84" fmla="*/ 322277 w 644553"/>
                  <a:gd name="connsiteY84" fmla="*/ 618111 h 644553"/>
                  <a:gd name="connsiteX85" fmla="*/ 413010 w 644553"/>
                  <a:gd name="connsiteY85" fmla="*/ 603897 h 644553"/>
                  <a:gd name="connsiteX86" fmla="*/ 503909 w 644553"/>
                  <a:gd name="connsiteY86" fmla="*/ 372023 h 644553"/>
                  <a:gd name="connsiteX87" fmla="*/ 533988 w 644553"/>
                  <a:gd name="connsiteY87" fmla="*/ 369379 h 644553"/>
                  <a:gd name="connsiteX88" fmla="*/ 600757 w 644553"/>
                  <a:gd name="connsiteY88" fmla="*/ 359463 h 644553"/>
                  <a:gd name="connsiteX89" fmla="*/ 616127 w 644553"/>
                  <a:gd name="connsiteY89" fmla="*/ 355166 h 644553"/>
                  <a:gd name="connsiteX90" fmla="*/ 413010 w 644553"/>
                  <a:gd name="connsiteY90" fmla="*/ 603732 h 644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44553" h="644553">
                    <a:moveTo>
                      <a:pt x="322277" y="0"/>
                    </a:moveTo>
                    <a:lnTo>
                      <a:pt x="322277" y="0"/>
                    </a:lnTo>
                    <a:cubicBezTo>
                      <a:pt x="144611" y="0"/>
                      <a:pt x="0" y="144611"/>
                      <a:pt x="0" y="322277"/>
                    </a:cubicBezTo>
                    <a:cubicBezTo>
                      <a:pt x="0" y="499942"/>
                      <a:pt x="144611" y="644554"/>
                      <a:pt x="322277" y="644554"/>
                    </a:cubicBezTo>
                    <a:lnTo>
                      <a:pt x="322277" y="644554"/>
                    </a:lnTo>
                    <a:cubicBezTo>
                      <a:pt x="499942" y="644554"/>
                      <a:pt x="644554" y="499942"/>
                      <a:pt x="644554" y="322277"/>
                    </a:cubicBezTo>
                    <a:cubicBezTo>
                      <a:pt x="644554" y="144611"/>
                      <a:pt x="499942" y="0"/>
                      <a:pt x="322277" y="0"/>
                    </a:cubicBezTo>
                    <a:close/>
                    <a:moveTo>
                      <a:pt x="617945" y="322442"/>
                    </a:moveTo>
                    <a:cubicBezTo>
                      <a:pt x="617945" y="331697"/>
                      <a:pt x="574149" y="339961"/>
                      <a:pt x="506057" y="345249"/>
                    </a:cubicBezTo>
                    <a:cubicBezTo>
                      <a:pt x="517461" y="331367"/>
                      <a:pt x="528204" y="317154"/>
                      <a:pt x="538120" y="302445"/>
                    </a:cubicBezTo>
                    <a:cubicBezTo>
                      <a:pt x="587701" y="307733"/>
                      <a:pt x="617945" y="314674"/>
                      <a:pt x="617945" y="322442"/>
                    </a:cubicBezTo>
                    <a:close/>
                    <a:moveTo>
                      <a:pt x="557126" y="272531"/>
                    </a:moveTo>
                    <a:cubicBezTo>
                      <a:pt x="570678" y="249393"/>
                      <a:pt x="584230" y="221958"/>
                      <a:pt x="588693" y="193862"/>
                    </a:cubicBezTo>
                    <a:cubicBezTo>
                      <a:pt x="602906" y="223280"/>
                      <a:pt x="612491" y="255508"/>
                      <a:pt x="616293" y="289553"/>
                    </a:cubicBezTo>
                    <a:cubicBezTo>
                      <a:pt x="610508" y="287405"/>
                      <a:pt x="604889" y="286083"/>
                      <a:pt x="600923" y="285256"/>
                    </a:cubicBezTo>
                    <a:cubicBezTo>
                      <a:pt x="588858" y="282447"/>
                      <a:pt x="573157" y="279803"/>
                      <a:pt x="554151" y="277654"/>
                    </a:cubicBezTo>
                    <a:cubicBezTo>
                      <a:pt x="555143" y="276001"/>
                      <a:pt x="556134" y="274349"/>
                      <a:pt x="557126" y="272696"/>
                    </a:cubicBezTo>
                    <a:close/>
                    <a:moveTo>
                      <a:pt x="548036" y="131720"/>
                    </a:moveTo>
                    <a:cubicBezTo>
                      <a:pt x="548036" y="131720"/>
                      <a:pt x="548697" y="132547"/>
                      <a:pt x="549193" y="133043"/>
                    </a:cubicBezTo>
                    <a:cubicBezTo>
                      <a:pt x="567373" y="157337"/>
                      <a:pt x="529030" y="222784"/>
                      <a:pt x="502752" y="261623"/>
                    </a:cubicBezTo>
                    <a:cubicBezTo>
                      <a:pt x="497794" y="214025"/>
                      <a:pt x="487051" y="170394"/>
                      <a:pt x="471681" y="133043"/>
                    </a:cubicBezTo>
                    <a:cubicBezTo>
                      <a:pt x="503909" y="123126"/>
                      <a:pt x="535310" y="118499"/>
                      <a:pt x="548036" y="131886"/>
                    </a:cubicBezTo>
                    <a:close/>
                    <a:moveTo>
                      <a:pt x="322277" y="351530"/>
                    </a:moveTo>
                    <a:cubicBezTo>
                      <a:pt x="265920" y="351530"/>
                      <a:pt x="213364" y="350042"/>
                      <a:pt x="168576" y="347233"/>
                    </a:cubicBezTo>
                    <a:cubicBezTo>
                      <a:pt x="183285" y="329218"/>
                      <a:pt x="199151" y="311865"/>
                      <a:pt x="215843" y="295007"/>
                    </a:cubicBezTo>
                    <a:cubicBezTo>
                      <a:pt x="248897" y="293685"/>
                      <a:pt x="284761" y="293024"/>
                      <a:pt x="322277" y="293024"/>
                    </a:cubicBezTo>
                    <a:cubicBezTo>
                      <a:pt x="378634" y="293024"/>
                      <a:pt x="431190" y="294512"/>
                      <a:pt x="475978" y="297321"/>
                    </a:cubicBezTo>
                    <a:cubicBezTo>
                      <a:pt x="461269" y="315336"/>
                      <a:pt x="445403" y="332689"/>
                      <a:pt x="428711" y="349547"/>
                    </a:cubicBezTo>
                    <a:cubicBezTo>
                      <a:pt x="395657" y="350869"/>
                      <a:pt x="359793" y="351530"/>
                      <a:pt x="322277" y="351530"/>
                    </a:cubicBezTo>
                    <a:close/>
                    <a:moveTo>
                      <a:pt x="399954" y="377147"/>
                    </a:moveTo>
                    <a:cubicBezTo>
                      <a:pt x="394004" y="382601"/>
                      <a:pt x="387889" y="387889"/>
                      <a:pt x="381774" y="393178"/>
                    </a:cubicBezTo>
                    <a:cubicBezTo>
                      <a:pt x="344093" y="424579"/>
                      <a:pt x="303271" y="452014"/>
                      <a:pt x="261292" y="474987"/>
                    </a:cubicBezTo>
                    <a:cubicBezTo>
                      <a:pt x="252864" y="479614"/>
                      <a:pt x="227081" y="492340"/>
                      <a:pt x="198159" y="503248"/>
                    </a:cubicBezTo>
                    <a:cubicBezTo>
                      <a:pt x="182954" y="466062"/>
                      <a:pt x="172212" y="422100"/>
                      <a:pt x="167749" y="374007"/>
                    </a:cubicBezTo>
                    <a:cubicBezTo>
                      <a:pt x="214025" y="376816"/>
                      <a:pt x="267077" y="378304"/>
                      <a:pt x="322442" y="378304"/>
                    </a:cubicBezTo>
                    <a:cubicBezTo>
                      <a:pt x="349051" y="378304"/>
                      <a:pt x="374998" y="377973"/>
                      <a:pt x="400119" y="377312"/>
                    </a:cubicBezTo>
                    <a:close/>
                    <a:moveTo>
                      <a:pt x="322277" y="266581"/>
                    </a:moveTo>
                    <a:cubicBezTo>
                      <a:pt x="295668" y="266581"/>
                      <a:pt x="269721" y="266911"/>
                      <a:pt x="244600" y="267573"/>
                    </a:cubicBezTo>
                    <a:cubicBezTo>
                      <a:pt x="250549" y="262119"/>
                      <a:pt x="256665" y="256830"/>
                      <a:pt x="262780" y="251541"/>
                    </a:cubicBezTo>
                    <a:cubicBezTo>
                      <a:pt x="300461" y="220140"/>
                      <a:pt x="341283" y="192705"/>
                      <a:pt x="383262" y="169733"/>
                    </a:cubicBezTo>
                    <a:cubicBezTo>
                      <a:pt x="391690" y="165105"/>
                      <a:pt x="417473" y="152379"/>
                      <a:pt x="446395" y="141471"/>
                    </a:cubicBezTo>
                    <a:cubicBezTo>
                      <a:pt x="461600" y="178657"/>
                      <a:pt x="472342" y="222619"/>
                      <a:pt x="476804" y="270713"/>
                    </a:cubicBezTo>
                    <a:cubicBezTo>
                      <a:pt x="430529" y="267903"/>
                      <a:pt x="377477" y="266416"/>
                      <a:pt x="322112" y="266416"/>
                    </a:cubicBezTo>
                    <a:close/>
                    <a:moveTo>
                      <a:pt x="494819" y="82305"/>
                    </a:moveTo>
                    <a:cubicBezTo>
                      <a:pt x="479779" y="82139"/>
                      <a:pt x="464409" y="84453"/>
                      <a:pt x="449535" y="88089"/>
                    </a:cubicBezTo>
                    <a:cubicBezTo>
                      <a:pt x="438627" y="69744"/>
                      <a:pt x="426397" y="53878"/>
                      <a:pt x="413010" y="40822"/>
                    </a:cubicBezTo>
                    <a:cubicBezTo>
                      <a:pt x="442594" y="50407"/>
                      <a:pt x="470029" y="64455"/>
                      <a:pt x="494819" y="82305"/>
                    </a:cubicBezTo>
                    <a:close/>
                    <a:moveTo>
                      <a:pt x="322277" y="26608"/>
                    </a:moveTo>
                    <a:lnTo>
                      <a:pt x="322277" y="26608"/>
                    </a:lnTo>
                    <a:cubicBezTo>
                      <a:pt x="360620" y="26608"/>
                      <a:pt x="395822" y="52721"/>
                      <a:pt x="423257" y="95857"/>
                    </a:cubicBezTo>
                    <a:cubicBezTo>
                      <a:pt x="419456" y="97179"/>
                      <a:pt x="415820" y="98501"/>
                      <a:pt x="412184" y="99823"/>
                    </a:cubicBezTo>
                    <a:cubicBezTo>
                      <a:pt x="346406" y="124283"/>
                      <a:pt x="283438" y="162791"/>
                      <a:pt x="227742" y="209728"/>
                    </a:cubicBezTo>
                    <a:cubicBezTo>
                      <a:pt x="206753" y="227247"/>
                      <a:pt x="186755" y="246087"/>
                      <a:pt x="168080" y="265920"/>
                    </a:cubicBezTo>
                    <a:cubicBezTo>
                      <a:pt x="182128" y="129737"/>
                      <a:pt x="245922" y="26608"/>
                      <a:pt x="322277" y="26608"/>
                    </a:cubicBezTo>
                    <a:close/>
                    <a:moveTo>
                      <a:pt x="231544" y="40822"/>
                    </a:moveTo>
                    <a:cubicBezTo>
                      <a:pt x="183450" y="87924"/>
                      <a:pt x="149239" y="171881"/>
                      <a:pt x="140645" y="272696"/>
                    </a:cubicBezTo>
                    <a:cubicBezTo>
                      <a:pt x="130233" y="273522"/>
                      <a:pt x="120151" y="274349"/>
                      <a:pt x="110566" y="275340"/>
                    </a:cubicBezTo>
                    <a:cubicBezTo>
                      <a:pt x="82305" y="278150"/>
                      <a:pt x="59828" y="281455"/>
                      <a:pt x="43797" y="285256"/>
                    </a:cubicBezTo>
                    <a:cubicBezTo>
                      <a:pt x="39830" y="286248"/>
                      <a:pt x="34211" y="287570"/>
                      <a:pt x="28427" y="289553"/>
                    </a:cubicBezTo>
                    <a:cubicBezTo>
                      <a:pt x="41483" y="172542"/>
                      <a:pt x="122796" y="76024"/>
                      <a:pt x="231544" y="40987"/>
                    </a:cubicBezTo>
                    <a:close/>
                    <a:moveTo>
                      <a:pt x="26609" y="322442"/>
                    </a:moveTo>
                    <a:cubicBezTo>
                      <a:pt x="26609" y="313187"/>
                      <a:pt x="70405" y="304924"/>
                      <a:pt x="138496" y="299635"/>
                    </a:cubicBezTo>
                    <a:cubicBezTo>
                      <a:pt x="127093" y="313518"/>
                      <a:pt x="116350" y="327731"/>
                      <a:pt x="106434" y="342440"/>
                    </a:cubicBezTo>
                    <a:cubicBezTo>
                      <a:pt x="56853" y="337151"/>
                      <a:pt x="26609" y="330210"/>
                      <a:pt x="26609" y="322442"/>
                    </a:cubicBezTo>
                    <a:close/>
                    <a:moveTo>
                      <a:pt x="87428" y="372189"/>
                    </a:moveTo>
                    <a:cubicBezTo>
                      <a:pt x="73876" y="395326"/>
                      <a:pt x="60324" y="422761"/>
                      <a:pt x="55861" y="450857"/>
                    </a:cubicBezTo>
                    <a:cubicBezTo>
                      <a:pt x="41648" y="421439"/>
                      <a:pt x="32062" y="389211"/>
                      <a:pt x="28261" y="355166"/>
                    </a:cubicBezTo>
                    <a:cubicBezTo>
                      <a:pt x="34046" y="357314"/>
                      <a:pt x="39665" y="358636"/>
                      <a:pt x="43631" y="359463"/>
                    </a:cubicBezTo>
                    <a:cubicBezTo>
                      <a:pt x="55696" y="362272"/>
                      <a:pt x="71397" y="364917"/>
                      <a:pt x="90403" y="367065"/>
                    </a:cubicBezTo>
                    <a:cubicBezTo>
                      <a:pt x="89411" y="368718"/>
                      <a:pt x="88419" y="370371"/>
                      <a:pt x="87428" y="372023"/>
                    </a:cubicBezTo>
                    <a:close/>
                    <a:moveTo>
                      <a:pt x="96353" y="513164"/>
                    </a:moveTo>
                    <a:cubicBezTo>
                      <a:pt x="96353" y="513164"/>
                      <a:pt x="95691" y="512338"/>
                      <a:pt x="95196" y="511842"/>
                    </a:cubicBezTo>
                    <a:cubicBezTo>
                      <a:pt x="77016" y="487547"/>
                      <a:pt x="115359" y="422100"/>
                      <a:pt x="141636" y="383262"/>
                    </a:cubicBezTo>
                    <a:cubicBezTo>
                      <a:pt x="146595" y="430859"/>
                      <a:pt x="157337" y="474491"/>
                      <a:pt x="172707" y="511842"/>
                    </a:cubicBezTo>
                    <a:cubicBezTo>
                      <a:pt x="140480" y="521758"/>
                      <a:pt x="109078" y="526386"/>
                      <a:pt x="96353" y="512999"/>
                    </a:cubicBezTo>
                    <a:close/>
                    <a:moveTo>
                      <a:pt x="149735" y="562415"/>
                    </a:moveTo>
                    <a:cubicBezTo>
                      <a:pt x="164774" y="562580"/>
                      <a:pt x="180144" y="560266"/>
                      <a:pt x="195019" y="556630"/>
                    </a:cubicBezTo>
                    <a:cubicBezTo>
                      <a:pt x="205927" y="574975"/>
                      <a:pt x="218157" y="590841"/>
                      <a:pt x="231544" y="603897"/>
                    </a:cubicBezTo>
                    <a:cubicBezTo>
                      <a:pt x="201960" y="594312"/>
                      <a:pt x="174525" y="580264"/>
                      <a:pt x="149735" y="562415"/>
                    </a:cubicBezTo>
                    <a:close/>
                    <a:moveTo>
                      <a:pt x="322277" y="618111"/>
                    </a:moveTo>
                    <a:cubicBezTo>
                      <a:pt x="283934" y="618111"/>
                      <a:pt x="248732" y="591998"/>
                      <a:pt x="221297" y="548862"/>
                    </a:cubicBezTo>
                    <a:cubicBezTo>
                      <a:pt x="225098" y="547540"/>
                      <a:pt x="228734" y="546218"/>
                      <a:pt x="232370" y="544896"/>
                    </a:cubicBezTo>
                    <a:cubicBezTo>
                      <a:pt x="298147" y="520436"/>
                      <a:pt x="361115" y="481928"/>
                      <a:pt x="416812" y="434991"/>
                    </a:cubicBezTo>
                    <a:cubicBezTo>
                      <a:pt x="437801" y="417473"/>
                      <a:pt x="457799" y="398632"/>
                      <a:pt x="476474" y="378799"/>
                    </a:cubicBezTo>
                    <a:cubicBezTo>
                      <a:pt x="462426" y="514982"/>
                      <a:pt x="398632" y="618111"/>
                      <a:pt x="322277" y="618111"/>
                    </a:cubicBezTo>
                    <a:close/>
                    <a:moveTo>
                      <a:pt x="413010" y="603897"/>
                    </a:moveTo>
                    <a:cubicBezTo>
                      <a:pt x="461104" y="556795"/>
                      <a:pt x="495315" y="472838"/>
                      <a:pt x="503909" y="372023"/>
                    </a:cubicBezTo>
                    <a:cubicBezTo>
                      <a:pt x="514486" y="371197"/>
                      <a:pt x="524402" y="370371"/>
                      <a:pt x="533988" y="369379"/>
                    </a:cubicBezTo>
                    <a:cubicBezTo>
                      <a:pt x="562249" y="366569"/>
                      <a:pt x="584726" y="363264"/>
                      <a:pt x="600757" y="359463"/>
                    </a:cubicBezTo>
                    <a:cubicBezTo>
                      <a:pt x="604724" y="358471"/>
                      <a:pt x="610343" y="357149"/>
                      <a:pt x="616127" y="355166"/>
                    </a:cubicBezTo>
                    <a:cubicBezTo>
                      <a:pt x="603071" y="472177"/>
                      <a:pt x="521758" y="568695"/>
                      <a:pt x="413010" y="60373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6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F383D4-67CE-C9F4-2B01-E5B91E129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00215A54-74F6-AA51-1F58-086B319C4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bg1"/>
                </a:solidFill>
                <a:latin typeface="Sora" pitchFamily="2" charset="0"/>
              </a:defRPr>
            </a:lvl1pPr>
          </a:lstStyle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98738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,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64F04B8-17D4-4122-BA10-A213AA40EAE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81928" y="1828800"/>
            <a:ext cx="5300546" cy="4419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vert="horz" wrap="square" lIns="91440" tIns="91440" rIns="0" bIns="0" rtlCol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ra" pitchFamily="2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marL="171450" lvl="0" indent="-171450" algn="l" defTabSz="914377" rtl="0" eaLnBrk="1" latinLnBrk="0" hangingPunct="1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959F69-8B3C-4734-418A-FF47DE252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A103984-1767-730E-C776-E07531298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225D3CDF-DD5A-092D-2B7B-20820631A3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0B6FAA-44B5-2C0B-3972-7B6C3912956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1828800"/>
            <a:ext cx="5300546" cy="4419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vert="horz" wrap="square" lIns="91440" tIns="91440" rIns="0" bIns="0" rtlCol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defRPr kumimoji="0" lang="en-US" sz="16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1A4A86F-645A-9093-0420-24BF7AAB079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597" y="1371600"/>
            <a:ext cx="5300476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lIns="91440" tIns="0" rIns="0" b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30B265F-C450-A73B-2A8E-04437E996D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81856" y="1371600"/>
            <a:ext cx="5302508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lIns="91440" tIns="0" rIns="0" b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</p:spTree>
    <p:extLst>
      <p:ext uri="{BB962C8B-B14F-4D97-AF65-F5344CB8AC3E}">
        <p14:creationId xmlns:p14="http://schemas.microsoft.com/office/powerpoint/2010/main" val="4452503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288509-A0CF-5675-56A9-42A47E8F2D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7" y="1371600"/>
            <a:ext cx="3363327" cy="457200"/>
          </a:xfrm>
          <a:prstGeom prst="rect">
            <a:avLst/>
          </a:prstGeom>
          <a:ln w="12700">
            <a:noFill/>
          </a:ln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E54360B-2054-99A7-07A0-C8DC53ECA8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9072" y="1371600"/>
            <a:ext cx="3363325" cy="457200"/>
          </a:xfrm>
          <a:prstGeom prst="rect">
            <a:avLst/>
          </a:prstGeom>
          <a:ln w="12700">
            <a:noFill/>
          </a:ln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er Text her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1DC16A9-0859-DB1D-731D-4A34193974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4337" y="1371601"/>
            <a:ext cx="3363325" cy="457200"/>
          </a:xfrm>
          <a:prstGeom prst="rect">
            <a:avLst/>
          </a:prstGeom>
          <a:ln w="12700">
            <a:noFill/>
          </a:ln>
        </p:spPr>
        <p:txBody>
          <a:bodyPr lIns="0" tIns="0" rIns="0" bIns="0"/>
          <a:lstStyle>
            <a:lvl1pPr marL="0" indent="0">
              <a:buNone/>
              <a:defRPr lang="en-US" sz="2000" b="0" i="0" kern="1200" dirty="0">
                <a:solidFill>
                  <a:schemeClr val="tx2"/>
                </a:solidFill>
                <a:latin typeface="Sora" pitchFamily="2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Header Text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FAF3D8-2DCC-475B-A972-19C66BDA21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1828800"/>
            <a:ext cx="3363324" cy="441960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1A93293-6196-4F0D-9FD7-7E1314A35D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14334" y="1828800"/>
            <a:ext cx="3363324" cy="441960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85A4A16-959C-424E-9434-6E6420C2AD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19068" y="1828800"/>
            <a:ext cx="3363324" cy="4419600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56D23E-BE1A-0C9D-EACD-C5606DF9C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A5A19F-9F9B-DD43-68AE-620DA0BBFF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29CBC1E6-4A97-629E-F07C-CBC67C683A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06616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, 3 text bo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288509-A0CF-5675-56A9-42A47E8F2D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7" y="1371600"/>
            <a:ext cx="3363327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lIns="91440" tIns="0" rIns="0" b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E54360B-2054-99A7-07A0-C8DC53ECA8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9072" y="1371600"/>
            <a:ext cx="3363325" cy="4572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lIns="91440" tIns="0" rIns="0" bIns="0" anchor="ctr" anchorCtr="0"/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er Text her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1DC16A9-0859-DB1D-731D-4A34193974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4337" y="1371601"/>
            <a:ext cx="3363325" cy="45719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lIns="91440" tIns="0" rIns="0" bIns="0" anchor="ctr" anchorCtr="0"/>
          <a:lstStyle>
            <a:lvl1pPr marL="0" indent="0">
              <a:buNone/>
              <a:defRPr lang="en-US" sz="2000" b="0" i="0" kern="1200" dirty="0">
                <a:solidFill>
                  <a:schemeClr val="tx2"/>
                </a:solidFill>
                <a:latin typeface="Sora" pitchFamily="2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 dirty="0"/>
              <a:t>Header Text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FAF3D8-2DCC-475B-A972-19C66BDA21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1828800"/>
            <a:ext cx="3363324" cy="4419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vert="horz" wrap="square" lIns="91440" tIns="9144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1A93293-6196-4F0D-9FD7-7E1314A35D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14334" y="1828800"/>
            <a:ext cx="3363324" cy="4419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</a:ln>
        </p:spPr>
        <p:txBody>
          <a:bodyPr vert="horz" wrap="square" lIns="91440" tIns="9144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85A4A16-959C-424E-9434-6E6420C2AD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19068" y="1828800"/>
            <a:ext cx="3363324" cy="4419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vert="horz" wrap="square" lIns="91440" tIns="91440" rIns="0" bIns="0" rtlCol="0">
            <a:norm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kumimoji="0" lang="en-US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56D23E-BE1A-0C9D-EACD-C5606DF9C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A5A19F-9F9B-DD43-68AE-620DA0BBFF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fld id="{D56C3BBE-A286-8A42-8D1F-96885F6DD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29CBC1E6-4A97-629E-F07C-CBC67C683A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3597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93F423-16DD-F9AA-7503-45DB70B3D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E0BACB-EC15-115A-FF2D-594B2ED6D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87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43530C-C6F4-A747-8DD8-23F2CF4FF3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pPr>
              <a:defRPr/>
            </a:pPr>
            <a:fld id="{D56C3BBE-A286-8A42-8D1F-96885F6DDE08}" type="slidenum">
              <a:rPr lang="en-US" smtClean="0">
                <a:solidFill>
                  <a:srgbClr val="004E4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4E42"/>
              </a:solidFill>
            </a:endParaRP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F0BDA18-99E8-D119-6DD3-786083206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3253316-8A49-A9DD-AAAE-26403734D3BD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09600" y="6425608"/>
            <a:ext cx="1223963" cy="32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828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76" r:id="rId2"/>
    <p:sldLayoutId id="2147483834" r:id="rId3"/>
    <p:sldLayoutId id="2147483777" r:id="rId4"/>
    <p:sldLayoutId id="2147483832" r:id="rId5"/>
    <p:sldLayoutId id="2147483681" r:id="rId6"/>
    <p:sldLayoutId id="2147483889" r:id="rId7"/>
    <p:sldLayoutId id="2147483707" r:id="rId8"/>
    <p:sldLayoutId id="2147483890" r:id="rId9"/>
    <p:sldLayoutId id="2147483835" r:id="rId10"/>
    <p:sldLayoutId id="2147483837" r:id="rId11"/>
    <p:sldLayoutId id="2147483836" r:id="rId12"/>
    <p:sldLayoutId id="2147483708" r:id="rId13"/>
    <p:sldLayoutId id="2147483891" r:id="rId14"/>
    <p:sldLayoutId id="2147483773" r:id="rId15"/>
    <p:sldLayoutId id="2147483675" r:id="rId16"/>
    <p:sldLayoutId id="2147483778" r:id="rId17"/>
    <p:sldLayoutId id="2147483679" r:id="rId18"/>
    <p:sldLayoutId id="2147483669" r:id="rId19"/>
    <p:sldLayoutId id="2147483830" r:id="rId20"/>
    <p:sldLayoutId id="2147483804" r:id="rId21"/>
    <p:sldLayoutId id="2147483680" r:id="rId22"/>
    <p:sldLayoutId id="2147483709" r:id="rId23"/>
    <p:sldLayoutId id="2147483745" r:id="rId24"/>
    <p:sldLayoutId id="2147483774" r:id="rId25"/>
    <p:sldLayoutId id="2147483957" r:id="rId26"/>
    <p:sldLayoutId id="2147484000" r:id="rId27"/>
    <p:sldLayoutId id="2147484002" r:id="rId28"/>
    <p:sldLayoutId id="2147484001" r:id="rId29"/>
    <p:sldLayoutId id="2147483959" r:id="rId30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2"/>
          </a:solidFill>
          <a:latin typeface="Sora" pitchFamily="2" charset="0"/>
          <a:ea typeface="+mj-ea"/>
          <a:cs typeface="+mj-cs"/>
        </a:defRPr>
      </a:lvl1pPr>
    </p:titleStyle>
    <p:bodyStyle>
      <a:lvl1pPr marL="169863" indent="-169863" algn="l" defTabSz="914377" rtl="0" eaLnBrk="1" latinLnBrk="0" hangingPunct="1">
        <a:lnSpc>
          <a:spcPct val="100000"/>
        </a:lnSpc>
        <a:spcBef>
          <a:spcPts val="900"/>
        </a:spcBef>
        <a:buClr>
          <a:schemeClr val="tx2"/>
        </a:buClr>
        <a:buFont typeface="Arial" panose="020B0604020202020204" pitchFamily="34" charset="0"/>
        <a:buChar char="•"/>
        <a:defRPr sz="16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1pPr>
      <a:lvl2pPr marL="341313" indent="-17145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ora" pitchFamily="2" charset="0"/>
        <a:buChar char="̵"/>
        <a:defRPr sz="14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2pPr>
      <a:lvl3pPr marL="511175" indent="-169863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2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3pPr>
      <a:lvl4pPr marL="627063" indent="-115888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ora" pitchFamily="2" charset="0"/>
        <a:buChar char="̵"/>
        <a:defRPr sz="11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4pPr>
      <a:lvl5pPr marL="798513" indent="-17145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9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288" userDrawn="1">
          <p15:clr>
            <a:srgbClr val="F26B43"/>
          </p15:clr>
        </p15:guide>
        <p15:guide id="4" orient="horz" pos="3936" userDrawn="1">
          <p15:clr>
            <a:srgbClr val="F26B43"/>
          </p15:clr>
        </p15:guide>
        <p15:guide id="5" pos="384" userDrawn="1">
          <p15:clr>
            <a:srgbClr val="F26B43"/>
          </p15:clr>
        </p15:guide>
        <p15:guide id="6" pos="7296" userDrawn="1">
          <p15:clr>
            <a:srgbClr val="F26B43"/>
          </p15:clr>
        </p15:guide>
        <p15:guide id="7" orient="horz" pos="864" userDrawn="1">
          <p15:clr>
            <a:srgbClr val="F26B43"/>
          </p15:clr>
        </p15:guide>
        <p15:guide id="8" orient="horz" pos="4200" userDrawn="1">
          <p15:clr>
            <a:srgbClr val="F26B43"/>
          </p15:clr>
        </p15:guide>
        <p15:guide id="9" pos="5520" userDrawn="1">
          <p15:clr>
            <a:srgbClr val="F26B43"/>
          </p15:clr>
        </p15:guide>
        <p15:guide id="10" pos="3720" userDrawn="1">
          <p15:clr>
            <a:srgbClr val="F26B43"/>
          </p15:clr>
        </p15:guide>
        <p15:guide id="11" pos="39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93F423-16DD-F9AA-7503-45DB70B3D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E0BACB-EC15-115A-FF2D-594B2ED6D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87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43530C-C6F4-A747-8DD8-23F2CF4FF3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pPr>
              <a:defRPr/>
            </a:pPr>
            <a:fld id="{D56C3BBE-A286-8A42-8D1F-96885F6DDE08}" type="slidenum">
              <a:rPr lang="en-US" smtClean="0">
                <a:solidFill>
                  <a:srgbClr val="004E4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4E42"/>
              </a:solidFill>
            </a:endParaRP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F0BDA18-99E8-D119-6DD3-786083206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5092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95" r:id="rId2"/>
    <p:sldLayoutId id="2147483984" r:id="rId3"/>
    <p:sldLayoutId id="2147483982" r:id="rId4"/>
    <p:sldLayoutId id="2147483988" r:id="rId5"/>
    <p:sldLayoutId id="2147483997" r:id="rId6"/>
    <p:sldLayoutId id="2147483991" r:id="rId7"/>
    <p:sldLayoutId id="2147483992" r:id="rId8"/>
    <p:sldLayoutId id="2147483998" r:id="rId9"/>
    <p:sldLayoutId id="2147483994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2"/>
          </a:solidFill>
          <a:latin typeface="Sora" pitchFamily="2" charset="0"/>
          <a:ea typeface="+mj-ea"/>
          <a:cs typeface="+mj-cs"/>
        </a:defRPr>
      </a:lvl1pPr>
    </p:titleStyle>
    <p:bodyStyle>
      <a:lvl1pPr marL="169863" indent="-169863" algn="l" defTabSz="914377" rtl="0" eaLnBrk="1" latinLnBrk="0" hangingPunct="1">
        <a:lnSpc>
          <a:spcPct val="100000"/>
        </a:lnSpc>
        <a:spcBef>
          <a:spcPts val="900"/>
        </a:spcBef>
        <a:buClr>
          <a:schemeClr val="tx2"/>
        </a:buClr>
        <a:buFont typeface="Arial" panose="020B0604020202020204" pitchFamily="34" charset="0"/>
        <a:buChar char="•"/>
        <a:defRPr sz="16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1pPr>
      <a:lvl2pPr marL="341313" indent="-17145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ora" pitchFamily="2" charset="0"/>
        <a:buChar char="̵"/>
        <a:defRPr sz="14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2pPr>
      <a:lvl3pPr marL="511175" indent="-169863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2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3pPr>
      <a:lvl4pPr marL="627063" indent="-115888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ora" pitchFamily="2" charset="0"/>
        <a:buChar char="̵"/>
        <a:defRPr sz="11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4pPr>
      <a:lvl5pPr marL="798513" indent="-17145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9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3936">
          <p15:clr>
            <a:srgbClr val="F26B43"/>
          </p15:clr>
        </p15:guide>
        <p15:guide id="5" pos="384">
          <p15:clr>
            <a:srgbClr val="F26B43"/>
          </p15:clr>
        </p15:guide>
        <p15:guide id="6" pos="7296">
          <p15:clr>
            <a:srgbClr val="F26B43"/>
          </p15:clr>
        </p15:guide>
        <p15:guide id="7" orient="horz" pos="864">
          <p15:clr>
            <a:srgbClr val="F26B43"/>
          </p15:clr>
        </p15:guide>
        <p15:guide id="8" orient="horz" pos="4200">
          <p15:clr>
            <a:srgbClr val="F26B43"/>
          </p15:clr>
        </p15:guide>
        <p15:guide id="9" pos="5520">
          <p15:clr>
            <a:srgbClr val="F26B43"/>
          </p15:clr>
        </p15:guide>
        <p15:guide id="10" pos="3720">
          <p15:clr>
            <a:srgbClr val="F26B43"/>
          </p15:clr>
        </p15:guide>
        <p15:guide id="11" pos="39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93F423-16DD-F9AA-7503-45DB70B3D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E0BACB-EC15-115A-FF2D-594B2ED6D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87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43530C-C6F4-A747-8DD8-23F2CF4FF3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 b="1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pPr>
              <a:defRPr/>
            </a:pPr>
            <a:fld id="{D56C3BBE-A286-8A42-8D1F-96885F6DDE08}" type="slidenum">
              <a:rPr lang="en-US" smtClean="0">
                <a:solidFill>
                  <a:srgbClr val="004E4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4E42"/>
              </a:solidFill>
            </a:endParaRP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F0BDA18-99E8-D119-6DD3-786083206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0" i="0">
                <a:solidFill>
                  <a:schemeClr val="tx2"/>
                </a:solidFill>
                <a:latin typeface="Sora" pitchFamily="2" charset="0"/>
              </a:defRPr>
            </a:lvl1pPr>
          </a:lstStyle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06811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90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99" r:id="rId12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2"/>
          </a:solidFill>
          <a:latin typeface="Sora" pitchFamily="2" charset="0"/>
          <a:ea typeface="+mj-ea"/>
          <a:cs typeface="+mj-cs"/>
        </a:defRPr>
      </a:lvl1pPr>
    </p:titleStyle>
    <p:bodyStyle>
      <a:lvl1pPr marL="169863" indent="-169863" algn="l" defTabSz="914377" rtl="0" eaLnBrk="1" latinLnBrk="0" hangingPunct="1">
        <a:lnSpc>
          <a:spcPct val="100000"/>
        </a:lnSpc>
        <a:spcBef>
          <a:spcPts val="900"/>
        </a:spcBef>
        <a:buClr>
          <a:schemeClr val="tx2"/>
        </a:buClr>
        <a:buFont typeface="Arial" panose="020B0604020202020204" pitchFamily="34" charset="0"/>
        <a:buChar char="•"/>
        <a:defRPr sz="16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1pPr>
      <a:lvl2pPr marL="341313" indent="-17145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ora" pitchFamily="2" charset="0"/>
        <a:buChar char="̵"/>
        <a:defRPr sz="14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2pPr>
      <a:lvl3pPr marL="511175" indent="-169863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2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3pPr>
      <a:lvl4pPr marL="627063" indent="-115888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ora" pitchFamily="2" charset="0"/>
        <a:buChar char="̵"/>
        <a:defRPr sz="11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4pPr>
      <a:lvl5pPr marL="798513" indent="-17145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900" b="0" i="0" kern="1200">
          <a:solidFill>
            <a:schemeClr val="tx2"/>
          </a:solidFill>
          <a:latin typeface="Sora" pitchFamily="2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3936">
          <p15:clr>
            <a:srgbClr val="F26B43"/>
          </p15:clr>
        </p15:guide>
        <p15:guide id="5" pos="384">
          <p15:clr>
            <a:srgbClr val="F26B43"/>
          </p15:clr>
        </p15:guide>
        <p15:guide id="6" pos="7296">
          <p15:clr>
            <a:srgbClr val="F26B43"/>
          </p15:clr>
        </p15:guide>
        <p15:guide id="7" orient="horz" pos="864">
          <p15:clr>
            <a:srgbClr val="F26B43"/>
          </p15:clr>
        </p15:guide>
        <p15:guide id="8" orient="horz" pos="4200">
          <p15:clr>
            <a:srgbClr val="F26B43"/>
          </p15:clr>
        </p15:guide>
        <p15:guide id="9" pos="5520">
          <p15:clr>
            <a:srgbClr val="F26B43"/>
          </p15:clr>
        </p15:guide>
        <p15:guide id="10" pos="3720">
          <p15:clr>
            <a:srgbClr val="F26B43"/>
          </p15:clr>
        </p15:guide>
        <p15:guide id="11" pos="39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9.jpeg"/><Relationship Id="rId11" Type="http://schemas.openxmlformats.org/officeDocument/2006/relationships/chart" Target="../charts/chart3.xml"/><Relationship Id="rId5" Type="http://schemas.openxmlformats.org/officeDocument/2006/relationships/image" Target="../media/image38.jpeg"/><Relationship Id="rId10" Type="http://schemas.openxmlformats.org/officeDocument/2006/relationships/image" Target="../media/image43.jpeg"/><Relationship Id="rId4" Type="http://schemas.openxmlformats.org/officeDocument/2006/relationships/image" Target="../media/image37.jpeg"/><Relationship Id="rId9" Type="http://schemas.openxmlformats.org/officeDocument/2006/relationships/image" Target="../media/image4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C971EF-03F3-8A2C-5C4A-F54E55AB9D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E9E1-E456-0F94-0ADC-615B0B5C9D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itle of presentation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7018F-D8CA-C8D8-125C-8F912E9462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esenter’s name goes here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0A8756-515B-5231-F341-649DE356C1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0"/>
            <a:fld id="{D56C3BBE-A286-8A42-8D1F-96885F6DDE08}" type="slidenum">
              <a:rPr lang="en-US" noProof="0" smtClean="0"/>
              <a:pPr lvl="0"/>
              <a:t>1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8A11EE-8D1C-20D3-A8EF-B422FF60A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lvl="0"/>
            <a:r>
              <a:rPr lang="en-US" noProof="0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90797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6E8B6E-085B-A5A1-A5A7-D41EC0FA025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CA" dirty="0"/>
              <a:t>Ignis </a:t>
            </a:r>
            <a:r>
              <a:rPr lang="en-CA" dirty="0" err="1"/>
              <a:t>eium</a:t>
            </a:r>
            <a:r>
              <a:rPr lang="en-CA" dirty="0"/>
              <a:t> </a:t>
            </a:r>
            <a:r>
              <a:rPr lang="en-CA" dirty="0" err="1"/>
              <a:t>conse</a:t>
            </a:r>
            <a:r>
              <a:rPr lang="en-CA" dirty="0"/>
              <a:t> </a:t>
            </a:r>
            <a:r>
              <a:rPr lang="en-CA" dirty="0" err="1"/>
              <a:t>endandi</a:t>
            </a:r>
            <a:r>
              <a:rPr lang="en-CA" dirty="0"/>
              <a:t> ne </a:t>
            </a:r>
            <a:r>
              <a:rPr lang="en-CA" dirty="0" err="1"/>
              <a:t>quodis</a:t>
            </a:r>
            <a:r>
              <a:rPr lang="en-CA" dirty="0"/>
              <a:t> nobis et </a:t>
            </a:r>
            <a:r>
              <a:rPr lang="en-CA" dirty="0" err="1"/>
              <a:t>ventoria</a:t>
            </a:r>
            <a:r>
              <a:rPr lang="en-CA" dirty="0"/>
              <a:t> cum et </a:t>
            </a:r>
            <a:r>
              <a:rPr lang="en-CA" dirty="0" err="1"/>
              <a:t>etust</a:t>
            </a:r>
            <a:r>
              <a:rPr lang="en-CA" dirty="0"/>
              <a:t>, </a:t>
            </a:r>
            <a:r>
              <a:rPr lang="en-CA" dirty="0" err="1"/>
              <a:t>sam</a:t>
            </a:r>
            <a:r>
              <a:rPr lang="en-CA" dirty="0"/>
              <a:t> </a:t>
            </a:r>
            <a:r>
              <a:rPr lang="en-CA" dirty="0" err="1"/>
              <a:t>esto</a:t>
            </a:r>
            <a:r>
              <a:rPr lang="en-CA" dirty="0"/>
              <a:t> </a:t>
            </a:r>
            <a:r>
              <a:rPr lang="en-CA" dirty="0" err="1"/>
              <a:t>voluptatia</a:t>
            </a:r>
            <a:r>
              <a:rPr lang="en-CA" dirty="0"/>
              <a:t> </a:t>
            </a:r>
            <a:r>
              <a:rPr lang="en-CA" dirty="0" err="1"/>
              <a:t>videbis</a:t>
            </a:r>
            <a:r>
              <a:rPr lang="en-CA" dirty="0"/>
              <a:t> </a:t>
            </a:r>
            <a:r>
              <a:rPr lang="en-CA" dirty="0" err="1"/>
              <a:t>cimaximet</a:t>
            </a:r>
            <a:r>
              <a:rPr lang="en-CA" dirty="0"/>
              <a:t> </a:t>
            </a:r>
            <a:r>
              <a:rPr lang="en-CA" dirty="0" err="1"/>
              <a:t>ipicili</a:t>
            </a:r>
            <a:r>
              <a:rPr lang="en-CA" dirty="0"/>
              <a:t> </a:t>
            </a:r>
            <a:r>
              <a:rPr lang="en-CA" dirty="0" err="1"/>
              <a:t>quaspe</a:t>
            </a:r>
            <a:r>
              <a:rPr lang="en-CA" dirty="0"/>
              <a:t> </a:t>
            </a:r>
            <a:r>
              <a:rPr lang="en-CA" dirty="0" err="1"/>
              <a:t>nemporeped</a:t>
            </a:r>
            <a:r>
              <a:rPr lang="en-CA" dirty="0"/>
              <a:t> </a:t>
            </a:r>
            <a:r>
              <a:rPr lang="en-CA" dirty="0" err="1"/>
              <a:t>millorpor</a:t>
            </a:r>
            <a:r>
              <a:rPr lang="en-CA" dirty="0"/>
              <a:t> </a:t>
            </a:r>
            <a:r>
              <a:rPr lang="en-CA" dirty="0" err="1"/>
              <a:t>assum</a:t>
            </a:r>
            <a:r>
              <a:rPr lang="en-CA" dirty="0"/>
              <a:t> </a:t>
            </a:r>
            <a:r>
              <a:rPr lang="en-CA" dirty="0" err="1"/>
              <a:t>soloratenis</a:t>
            </a:r>
            <a:r>
              <a:rPr lang="en-CA" dirty="0"/>
              <a:t> </a:t>
            </a:r>
            <a:r>
              <a:rPr lang="en-CA" dirty="0" err="1"/>
              <a:t>nulparum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Ore </a:t>
            </a:r>
            <a:r>
              <a:rPr lang="en-CA" dirty="0" err="1"/>
              <a:t>vendebis</a:t>
            </a:r>
            <a:r>
              <a:rPr lang="en-CA" dirty="0"/>
              <a:t> qui </a:t>
            </a:r>
            <a:r>
              <a:rPr lang="en-CA" dirty="0" err="1"/>
              <a:t>cusaectis</a:t>
            </a:r>
            <a:r>
              <a:rPr lang="en-CA" dirty="0"/>
              <a:t> </a:t>
            </a:r>
            <a:r>
              <a:rPr lang="en-CA" dirty="0" err="1"/>
              <a:t>ducipsa</a:t>
            </a:r>
            <a:r>
              <a:rPr lang="en-CA" dirty="0"/>
              <a:t> </a:t>
            </a:r>
            <a:r>
              <a:rPr lang="en-CA" dirty="0" err="1"/>
              <a:t>dellenim</a:t>
            </a:r>
            <a:r>
              <a:rPr lang="en-CA" dirty="0"/>
              <a:t> volent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te</a:t>
            </a:r>
            <a:r>
              <a:rPr lang="en-CA" dirty="0"/>
              <a:t> et </a:t>
            </a:r>
            <a:r>
              <a:rPr lang="en-CA" dirty="0" err="1"/>
              <a:t>hicitem</a:t>
            </a:r>
            <a:r>
              <a:rPr lang="en-CA" dirty="0"/>
              <a:t>. </a:t>
            </a:r>
          </a:p>
          <a:p>
            <a:r>
              <a:rPr lang="en-CA" dirty="0"/>
              <a:t>Et la dis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ullis</a:t>
            </a:r>
            <a:r>
              <a:rPr lang="en-CA" dirty="0"/>
              <a:t> di </a:t>
            </a:r>
            <a:r>
              <a:rPr lang="en-CA" dirty="0" err="1"/>
              <a:t>vidiciam</a:t>
            </a:r>
            <a:r>
              <a:rPr lang="en-CA" dirty="0"/>
              <a:t> </a:t>
            </a:r>
            <a:r>
              <a:rPr lang="en-CA" dirty="0" err="1"/>
              <a:t>consenis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estione</a:t>
            </a:r>
            <a:r>
              <a:rPr lang="en-CA" dirty="0"/>
              <a:t> </a:t>
            </a:r>
            <a:r>
              <a:rPr lang="en-CA" dirty="0" err="1"/>
              <a:t>eaquias</a:t>
            </a:r>
            <a:r>
              <a:rPr lang="en-CA" dirty="0"/>
              <a:t> rem rerum </a:t>
            </a:r>
            <a:r>
              <a:rPr lang="en-CA" dirty="0" err="1"/>
              <a:t>dolupides</a:t>
            </a:r>
            <a:r>
              <a:rPr lang="en-CA" dirty="0"/>
              <a:t> </a:t>
            </a:r>
            <a:r>
              <a:rPr lang="en-CA" dirty="0" err="1"/>
              <a:t>auda</a:t>
            </a:r>
            <a:r>
              <a:rPr lang="en-CA" dirty="0"/>
              <a:t> </a:t>
            </a:r>
            <a:r>
              <a:rPr lang="en-CA" dirty="0" err="1"/>
              <a:t>est</a:t>
            </a:r>
            <a:r>
              <a:rPr lang="en-CA" dirty="0"/>
              <a:t> </a:t>
            </a:r>
            <a:r>
              <a:rPr lang="en-CA" dirty="0" err="1"/>
              <a:t>harum</a:t>
            </a:r>
            <a:r>
              <a:rPr lang="en-CA" dirty="0"/>
              <a:t> </a:t>
            </a:r>
            <a:r>
              <a:rPr lang="en-CA" dirty="0" err="1"/>
              <a:t>ipisimint</a:t>
            </a:r>
            <a:r>
              <a:rPr lang="en-CA" dirty="0"/>
              <a:t> dem </a:t>
            </a:r>
            <a:r>
              <a:rPr lang="en-CA" dirty="0" err="1"/>
              <a:t>dem</a:t>
            </a:r>
            <a:r>
              <a:rPr lang="en-CA" dirty="0"/>
              <a:t> ex et </a:t>
            </a:r>
            <a:r>
              <a:rPr lang="en-CA" dirty="0" err="1"/>
              <a:t>quod</a:t>
            </a:r>
            <a:r>
              <a:rPr lang="en-CA" dirty="0"/>
              <a:t> quasit,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liqui</a:t>
            </a:r>
            <a:r>
              <a:rPr lang="en-CA" dirty="0"/>
              <a:t> </a:t>
            </a:r>
            <a:r>
              <a:rPr lang="en-CA" dirty="0" err="1"/>
              <a:t>beatiam</a:t>
            </a:r>
            <a:r>
              <a:rPr lang="en-CA" dirty="0"/>
              <a:t> </a:t>
            </a:r>
            <a:r>
              <a:rPr lang="en-CA" dirty="0" err="1"/>
              <a:t>everumquia</a:t>
            </a:r>
            <a:r>
              <a:rPr lang="en-CA" dirty="0"/>
              <a:t> </a:t>
            </a:r>
            <a:r>
              <a:rPr lang="en-CA" dirty="0" err="1"/>
              <a:t>simoles</a:t>
            </a:r>
            <a:r>
              <a:rPr lang="en-CA" dirty="0"/>
              <a:t> </a:t>
            </a:r>
            <a:r>
              <a:rPr lang="en-CA" dirty="0" err="1"/>
              <a:t>sequisqui</a:t>
            </a:r>
            <a:r>
              <a:rPr lang="en-CA" dirty="0"/>
              <a:t> </a:t>
            </a:r>
            <a:r>
              <a:rPr lang="en-CA" dirty="0" err="1"/>
              <a:t>doluptin</a:t>
            </a:r>
            <a:r>
              <a:rPr lang="en-CA" dirty="0"/>
              <a:t>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nte</a:t>
            </a:r>
            <a:r>
              <a:rPr lang="en-CA" dirty="0"/>
              <a:t> ped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occat</a:t>
            </a:r>
            <a:r>
              <a:rPr lang="en-CA" dirty="0"/>
              <a:t> </a:t>
            </a:r>
            <a:r>
              <a:rPr lang="en-CA" dirty="0" err="1"/>
              <a:t>aut</a:t>
            </a:r>
            <a:r>
              <a:rPr lang="en-CA" dirty="0"/>
              <a:t> </a:t>
            </a:r>
            <a:r>
              <a:rPr lang="en-CA" dirty="0" err="1"/>
              <a:t>eos</a:t>
            </a:r>
            <a:r>
              <a:rPr lang="en-CA" dirty="0"/>
              <a:t> </a:t>
            </a:r>
            <a:r>
              <a:rPr lang="en-CA" dirty="0" err="1"/>
              <a:t>sandestia</a:t>
            </a:r>
            <a:r>
              <a:rPr lang="en-CA" dirty="0"/>
              <a:t> </a:t>
            </a:r>
            <a:r>
              <a:rPr lang="en-CA" dirty="0" err="1"/>
              <a:t>iusam</a:t>
            </a:r>
            <a:r>
              <a:rPr lang="en-CA" dirty="0"/>
              <a:t> as </a:t>
            </a:r>
            <a:r>
              <a:rPr lang="en-CA" dirty="0" err="1"/>
              <a:t>restis</a:t>
            </a:r>
            <a:r>
              <a:rPr lang="en-CA" dirty="0"/>
              <a:t> </a:t>
            </a:r>
            <a:r>
              <a:rPr lang="en-CA" dirty="0" err="1"/>
              <a:t>erspern</a:t>
            </a:r>
            <a:r>
              <a:rPr lang="en-CA" dirty="0"/>
              <a:t> </a:t>
            </a:r>
            <a:r>
              <a:rPr lang="en-CA" dirty="0" err="1"/>
              <a:t>ut</a:t>
            </a:r>
            <a:r>
              <a:rPr lang="en-CA" dirty="0"/>
              <a:t> labor </a:t>
            </a:r>
            <a:r>
              <a:rPr lang="en-CA" dirty="0" err="1"/>
              <a:t>mostrum</a:t>
            </a:r>
            <a:r>
              <a:rPr lang="en-CA" dirty="0"/>
              <a:t> </a:t>
            </a:r>
            <a:r>
              <a:rPr lang="en-CA" dirty="0" err="1"/>
              <a:t>entore</a:t>
            </a:r>
            <a:r>
              <a:rPr lang="en-CA" dirty="0"/>
              <a:t> </a:t>
            </a:r>
            <a:r>
              <a:rPr lang="en-CA" dirty="0" err="1"/>
              <a:t>ducium</a:t>
            </a:r>
            <a:r>
              <a:rPr lang="en-CA" dirty="0"/>
              <a:t> sit </a:t>
            </a:r>
            <a:r>
              <a:rPr lang="en-CA" dirty="0" err="1"/>
              <a:t>latiunt</a:t>
            </a:r>
            <a:r>
              <a:rPr lang="en-CA" dirty="0"/>
              <a:t>.</a:t>
            </a:r>
          </a:p>
          <a:p>
            <a:r>
              <a:rPr lang="en-CA" dirty="0" err="1"/>
              <a:t>Odi</a:t>
            </a:r>
            <a:r>
              <a:rPr lang="en-CA" dirty="0"/>
              <a:t> con </a:t>
            </a:r>
            <a:r>
              <a:rPr lang="en-CA" dirty="0" err="1"/>
              <a:t>raereris</a:t>
            </a:r>
            <a:r>
              <a:rPr lang="en-CA" dirty="0"/>
              <a:t> </a:t>
            </a:r>
            <a:r>
              <a:rPr lang="en-CA" dirty="0" err="1"/>
              <a:t>ea</a:t>
            </a:r>
            <a:r>
              <a:rPr lang="en-CA" dirty="0"/>
              <a:t> </a:t>
            </a:r>
            <a:r>
              <a:rPr lang="en-CA" dirty="0" err="1"/>
              <a:t>doluptae</a:t>
            </a:r>
            <a:r>
              <a:rPr lang="en-CA" dirty="0"/>
              <a:t> </a:t>
            </a:r>
            <a:r>
              <a:rPr lang="en-CA" dirty="0" err="1"/>
              <a:t>ereste</a:t>
            </a:r>
            <a:r>
              <a:rPr lang="en-CA" dirty="0"/>
              <a:t> dis </a:t>
            </a:r>
            <a:r>
              <a:rPr lang="en-CA" dirty="0" err="1"/>
              <a:t>evenduci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di </a:t>
            </a:r>
            <a:r>
              <a:rPr lang="en-CA" dirty="0" err="1"/>
              <a:t>doluptatem</a:t>
            </a:r>
            <a:r>
              <a:rPr lang="en-CA" dirty="0"/>
              <a:t> in </a:t>
            </a:r>
            <a:r>
              <a:rPr lang="en-CA" dirty="0" err="1"/>
              <a:t>pla</a:t>
            </a:r>
            <a:r>
              <a:rPr lang="en-CA" dirty="0"/>
              <a:t> volent </a:t>
            </a:r>
            <a:r>
              <a:rPr lang="en-CA" dirty="0" err="1"/>
              <a:t>volupitatur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ommolupta</a:t>
            </a:r>
            <a:r>
              <a:rPr lang="en-CA" dirty="0"/>
              <a:t> </a:t>
            </a:r>
            <a:r>
              <a:rPr lang="en-CA" dirty="0" err="1"/>
              <a:t>exeritatium</a:t>
            </a:r>
            <a:r>
              <a:rPr lang="en-CA" dirty="0"/>
              <a:t> quat </a:t>
            </a:r>
            <a:r>
              <a:rPr lang="en-CA" dirty="0" err="1"/>
              <a:t>eatiam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molorum</a:t>
            </a:r>
            <a:r>
              <a:rPr lang="en-CA" dirty="0"/>
              <a:t> </a:t>
            </a:r>
            <a:r>
              <a:rPr lang="en-CA" dirty="0" err="1"/>
              <a:t>ditatemodi</a:t>
            </a:r>
            <a:r>
              <a:rPr lang="en-CA" dirty="0"/>
              <a:t> </a:t>
            </a:r>
            <a:r>
              <a:rPr lang="en-CA" dirty="0" err="1"/>
              <a:t>denestium</a:t>
            </a:r>
            <a:r>
              <a:rPr lang="en-CA" dirty="0"/>
              <a:t> </a:t>
            </a:r>
            <a:r>
              <a:rPr lang="en-CA" dirty="0" err="1"/>
              <a:t>rerit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At </a:t>
            </a:r>
            <a:r>
              <a:rPr lang="en-CA" dirty="0" err="1"/>
              <a:t>quias</a:t>
            </a:r>
            <a:r>
              <a:rPr lang="en-CA" dirty="0"/>
              <a:t> </a:t>
            </a:r>
            <a:r>
              <a:rPr lang="en-CA" dirty="0" err="1"/>
              <a:t>dollenti</a:t>
            </a:r>
            <a:r>
              <a:rPr lang="en-CA" dirty="0"/>
              <a:t> </a:t>
            </a:r>
            <a:r>
              <a:rPr lang="en-CA" dirty="0" err="1"/>
              <a:t>officaturit</a:t>
            </a:r>
            <a:r>
              <a:rPr lang="en-CA" dirty="0"/>
              <a:t> </a:t>
            </a:r>
            <a:r>
              <a:rPr lang="en-CA" dirty="0" err="1"/>
              <a:t>volorem</a:t>
            </a:r>
            <a:r>
              <a:rPr lang="en-CA" dirty="0"/>
              <a:t> </a:t>
            </a:r>
            <a:r>
              <a:rPr lang="en-CA" dirty="0" err="1"/>
              <a:t>ducimusam</a:t>
            </a:r>
            <a:r>
              <a:rPr lang="en-CA" dirty="0"/>
              <a:t> quos </a:t>
            </a:r>
            <a:r>
              <a:rPr lang="en-CA" dirty="0" err="1"/>
              <a:t>mos</a:t>
            </a:r>
            <a:r>
              <a:rPr lang="en-CA" dirty="0"/>
              <a:t> </a:t>
            </a:r>
            <a:r>
              <a:rPr lang="en-CA" dirty="0" err="1"/>
              <a:t>iunt</a:t>
            </a:r>
            <a:r>
              <a:rPr lang="en-CA" dirty="0"/>
              <a:t>.</a:t>
            </a:r>
          </a:p>
          <a:p>
            <a:endParaRPr lang="en-US" sz="1400" dirty="0">
              <a:cs typeface="Sora" pitchFamily="2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618865F-D401-74AA-E96E-93325CAF7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goes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407E34-3D1A-BCA8-A588-786F106C3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789986-EE89-B010-261E-FF560000E8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1E02931-B46A-1B9B-162A-4F9136A5E2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228600" indent="-228600"/>
            <a:r>
              <a:rPr lang="en-CA" sz="1400" dirty="0">
                <a:effectLst/>
                <a:cs typeface="Sora" pitchFamily="2" charset="0"/>
              </a:rPr>
              <a:t>Ignis </a:t>
            </a:r>
            <a:r>
              <a:rPr lang="en-CA" sz="1400" dirty="0" err="1">
                <a:effectLst/>
                <a:cs typeface="Sora" pitchFamily="2" charset="0"/>
              </a:rPr>
              <a:t>ei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ndandi</a:t>
            </a:r>
            <a:r>
              <a:rPr lang="en-CA" sz="1400" dirty="0">
                <a:effectLst/>
                <a:cs typeface="Sora" pitchFamily="2" charset="0"/>
              </a:rPr>
              <a:t> ne </a:t>
            </a:r>
            <a:r>
              <a:rPr lang="en-CA" sz="1400" dirty="0" err="1">
                <a:effectLst/>
                <a:cs typeface="Sora" pitchFamily="2" charset="0"/>
              </a:rPr>
              <a:t>quodis</a:t>
            </a:r>
            <a:r>
              <a:rPr lang="en-CA" sz="1400" dirty="0">
                <a:effectLst/>
                <a:cs typeface="Sora" pitchFamily="2" charset="0"/>
              </a:rPr>
              <a:t> nobis et </a:t>
            </a:r>
            <a:r>
              <a:rPr lang="en-CA" sz="1400" dirty="0" err="1">
                <a:effectLst/>
                <a:cs typeface="Sora" pitchFamily="2" charset="0"/>
              </a:rPr>
              <a:t>ventoria</a:t>
            </a:r>
            <a:r>
              <a:rPr lang="en-CA" sz="1400" dirty="0">
                <a:effectLst/>
                <a:cs typeface="Sora" pitchFamily="2" charset="0"/>
              </a:rPr>
              <a:t> cum et </a:t>
            </a:r>
            <a:r>
              <a:rPr lang="en-CA" sz="1400" dirty="0" err="1">
                <a:effectLst/>
                <a:cs typeface="Sora" pitchFamily="2" charset="0"/>
              </a:rPr>
              <a:t>etust</a:t>
            </a:r>
            <a:r>
              <a:rPr lang="en-CA" sz="1400" dirty="0">
                <a:effectLst/>
                <a:cs typeface="Sora" pitchFamily="2" charset="0"/>
              </a:rPr>
              <a:t>, </a:t>
            </a:r>
            <a:r>
              <a:rPr lang="en-CA" sz="1400" dirty="0" err="1">
                <a:effectLst/>
                <a:cs typeface="Sora" pitchFamily="2" charset="0"/>
              </a:rPr>
              <a:t>s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o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voluptat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videb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imaxime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picil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quasp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nemporeped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llorpor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ss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olorat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nulpa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fuga</a:t>
            </a:r>
            <a:r>
              <a:rPr lang="en-CA" sz="1400" dirty="0">
                <a:effectLst/>
                <a:cs typeface="Sora" pitchFamily="2" charset="0"/>
              </a:rPr>
              <a:t>. Ore </a:t>
            </a:r>
            <a:r>
              <a:rPr lang="en-CA" sz="1400" dirty="0" err="1">
                <a:effectLst/>
                <a:cs typeface="Sora" pitchFamily="2" charset="0"/>
              </a:rPr>
              <a:t>vendebis</a:t>
            </a:r>
            <a:r>
              <a:rPr lang="en-CA" sz="1400" dirty="0">
                <a:effectLst/>
                <a:cs typeface="Sora" pitchFamily="2" charset="0"/>
              </a:rPr>
              <a:t> qui </a:t>
            </a:r>
            <a:r>
              <a:rPr lang="en-CA" sz="1400" dirty="0" err="1">
                <a:effectLst/>
                <a:cs typeface="Sora" pitchFamily="2" charset="0"/>
              </a:rPr>
              <a:t>cusaect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ps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ellenim</a:t>
            </a:r>
            <a:r>
              <a:rPr lang="en-CA" sz="1400" dirty="0">
                <a:effectLst/>
                <a:cs typeface="Sora" pitchFamily="2" charset="0"/>
              </a:rPr>
              <a:t> volent </a:t>
            </a:r>
            <a:r>
              <a:rPr lang="en-CA" sz="1400" dirty="0" err="1">
                <a:effectLst/>
                <a:cs typeface="Sora" pitchFamily="2" charset="0"/>
              </a:rPr>
              <a:t>s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te</a:t>
            </a:r>
            <a:r>
              <a:rPr lang="en-CA" sz="1400" dirty="0">
                <a:effectLst/>
                <a:cs typeface="Sora" pitchFamily="2" charset="0"/>
              </a:rPr>
              <a:t> et </a:t>
            </a:r>
            <a:r>
              <a:rPr lang="en-CA" sz="1400" dirty="0" err="1">
                <a:effectLst/>
                <a:cs typeface="Sora" pitchFamily="2" charset="0"/>
              </a:rPr>
              <a:t>hicitem</a:t>
            </a:r>
            <a:r>
              <a:rPr lang="en-CA" sz="1400" dirty="0">
                <a:effectLst/>
                <a:cs typeface="Sora" pitchFamily="2" charset="0"/>
              </a:rPr>
              <a:t>. </a:t>
            </a:r>
          </a:p>
          <a:p>
            <a:pPr marL="228600" indent="-228600"/>
            <a:r>
              <a:rPr lang="en-CA" sz="1400" dirty="0">
                <a:effectLst/>
                <a:cs typeface="Sora" pitchFamily="2" charset="0"/>
              </a:rPr>
              <a:t>Et la dis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llis</a:t>
            </a:r>
            <a:r>
              <a:rPr lang="en-CA" sz="1400" dirty="0">
                <a:effectLst/>
                <a:cs typeface="Sora" pitchFamily="2" charset="0"/>
              </a:rPr>
              <a:t> di </a:t>
            </a:r>
            <a:r>
              <a:rPr lang="en-CA" sz="1400" dirty="0" err="1">
                <a:effectLst/>
                <a:cs typeface="Sora" pitchFamily="2" charset="0"/>
              </a:rPr>
              <a:t>vidic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ion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aquias</a:t>
            </a:r>
            <a:r>
              <a:rPr lang="en-CA" sz="1400" dirty="0">
                <a:effectLst/>
                <a:cs typeface="Sora" pitchFamily="2" charset="0"/>
              </a:rPr>
              <a:t> rem rerum </a:t>
            </a:r>
            <a:r>
              <a:rPr lang="en-CA" sz="1400" dirty="0" err="1">
                <a:effectLst/>
                <a:cs typeface="Sora" pitchFamily="2" charset="0"/>
              </a:rPr>
              <a:t>dolupide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ud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ha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pisimint</a:t>
            </a:r>
            <a:r>
              <a:rPr lang="en-CA" sz="1400" dirty="0">
                <a:effectLst/>
                <a:cs typeface="Sora" pitchFamily="2" charset="0"/>
              </a:rPr>
              <a:t> dem </a:t>
            </a:r>
            <a:r>
              <a:rPr lang="en-CA" sz="1400" dirty="0" err="1">
                <a:effectLst/>
                <a:cs typeface="Sora" pitchFamily="2" charset="0"/>
              </a:rPr>
              <a:t>dem</a:t>
            </a:r>
            <a:r>
              <a:rPr lang="en-CA" sz="1400" dirty="0">
                <a:effectLst/>
                <a:cs typeface="Sora" pitchFamily="2" charset="0"/>
              </a:rPr>
              <a:t> ex et </a:t>
            </a:r>
            <a:r>
              <a:rPr lang="en-CA" sz="1400" dirty="0" err="1">
                <a:effectLst/>
                <a:cs typeface="Sora" pitchFamily="2" charset="0"/>
              </a:rPr>
              <a:t>quod</a:t>
            </a:r>
            <a:r>
              <a:rPr lang="en-CA" sz="1400" dirty="0">
                <a:effectLst/>
                <a:cs typeface="Sora" pitchFamily="2" charset="0"/>
              </a:rPr>
              <a:t> quasit, </a:t>
            </a:r>
            <a:r>
              <a:rPr lang="en-CA" sz="1400" dirty="0" err="1">
                <a:effectLst/>
                <a:cs typeface="Sora" pitchFamily="2" charset="0"/>
              </a:rPr>
              <a:t>cu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liqu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beat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verumqu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imole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qu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oluptin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u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nte</a:t>
            </a:r>
            <a:r>
              <a:rPr lang="en-CA" sz="1400" dirty="0">
                <a:effectLst/>
                <a:cs typeface="Sora" pitchFamily="2" charset="0"/>
              </a:rPr>
              <a:t> ped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occa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o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andest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usam</a:t>
            </a:r>
            <a:r>
              <a:rPr lang="en-CA" sz="1400" dirty="0">
                <a:effectLst/>
                <a:cs typeface="Sora" pitchFamily="2" charset="0"/>
              </a:rPr>
              <a:t> as </a:t>
            </a:r>
            <a:r>
              <a:rPr lang="en-CA" sz="1400" dirty="0" err="1">
                <a:effectLst/>
                <a:cs typeface="Sora" pitchFamily="2" charset="0"/>
              </a:rPr>
              <a:t>rest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rspern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labor </a:t>
            </a:r>
            <a:r>
              <a:rPr lang="en-CA" sz="1400" dirty="0" err="1">
                <a:effectLst/>
                <a:cs typeface="Sora" pitchFamily="2" charset="0"/>
              </a:rPr>
              <a:t>most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ntor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um</a:t>
            </a:r>
            <a:r>
              <a:rPr lang="en-CA" sz="1400" dirty="0">
                <a:effectLst/>
                <a:cs typeface="Sora" pitchFamily="2" charset="0"/>
              </a:rPr>
              <a:t> sit </a:t>
            </a:r>
            <a:r>
              <a:rPr lang="en-CA" sz="1400" dirty="0" err="1">
                <a:effectLst/>
                <a:cs typeface="Sora" pitchFamily="2" charset="0"/>
              </a:rPr>
              <a:t>latiunt</a:t>
            </a:r>
            <a:r>
              <a:rPr lang="en-CA" sz="1400" dirty="0">
                <a:effectLst/>
                <a:cs typeface="Sora" pitchFamily="2" charset="0"/>
              </a:rPr>
              <a:t>.</a:t>
            </a:r>
          </a:p>
          <a:p>
            <a:pPr marL="228600" indent="-228600"/>
            <a:r>
              <a:rPr lang="en-CA" sz="1400" dirty="0" err="1">
                <a:effectLst/>
                <a:cs typeface="Sora" pitchFamily="2" charset="0"/>
              </a:rPr>
              <a:t>Odi</a:t>
            </a:r>
            <a:r>
              <a:rPr lang="en-CA" sz="1400" dirty="0">
                <a:effectLst/>
                <a:cs typeface="Sora" pitchFamily="2" charset="0"/>
              </a:rPr>
              <a:t> con </a:t>
            </a:r>
            <a:r>
              <a:rPr lang="en-CA" sz="1400" dirty="0" err="1">
                <a:effectLst/>
                <a:cs typeface="Sora" pitchFamily="2" charset="0"/>
              </a:rPr>
              <a:t>raerer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olupta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reste</a:t>
            </a:r>
            <a:r>
              <a:rPr lang="en-CA" sz="1400" dirty="0">
                <a:effectLst/>
                <a:cs typeface="Sora" pitchFamily="2" charset="0"/>
              </a:rPr>
              <a:t> dis </a:t>
            </a:r>
            <a:r>
              <a:rPr lang="en-CA" sz="1400" dirty="0" err="1">
                <a:effectLst/>
                <a:cs typeface="Sora" pitchFamily="2" charset="0"/>
              </a:rPr>
              <a:t>evenduc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i</a:t>
            </a:r>
            <a:r>
              <a:rPr lang="en-CA" sz="1400" dirty="0">
                <a:effectLst/>
                <a:cs typeface="Sora" pitchFamily="2" charset="0"/>
              </a:rPr>
              <a:t> di </a:t>
            </a:r>
            <a:r>
              <a:rPr lang="en-CA" sz="1400" dirty="0" err="1">
                <a:effectLst/>
                <a:cs typeface="Sora" pitchFamily="2" charset="0"/>
              </a:rPr>
              <a:t>doluptatem</a:t>
            </a:r>
            <a:r>
              <a:rPr lang="en-CA" sz="1400" dirty="0">
                <a:effectLst/>
                <a:cs typeface="Sora" pitchFamily="2" charset="0"/>
              </a:rPr>
              <a:t> in </a:t>
            </a:r>
            <a:r>
              <a:rPr lang="en-CA" sz="1400" dirty="0" err="1">
                <a:effectLst/>
                <a:cs typeface="Sora" pitchFamily="2" charset="0"/>
              </a:rPr>
              <a:t>pla</a:t>
            </a:r>
            <a:r>
              <a:rPr lang="en-CA" sz="1400" dirty="0">
                <a:effectLst/>
                <a:cs typeface="Sora" pitchFamily="2" charset="0"/>
              </a:rPr>
              <a:t> volent </a:t>
            </a:r>
            <a:r>
              <a:rPr lang="en-CA" sz="1400" dirty="0" err="1">
                <a:effectLst/>
                <a:cs typeface="Sora" pitchFamily="2" charset="0"/>
              </a:rPr>
              <a:t>volupitatur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ommolupt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xeritatium</a:t>
            </a:r>
            <a:r>
              <a:rPr lang="en-CA" sz="1400" dirty="0">
                <a:effectLst/>
                <a:cs typeface="Sora" pitchFamily="2" charset="0"/>
              </a:rPr>
              <a:t> quat </a:t>
            </a:r>
            <a:r>
              <a:rPr lang="en-CA" sz="1400" dirty="0" err="1">
                <a:effectLst/>
                <a:cs typeface="Sora" pitchFamily="2" charset="0"/>
              </a:rPr>
              <a:t>eat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olo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itatemod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enesti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reri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fuga</a:t>
            </a:r>
            <a:r>
              <a:rPr lang="en-CA" sz="1400" dirty="0">
                <a:effectLst/>
                <a:cs typeface="Sora" pitchFamily="2" charset="0"/>
              </a:rPr>
              <a:t>. At </a:t>
            </a:r>
            <a:r>
              <a:rPr lang="en-CA" sz="1400" dirty="0" err="1">
                <a:effectLst/>
                <a:cs typeface="Sora" pitchFamily="2" charset="0"/>
              </a:rPr>
              <a:t>quia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ollent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officaturi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volore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musam</a:t>
            </a:r>
            <a:r>
              <a:rPr lang="en-CA" sz="1400" dirty="0">
                <a:effectLst/>
                <a:cs typeface="Sora" pitchFamily="2" charset="0"/>
              </a:rPr>
              <a:t> quos </a:t>
            </a:r>
            <a:r>
              <a:rPr lang="en-CA" sz="1400" dirty="0" err="1">
                <a:effectLst/>
                <a:cs typeface="Sora" pitchFamily="2" charset="0"/>
              </a:rPr>
              <a:t>mo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unt</a:t>
            </a:r>
            <a:r>
              <a:rPr lang="en-CA" sz="1400" dirty="0">
                <a:effectLst/>
                <a:cs typeface="Sora" pitchFamily="2" charset="0"/>
              </a:rPr>
              <a:t>.</a:t>
            </a:r>
          </a:p>
          <a:p>
            <a:endParaRPr lang="en-US" sz="1400" dirty="0">
              <a:cs typeface="Sora" pitchFamily="2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38126-D978-68A1-E5AE-34A8E4D9485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Header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59287-BD9E-62BE-DCA8-51905B9F501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Header text here</a:t>
            </a:r>
          </a:p>
        </p:txBody>
      </p:sp>
    </p:spTree>
    <p:extLst>
      <p:ext uri="{BB962C8B-B14F-4D97-AF65-F5344CB8AC3E}">
        <p14:creationId xmlns:p14="http://schemas.microsoft.com/office/powerpoint/2010/main" val="3861901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7B9CD0-90C0-A8D5-6CD1-6ED96BDDA9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eader text here</a:t>
            </a:r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8927A2-CD2D-D84B-F803-4E0BD1AD60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Header text here</a:t>
            </a:r>
          </a:p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34E7566-E46A-A07A-A7D8-0F33A38BD0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Header text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A9599-84CF-AA91-03F7-903CD01EDC7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CA" sz="1400">
                <a:effectLst/>
                <a:cs typeface="Sora" pitchFamily="2" charset="0"/>
              </a:rPr>
              <a:t>Ignis </a:t>
            </a:r>
            <a:r>
              <a:rPr lang="en-CA" sz="1400" err="1">
                <a:effectLst/>
                <a:cs typeface="Sora" pitchFamily="2" charset="0"/>
              </a:rPr>
              <a:t>ei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cons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ndandi</a:t>
            </a:r>
            <a:r>
              <a:rPr lang="en-CA" sz="1400">
                <a:effectLst/>
                <a:cs typeface="Sora" pitchFamily="2" charset="0"/>
              </a:rPr>
              <a:t> ne </a:t>
            </a:r>
            <a:r>
              <a:rPr lang="en-CA" sz="1400" err="1">
                <a:effectLst/>
                <a:cs typeface="Sora" pitchFamily="2" charset="0"/>
              </a:rPr>
              <a:t>quodis</a:t>
            </a:r>
            <a:r>
              <a:rPr lang="en-CA" sz="1400">
                <a:effectLst/>
                <a:cs typeface="Sora" pitchFamily="2" charset="0"/>
              </a:rPr>
              <a:t> nobis et </a:t>
            </a:r>
            <a:r>
              <a:rPr lang="en-CA" sz="1400" err="1">
                <a:effectLst/>
                <a:cs typeface="Sora" pitchFamily="2" charset="0"/>
              </a:rPr>
              <a:t>ventoria</a:t>
            </a:r>
            <a:r>
              <a:rPr lang="en-CA" sz="1400">
                <a:effectLst/>
                <a:cs typeface="Sora" pitchFamily="2" charset="0"/>
              </a:rPr>
              <a:t> cum et </a:t>
            </a:r>
            <a:r>
              <a:rPr lang="en-CA" sz="1400" err="1">
                <a:effectLst/>
                <a:cs typeface="Sora" pitchFamily="2" charset="0"/>
              </a:rPr>
              <a:t>etust</a:t>
            </a:r>
            <a:r>
              <a:rPr lang="en-CA" sz="1400">
                <a:effectLst/>
                <a:cs typeface="Sora" pitchFamily="2" charset="0"/>
              </a:rPr>
              <a:t>, </a:t>
            </a:r>
            <a:r>
              <a:rPr lang="en-CA" sz="1400" err="1">
                <a:effectLst/>
                <a:cs typeface="Sora" pitchFamily="2" charset="0"/>
              </a:rPr>
              <a:t>s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sto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voluptati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videb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cimaxime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ipicil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quasp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nemporeped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illorpor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ass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oloraten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nulpar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fuga</a:t>
            </a:r>
            <a:r>
              <a:rPr lang="en-CA" sz="1400">
                <a:effectLst/>
                <a:cs typeface="Sora" pitchFamily="2" charset="0"/>
              </a:rPr>
              <a:t>. Ore </a:t>
            </a:r>
            <a:r>
              <a:rPr lang="en-CA" sz="1400" err="1">
                <a:effectLst/>
                <a:cs typeface="Sora" pitchFamily="2" charset="0"/>
              </a:rPr>
              <a:t>vendebis</a:t>
            </a:r>
            <a:r>
              <a:rPr lang="en-CA" sz="1400">
                <a:effectLst/>
                <a:cs typeface="Sora" pitchFamily="2" charset="0"/>
              </a:rPr>
              <a:t> qui </a:t>
            </a:r>
            <a:r>
              <a:rPr lang="en-CA" sz="1400" err="1">
                <a:effectLst/>
                <a:cs typeface="Sora" pitchFamily="2" charset="0"/>
              </a:rPr>
              <a:t>cusaect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ucips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ellenim</a:t>
            </a:r>
            <a:r>
              <a:rPr lang="en-CA" sz="1400">
                <a:effectLst/>
                <a:cs typeface="Sora" pitchFamily="2" charset="0"/>
              </a:rPr>
              <a:t> volent </a:t>
            </a:r>
            <a:r>
              <a:rPr lang="en-CA" sz="1400" err="1">
                <a:effectLst/>
                <a:cs typeface="Sora" pitchFamily="2" charset="0"/>
              </a:rPr>
              <a:t>s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te</a:t>
            </a:r>
            <a:r>
              <a:rPr lang="en-CA" sz="1400">
                <a:effectLst/>
                <a:cs typeface="Sora" pitchFamily="2" charset="0"/>
              </a:rPr>
              <a:t> et </a:t>
            </a:r>
            <a:r>
              <a:rPr lang="en-CA" sz="1400" err="1">
                <a:effectLst/>
                <a:cs typeface="Sora" pitchFamily="2" charset="0"/>
              </a:rPr>
              <a:t>hicitem</a:t>
            </a:r>
            <a:r>
              <a:rPr lang="en-CA" sz="1400">
                <a:effectLst/>
                <a:cs typeface="Sora" pitchFamily="2" charset="0"/>
              </a:rPr>
              <a:t>. </a:t>
            </a:r>
          </a:p>
          <a:p>
            <a:r>
              <a:rPr lang="en-CA" sz="1400">
                <a:effectLst/>
                <a:cs typeface="Sora" pitchFamily="2" charset="0"/>
              </a:rPr>
              <a:t>Et la dis </a:t>
            </a:r>
            <a:r>
              <a:rPr lang="en-CA" sz="1400" err="1">
                <a:effectLst/>
                <a:cs typeface="Sora" pitchFamily="2" charset="0"/>
              </a:rPr>
              <a:t>u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ullis</a:t>
            </a:r>
            <a:r>
              <a:rPr lang="en-CA" sz="1400">
                <a:effectLst/>
                <a:cs typeface="Sora" pitchFamily="2" charset="0"/>
              </a:rPr>
              <a:t> di </a:t>
            </a:r>
            <a:r>
              <a:rPr lang="en-CA" sz="1400" err="1">
                <a:effectLst/>
                <a:cs typeface="Sora" pitchFamily="2" charset="0"/>
              </a:rPr>
              <a:t>vidici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consen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equ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stion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aquias</a:t>
            </a:r>
            <a:r>
              <a:rPr lang="en-CA" sz="1400">
                <a:effectLst/>
                <a:cs typeface="Sora" pitchFamily="2" charset="0"/>
              </a:rPr>
              <a:t> rem rerum </a:t>
            </a:r>
            <a:r>
              <a:rPr lang="en-CA" sz="1400" err="1">
                <a:effectLst/>
                <a:cs typeface="Sora" pitchFamily="2" charset="0"/>
              </a:rPr>
              <a:t>dolupide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aud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s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har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ipisimint</a:t>
            </a:r>
            <a:r>
              <a:rPr lang="en-CA" sz="1400">
                <a:effectLst/>
                <a:cs typeface="Sora" pitchFamily="2" charset="0"/>
              </a:rPr>
              <a:t> dem dem ex et </a:t>
            </a:r>
            <a:r>
              <a:rPr lang="en-CA" sz="1400" err="1">
                <a:effectLst/>
                <a:cs typeface="Sora" pitchFamily="2" charset="0"/>
              </a:rPr>
              <a:t>quod</a:t>
            </a:r>
            <a:r>
              <a:rPr lang="en-CA" sz="1400">
                <a:effectLst/>
                <a:cs typeface="Sora" pitchFamily="2" charset="0"/>
              </a:rPr>
              <a:t> quasit, </a:t>
            </a:r>
            <a:r>
              <a:rPr lang="en-CA" sz="1400" err="1">
                <a:effectLst/>
                <a:cs typeface="Sora" pitchFamily="2" charset="0"/>
              </a:rPr>
              <a:t>cu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iliqu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beati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verumqui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imole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equisqu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oluptin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cu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inte</a:t>
            </a:r>
            <a:r>
              <a:rPr lang="en-CA" sz="1400">
                <a:effectLst/>
                <a:cs typeface="Sora" pitchFamily="2" charset="0"/>
              </a:rPr>
              <a:t> ped </a:t>
            </a:r>
            <a:r>
              <a:rPr lang="en-CA" sz="1400" err="1">
                <a:effectLst/>
                <a:cs typeface="Sora" pitchFamily="2" charset="0"/>
              </a:rPr>
              <a:t>u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occa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au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o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andesti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iusam</a:t>
            </a:r>
            <a:r>
              <a:rPr lang="en-CA" sz="1400">
                <a:effectLst/>
                <a:cs typeface="Sora" pitchFamily="2" charset="0"/>
              </a:rPr>
              <a:t> as </a:t>
            </a:r>
            <a:r>
              <a:rPr lang="en-CA" sz="1400" err="1">
                <a:effectLst/>
                <a:cs typeface="Sora" pitchFamily="2" charset="0"/>
              </a:rPr>
              <a:t>rest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rspern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ut</a:t>
            </a:r>
            <a:r>
              <a:rPr lang="en-CA" sz="1400">
                <a:effectLst/>
                <a:cs typeface="Sora" pitchFamily="2" charset="0"/>
              </a:rPr>
              <a:t> labor </a:t>
            </a:r>
            <a:r>
              <a:rPr lang="en-CA" sz="1400" err="1">
                <a:effectLst/>
                <a:cs typeface="Sora" pitchFamily="2" charset="0"/>
              </a:rPr>
              <a:t>mostr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ntor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ucium</a:t>
            </a:r>
            <a:r>
              <a:rPr lang="en-CA" sz="1400">
                <a:effectLst/>
                <a:cs typeface="Sora" pitchFamily="2" charset="0"/>
              </a:rPr>
              <a:t> sit </a:t>
            </a:r>
            <a:r>
              <a:rPr lang="en-CA" sz="1400" err="1">
                <a:effectLst/>
                <a:cs typeface="Sora" pitchFamily="2" charset="0"/>
              </a:rPr>
              <a:t>latiunt</a:t>
            </a:r>
            <a:r>
              <a:rPr lang="en-CA" sz="1400">
                <a:effectLst/>
                <a:cs typeface="Sora" pitchFamily="2" charset="0"/>
              </a:rPr>
              <a:t>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F51F218-4D73-6D06-9237-E80E1C557C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CA" sz="1400">
                <a:effectLst/>
                <a:cs typeface="Sora" pitchFamily="2" charset="0"/>
              </a:rPr>
              <a:t>Et la dis </a:t>
            </a:r>
            <a:r>
              <a:rPr lang="en-CA" sz="1400" err="1">
                <a:effectLst/>
                <a:cs typeface="Sora" pitchFamily="2" charset="0"/>
              </a:rPr>
              <a:t>u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ullis</a:t>
            </a:r>
            <a:r>
              <a:rPr lang="en-CA" sz="1400">
                <a:effectLst/>
                <a:cs typeface="Sora" pitchFamily="2" charset="0"/>
              </a:rPr>
              <a:t> di </a:t>
            </a:r>
            <a:r>
              <a:rPr lang="en-CA" sz="1400" err="1">
                <a:effectLst/>
                <a:cs typeface="Sora" pitchFamily="2" charset="0"/>
              </a:rPr>
              <a:t>vidici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consen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equ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stion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aquias</a:t>
            </a:r>
            <a:r>
              <a:rPr lang="en-CA" sz="1400">
                <a:effectLst/>
                <a:cs typeface="Sora" pitchFamily="2" charset="0"/>
              </a:rPr>
              <a:t> rem rerum </a:t>
            </a:r>
            <a:r>
              <a:rPr lang="en-CA" sz="1400" err="1">
                <a:effectLst/>
                <a:cs typeface="Sora" pitchFamily="2" charset="0"/>
              </a:rPr>
              <a:t>dolupide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aud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s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har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ipisimint</a:t>
            </a:r>
            <a:r>
              <a:rPr lang="en-CA" sz="1400">
                <a:effectLst/>
                <a:cs typeface="Sora" pitchFamily="2" charset="0"/>
              </a:rPr>
              <a:t> dem dem ex et </a:t>
            </a:r>
            <a:r>
              <a:rPr lang="en-CA" sz="1400" err="1">
                <a:effectLst/>
                <a:cs typeface="Sora" pitchFamily="2" charset="0"/>
              </a:rPr>
              <a:t>quod</a:t>
            </a:r>
            <a:r>
              <a:rPr lang="en-CA" sz="1400">
                <a:effectLst/>
                <a:cs typeface="Sora" pitchFamily="2" charset="0"/>
              </a:rPr>
              <a:t> quasit, </a:t>
            </a:r>
            <a:r>
              <a:rPr lang="en-CA" sz="1400" err="1">
                <a:effectLst/>
                <a:cs typeface="Sora" pitchFamily="2" charset="0"/>
              </a:rPr>
              <a:t>cu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iliqu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beati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verumqui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imole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equisqu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oluptin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cu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inte</a:t>
            </a:r>
            <a:r>
              <a:rPr lang="en-CA" sz="1400">
                <a:effectLst/>
                <a:cs typeface="Sora" pitchFamily="2" charset="0"/>
              </a:rPr>
              <a:t> ped </a:t>
            </a:r>
            <a:r>
              <a:rPr lang="en-CA" sz="1400" err="1">
                <a:effectLst/>
                <a:cs typeface="Sora" pitchFamily="2" charset="0"/>
              </a:rPr>
              <a:t>u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occa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au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o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andesti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iusam</a:t>
            </a:r>
            <a:r>
              <a:rPr lang="en-CA" sz="1400">
                <a:effectLst/>
                <a:cs typeface="Sora" pitchFamily="2" charset="0"/>
              </a:rPr>
              <a:t> as </a:t>
            </a:r>
            <a:r>
              <a:rPr lang="en-CA" sz="1400" err="1">
                <a:effectLst/>
                <a:cs typeface="Sora" pitchFamily="2" charset="0"/>
              </a:rPr>
              <a:t>rest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rspern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ut</a:t>
            </a:r>
            <a:r>
              <a:rPr lang="en-CA" sz="1400">
                <a:effectLst/>
                <a:cs typeface="Sora" pitchFamily="2" charset="0"/>
              </a:rPr>
              <a:t> labor </a:t>
            </a:r>
            <a:r>
              <a:rPr lang="en-CA" sz="1400" err="1">
                <a:effectLst/>
                <a:cs typeface="Sora" pitchFamily="2" charset="0"/>
              </a:rPr>
              <a:t>mostr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ntor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ucium</a:t>
            </a:r>
            <a:r>
              <a:rPr lang="en-CA" sz="1400">
                <a:effectLst/>
                <a:cs typeface="Sora" pitchFamily="2" charset="0"/>
              </a:rPr>
              <a:t> sit </a:t>
            </a:r>
            <a:r>
              <a:rPr lang="en-CA" sz="1400" err="1">
                <a:effectLst/>
                <a:cs typeface="Sora" pitchFamily="2" charset="0"/>
              </a:rPr>
              <a:t>latiunt</a:t>
            </a:r>
            <a:r>
              <a:rPr lang="en-CA" sz="1400">
                <a:effectLst/>
                <a:cs typeface="Sora" pitchFamily="2" charset="0"/>
              </a:rPr>
              <a:t>.</a:t>
            </a:r>
          </a:p>
          <a:p>
            <a:r>
              <a:rPr lang="en-CA" sz="1400" err="1">
                <a:effectLst/>
                <a:cs typeface="Sora" pitchFamily="2" charset="0"/>
              </a:rPr>
              <a:t>Odi</a:t>
            </a:r>
            <a:r>
              <a:rPr lang="en-CA" sz="1400">
                <a:effectLst/>
                <a:cs typeface="Sora" pitchFamily="2" charset="0"/>
              </a:rPr>
              <a:t> con </a:t>
            </a:r>
            <a:r>
              <a:rPr lang="en-CA" sz="1400" err="1">
                <a:effectLst/>
                <a:cs typeface="Sora" pitchFamily="2" charset="0"/>
              </a:rPr>
              <a:t>raerer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olupta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reste</a:t>
            </a:r>
            <a:r>
              <a:rPr lang="en-CA" sz="1400">
                <a:effectLst/>
                <a:cs typeface="Sora" pitchFamily="2" charset="0"/>
              </a:rPr>
              <a:t> dis </a:t>
            </a:r>
            <a:r>
              <a:rPr lang="en-CA" sz="1400" err="1">
                <a:effectLst/>
                <a:cs typeface="Sora" pitchFamily="2" charset="0"/>
              </a:rPr>
              <a:t>evenduc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i</a:t>
            </a:r>
            <a:r>
              <a:rPr lang="en-CA" sz="1400">
                <a:effectLst/>
                <a:cs typeface="Sora" pitchFamily="2" charset="0"/>
              </a:rPr>
              <a:t> di </a:t>
            </a:r>
            <a:r>
              <a:rPr lang="en-CA" sz="1400" err="1">
                <a:effectLst/>
                <a:cs typeface="Sora" pitchFamily="2" charset="0"/>
              </a:rPr>
              <a:t>doluptatem</a:t>
            </a:r>
            <a:r>
              <a:rPr lang="en-CA" sz="1400">
                <a:effectLst/>
                <a:cs typeface="Sora" pitchFamily="2" charset="0"/>
              </a:rPr>
              <a:t> in </a:t>
            </a:r>
            <a:r>
              <a:rPr lang="en-CA" sz="1400" err="1">
                <a:effectLst/>
                <a:cs typeface="Sora" pitchFamily="2" charset="0"/>
              </a:rPr>
              <a:t>pla</a:t>
            </a:r>
            <a:r>
              <a:rPr lang="en-CA" sz="1400">
                <a:effectLst/>
                <a:cs typeface="Sora" pitchFamily="2" charset="0"/>
              </a:rPr>
              <a:t> volent </a:t>
            </a:r>
            <a:r>
              <a:rPr lang="en-CA" sz="1400" err="1">
                <a:effectLst/>
                <a:cs typeface="Sora" pitchFamily="2" charset="0"/>
              </a:rPr>
              <a:t>volupitatur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ommolupt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xeritatium</a:t>
            </a:r>
            <a:r>
              <a:rPr lang="en-CA" sz="1400">
                <a:effectLst/>
                <a:cs typeface="Sora" pitchFamily="2" charset="0"/>
              </a:rPr>
              <a:t> quat </a:t>
            </a:r>
            <a:r>
              <a:rPr lang="en-CA" sz="1400" err="1">
                <a:effectLst/>
                <a:cs typeface="Sora" pitchFamily="2" charset="0"/>
              </a:rPr>
              <a:t>eati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equ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olor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itatemod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enesti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reri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fuga</a:t>
            </a:r>
            <a:r>
              <a:rPr lang="en-CA" sz="1400">
                <a:effectLst/>
                <a:cs typeface="Sora" pitchFamily="2" charset="0"/>
              </a:rPr>
              <a:t>. At </a:t>
            </a:r>
            <a:r>
              <a:rPr lang="en-CA" sz="1400" err="1">
                <a:effectLst/>
                <a:cs typeface="Sora" pitchFamily="2" charset="0"/>
              </a:rPr>
              <a:t>quia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ollent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officaturi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volorem</a:t>
            </a:r>
            <a:r>
              <a:rPr lang="en-CA" sz="1400">
                <a:effectLst/>
                <a:cs typeface="Sora" pitchFamily="2" charset="0"/>
              </a:rPr>
              <a:t> quos </a:t>
            </a:r>
            <a:r>
              <a:rPr lang="en-CA" sz="1400" err="1">
                <a:effectLst/>
                <a:cs typeface="Sora" pitchFamily="2" charset="0"/>
              </a:rPr>
              <a:t>mo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iunt</a:t>
            </a:r>
            <a:r>
              <a:rPr lang="en-CA" sz="1400">
                <a:effectLst/>
                <a:cs typeface="Sora" pitchFamily="2" charset="0"/>
              </a:rPr>
              <a:t>.</a:t>
            </a:r>
          </a:p>
          <a:p>
            <a:pPr marL="0" indent="0">
              <a:buNone/>
            </a:pPr>
            <a:endParaRPr lang="en-US" sz="1400">
              <a:cs typeface="Sora" pitchFamily="2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8134862-F4B5-D908-39B8-32A90C3D97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CA" sz="1400" err="1">
                <a:effectLst/>
                <a:cs typeface="Sora" pitchFamily="2" charset="0"/>
              </a:rPr>
              <a:t>Odi</a:t>
            </a:r>
            <a:r>
              <a:rPr lang="en-CA" sz="1400">
                <a:effectLst/>
                <a:cs typeface="Sora" pitchFamily="2" charset="0"/>
              </a:rPr>
              <a:t> con </a:t>
            </a:r>
            <a:r>
              <a:rPr lang="en-CA" sz="1400" err="1">
                <a:effectLst/>
                <a:cs typeface="Sora" pitchFamily="2" charset="0"/>
              </a:rPr>
              <a:t>raerer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olupta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reste</a:t>
            </a:r>
            <a:r>
              <a:rPr lang="en-CA" sz="1400">
                <a:effectLst/>
                <a:cs typeface="Sora" pitchFamily="2" charset="0"/>
              </a:rPr>
              <a:t> dis </a:t>
            </a:r>
            <a:r>
              <a:rPr lang="en-CA" sz="1400" err="1">
                <a:effectLst/>
                <a:cs typeface="Sora" pitchFamily="2" charset="0"/>
              </a:rPr>
              <a:t>evenduc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i</a:t>
            </a:r>
            <a:r>
              <a:rPr lang="en-CA" sz="1400">
                <a:effectLst/>
                <a:cs typeface="Sora" pitchFamily="2" charset="0"/>
              </a:rPr>
              <a:t> di </a:t>
            </a:r>
            <a:r>
              <a:rPr lang="en-CA" sz="1400" err="1">
                <a:effectLst/>
                <a:cs typeface="Sora" pitchFamily="2" charset="0"/>
              </a:rPr>
              <a:t>doluptatem</a:t>
            </a:r>
            <a:r>
              <a:rPr lang="en-CA" sz="1400">
                <a:effectLst/>
                <a:cs typeface="Sora" pitchFamily="2" charset="0"/>
              </a:rPr>
              <a:t> in </a:t>
            </a:r>
            <a:r>
              <a:rPr lang="en-CA" sz="1400" err="1">
                <a:effectLst/>
                <a:cs typeface="Sora" pitchFamily="2" charset="0"/>
              </a:rPr>
              <a:t>pla</a:t>
            </a:r>
            <a:r>
              <a:rPr lang="en-CA" sz="1400">
                <a:effectLst/>
                <a:cs typeface="Sora" pitchFamily="2" charset="0"/>
              </a:rPr>
              <a:t> volent </a:t>
            </a:r>
            <a:r>
              <a:rPr lang="en-CA" sz="1400" err="1">
                <a:effectLst/>
                <a:cs typeface="Sora" pitchFamily="2" charset="0"/>
              </a:rPr>
              <a:t>volupitatur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ommolupt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xeritatium</a:t>
            </a:r>
            <a:r>
              <a:rPr lang="en-CA" sz="1400">
                <a:effectLst/>
                <a:cs typeface="Sora" pitchFamily="2" charset="0"/>
              </a:rPr>
              <a:t> quat </a:t>
            </a:r>
            <a:r>
              <a:rPr lang="en-CA" sz="1400" err="1">
                <a:effectLst/>
                <a:cs typeface="Sora" pitchFamily="2" charset="0"/>
              </a:rPr>
              <a:t>eati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equ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olor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itatemod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enesti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reri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fuga</a:t>
            </a:r>
            <a:r>
              <a:rPr lang="en-CA" sz="1400">
                <a:effectLst/>
                <a:cs typeface="Sora" pitchFamily="2" charset="0"/>
              </a:rPr>
              <a:t>. At </a:t>
            </a:r>
            <a:r>
              <a:rPr lang="en-CA" sz="1400" err="1">
                <a:effectLst/>
                <a:cs typeface="Sora" pitchFamily="2" charset="0"/>
              </a:rPr>
              <a:t>quia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ollent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officaturi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ucimus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o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iunt</a:t>
            </a:r>
            <a:r>
              <a:rPr lang="en-CA" sz="1400">
                <a:effectLst/>
                <a:cs typeface="Sora" pitchFamily="2" charset="0"/>
              </a:rPr>
              <a:t>.</a:t>
            </a:r>
          </a:p>
          <a:p>
            <a:r>
              <a:rPr lang="en-CA" sz="1400">
                <a:effectLst/>
                <a:cs typeface="Sora" pitchFamily="2" charset="0"/>
              </a:rPr>
              <a:t>Ignis </a:t>
            </a:r>
            <a:r>
              <a:rPr lang="en-CA" sz="1400" err="1">
                <a:effectLst/>
                <a:cs typeface="Sora" pitchFamily="2" charset="0"/>
              </a:rPr>
              <a:t>ei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cons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ndandi</a:t>
            </a:r>
            <a:r>
              <a:rPr lang="en-CA" sz="1400">
                <a:effectLst/>
                <a:cs typeface="Sora" pitchFamily="2" charset="0"/>
              </a:rPr>
              <a:t> ne </a:t>
            </a:r>
            <a:r>
              <a:rPr lang="en-CA" sz="1400" err="1">
                <a:effectLst/>
                <a:cs typeface="Sora" pitchFamily="2" charset="0"/>
              </a:rPr>
              <a:t>quodis</a:t>
            </a:r>
            <a:r>
              <a:rPr lang="en-CA" sz="1400">
                <a:effectLst/>
                <a:cs typeface="Sora" pitchFamily="2" charset="0"/>
              </a:rPr>
              <a:t> nobis et </a:t>
            </a:r>
            <a:r>
              <a:rPr lang="en-CA" sz="1400" err="1">
                <a:effectLst/>
                <a:cs typeface="Sora" pitchFamily="2" charset="0"/>
              </a:rPr>
              <a:t>ventoria</a:t>
            </a:r>
            <a:r>
              <a:rPr lang="en-CA" sz="1400">
                <a:effectLst/>
                <a:cs typeface="Sora" pitchFamily="2" charset="0"/>
              </a:rPr>
              <a:t> cum et </a:t>
            </a:r>
            <a:r>
              <a:rPr lang="en-CA" sz="1400" err="1">
                <a:effectLst/>
                <a:cs typeface="Sora" pitchFamily="2" charset="0"/>
              </a:rPr>
              <a:t>etust</a:t>
            </a:r>
            <a:r>
              <a:rPr lang="en-CA" sz="1400">
                <a:effectLst/>
                <a:cs typeface="Sora" pitchFamily="2" charset="0"/>
              </a:rPr>
              <a:t>, </a:t>
            </a:r>
            <a:r>
              <a:rPr lang="en-CA" sz="1400" err="1">
                <a:effectLst/>
                <a:cs typeface="Sora" pitchFamily="2" charset="0"/>
              </a:rPr>
              <a:t>sa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esto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voluptati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videb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cimaximet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ipicil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quaspe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nemporeped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millorpor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ass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soloraten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nulparum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fuga</a:t>
            </a:r>
            <a:r>
              <a:rPr lang="en-CA" sz="1400">
                <a:effectLst/>
                <a:cs typeface="Sora" pitchFamily="2" charset="0"/>
              </a:rPr>
              <a:t>. Ore </a:t>
            </a:r>
            <a:r>
              <a:rPr lang="en-CA" sz="1400" err="1">
                <a:effectLst/>
                <a:cs typeface="Sora" pitchFamily="2" charset="0"/>
              </a:rPr>
              <a:t>vendebis</a:t>
            </a:r>
            <a:r>
              <a:rPr lang="en-CA" sz="1400">
                <a:effectLst/>
                <a:cs typeface="Sora" pitchFamily="2" charset="0"/>
              </a:rPr>
              <a:t> qui </a:t>
            </a:r>
            <a:r>
              <a:rPr lang="en-CA" sz="1400" err="1">
                <a:effectLst/>
                <a:cs typeface="Sora" pitchFamily="2" charset="0"/>
              </a:rPr>
              <a:t>cusaectis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ucipsa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dellenim</a:t>
            </a:r>
            <a:r>
              <a:rPr lang="en-CA" sz="1400">
                <a:effectLst/>
                <a:cs typeface="Sora" pitchFamily="2" charset="0"/>
              </a:rPr>
              <a:t> volent </a:t>
            </a:r>
            <a:r>
              <a:rPr lang="en-CA" sz="1400" err="1">
                <a:effectLst/>
                <a:cs typeface="Sora" pitchFamily="2" charset="0"/>
              </a:rPr>
              <a:t>si</a:t>
            </a:r>
            <a:r>
              <a:rPr lang="en-CA" sz="1400">
                <a:effectLst/>
                <a:cs typeface="Sora" pitchFamily="2" charset="0"/>
              </a:rPr>
              <a:t> </a:t>
            </a:r>
            <a:r>
              <a:rPr lang="en-CA" sz="1400" err="1">
                <a:effectLst/>
                <a:cs typeface="Sora" pitchFamily="2" charset="0"/>
              </a:rPr>
              <a:t>te</a:t>
            </a:r>
            <a:r>
              <a:rPr lang="en-CA" sz="1400">
                <a:effectLst/>
                <a:cs typeface="Sora" pitchFamily="2" charset="0"/>
              </a:rPr>
              <a:t> et </a:t>
            </a:r>
            <a:r>
              <a:rPr lang="en-CA" sz="1400" err="1">
                <a:effectLst/>
                <a:cs typeface="Sora" pitchFamily="2" charset="0"/>
              </a:rPr>
              <a:t>hicitem</a:t>
            </a:r>
            <a:r>
              <a:rPr lang="en-CA" sz="1400">
                <a:effectLst/>
                <a:cs typeface="Sora" pitchFamily="2" charset="0"/>
              </a:rPr>
              <a:t>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6A0726-5074-FD79-DE5A-581BA34791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BD4BC35-B497-1DA1-7F96-E335441D12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EE3D1F01-FDB7-0928-FE0D-6E7EAC4905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8444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1918BD-EB34-818C-BF8E-CBF8E554B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Header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CAFFE-DF34-EE37-8658-98A227284E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Header text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6A378B-45A2-CCBE-5660-C683C705C6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Header text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7033E9-9132-B2C2-CFAF-41940BB6104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Header text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140F1C-E427-8EAA-4BC9-5499CADFB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530A47-C4C8-8B4A-4471-25E2C99614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B9095D-A210-01E2-6885-14A2194F6A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C9B991B-C120-214A-F813-B3C2DD2C7E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CA">
                <a:effectLst/>
                <a:cs typeface="Sora" pitchFamily="2" charset="0"/>
              </a:rPr>
              <a:t>Ignis </a:t>
            </a:r>
            <a:r>
              <a:rPr lang="en-CA" err="1">
                <a:effectLst/>
                <a:cs typeface="Sora" pitchFamily="2" charset="0"/>
              </a:rPr>
              <a:t>ei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conse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ndandi</a:t>
            </a:r>
            <a:r>
              <a:rPr lang="en-CA">
                <a:effectLst/>
                <a:cs typeface="Sora" pitchFamily="2" charset="0"/>
              </a:rPr>
              <a:t> ne </a:t>
            </a:r>
            <a:r>
              <a:rPr lang="en-CA" err="1">
                <a:effectLst/>
                <a:cs typeface="Sora" pitchFamily="2" charset="0"/>
              </a:rPr>
              <a:t>quodis</a:t>
            </a:r>
            <a:r>
              <a:rPr lang="en-CA">
                <a:effectLst/>
                <a:cs typeface="Sora" pitchFamily="2" charset="0"/>
              </a:rPr>
              <a:t> nobis et </a:t>
            </a:r>
            <a:r>
              <a:rPr lang="en-CA" err="1">
                <a:effectLst/>
                <a:cs typeface="Sora" pitchFamily="2" charset="0"/>
              </a:rPr>
              <a:t>ventoria</a:t>
            </a:r>
            <a:r>
              <a:rPr lang="en-CA">
                <a:effectLst/>
                <a:cs typeface="Sora" pitchFamily="2" charset="0"/>
              </a:rPr>
              <a:t> cum et </a:t>
            </a:r>
            <a:r>
              <a:rPr lang="en-CA" err="1">
                <a:effectLst/>
                <a:cs typeface="Sora" pitchFamily="2" charset="0"/>
              </a:rPr>
              <a:t>etust</a:t>
            </a:r>
            <a:r>
              <a:rPr lang="en-CA">
                <a:effectLst/>
                <a:cs typeface="Sora" pitchFamily="2" charset="0"/>
              </a:rPr>
              <a:t>, </a:t>
            </a:r>
            <a:r>
              <a:rPr lang="en-CA" err="1">
                <a:effectLst/>
                <a:cs typeface="Sora" pitchFamily="2" charset="0"/>
              </a:rPr>
              <a:t>sa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sto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voluptati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videbis</a:t>
            </a:r>
            <a:endParaRPr lang="en-CA">
              <a:cs typeface="Sora" pitchFamily="2" charset="0"/>
            </a:endParaRPr>
          </a:p>
          <a:p>
            <a:r>
              <a:rPr lang="en-CA" err="1">
                <a:cs typeface="Sora" pitchFamily="2" charset="0"/>
              </a:rPr>
              <a:t>S</a:t>
            </a:r>
            <a:r>
              <a:rPr lang="en-CA" err="1">
                <a:effectLst/>
                <a:cs typeface="Sora" pitchFamily="2" charset="0"/>
              </a:rPr>
              <a:t>imaxime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ipicili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quaspe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nemporeped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millorpor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ass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oloraten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nulpar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fuga</a:t>
            </a:r>
            <a:r>
              <a:rPr lang="en-CA">
                <a:effectLst/>
                <a:cs typeface="Sora" pitchFamily="2" charset="0"/>
              </a:rPr>
              <a:t>. Ore </a:t>
            </a:r>
            <a:r>
              <a:rPr lang="en-CA" err="1">
                <a:effectLst/>
                <a:cs typeface="Sora" pitchFamily="2" charset="0"/>
              </a:rPr>
              <a:t>vendebis</a:t>
            </a:r>
            <a:r>
              <a:rPr lang="en-CA">
                <a:effectLst/>
                <a:cs typeface="Sora" pitchFamily="2" charset="0"/>
              </a:rPr>
              <a:t> qui </a:t>
            </a:r>
            <a:r>
              <a:rPr lang="en-CA" err="1">
                <a:effectLst/>
                <a:cs typeface="Sora" pitchFamily="2" charset="0"/>
              </a:rPr>
              <a:t>cusaect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ducips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dellenim</a:t>
            </a:r>
            <a:r>
              <a:rPr lang="en-CA">
                <a:effectLst/>
                <a:cs typeface="Sora" pitchFamily="2" charset="0"/>
              </a:rPr>
              <a:t> volent </a:t>
            </a:r>
            <a:r>
              <a:rPr lang="en-CA" err="1">
                <a:effectLst/>
                <a:cs typeface="Sora" pitchFamily="2" charset="0"/>
              </a:rPr>
              <a:t>si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te</a:t>
            </a:r>
            <a:r>
              <a:rPr lang="en-CA">
                <a:effectLst/>
                <a:cs typeface="Sora" pitchFamily="2" charset="0"/>
              </a:rPr>
              <a:t> et </a:t>
            </a:r>
            <a:r>
              <a:rPr lang="en-CA" err="1">
                <a:effectLst/>
                <a:cs typeface="Sora" pitchFamily="2" charset="0"/>
              </a:rPr>
              <a:t>hicitem</a:t>
            </a:r>
            <a:r>
              <a:rPr lang="en-CA">
                <a:effectLst/>
                <a:cs typeface="Sora" pitchFamily="2" charset="0"/>
              </a:rPr>
              <a:t> </a:t>
            </a:r>
          </a:p>
          <a:p>
            <a:r>
              <a:rPr lang="en-CA">
                <a:effectLst/>
                <a:cs typeface="Sora" pitchFamily="2" charset="0"/>
              </a:rPr>
              <a:t>Naut </a:t>
            </a:r>
            <a:r>
              <a:rPr lang="en-CA" err="1">
                <a:effectLst/>
                <a:cs typeface="Sora" pitchFamily="2" charset="0"/>
              </a:rPr>
              <a:t>eo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andesti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iusam</a:t>
            </a:r>
            <a:r>
              <a:rPr lang="en-CA">
                <a:effectLst/>
                <a:cs typeface="Sora" pitchFamily="2" charset="0"/>
              </a:rPr>
              <a:t> as </a:t>
            </a:r>
            <a:r>
              <a:rPr lang="en-CA" err="1">
                <a:effectLst/>
                <a:cs typeface="Sora" pitchFamily="2" charset="0"/>
              </a:rPr>
              <a:t>rest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rspern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ut</a:t>
            </a:r>
            <a:r>
              <a:rPr lang="en-CA">
                <a:effectLst/>
                <a:cs typeface="Sora" pitchFamily="2" charset="0"/>
              </a:rPr>
              <a:t> labor </a:t>
            </a:r>
            <a:r>
              <a:rPr lang="en-CA" err="1">
                <a:effectLst/>
                <a:cs typeface="Sora" pitchFamily="2" charset="0"/>
              </a:rPr>
              <a:t>mostr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ntore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ducium</a:t>
            </a:r>
            <a:r>
              <a:rPr lang="en-CA">
                <a:effectLst/>
                <a:cs typeface="Sora" pitchFamily="2" charset="0"/>
              </a:rPr>
              <a:t> sit </a:t>
            </a:r>
            <a:r>
              <a:rPr lang="en-CA" err="1">
                <a:effectLst/>
                <a:cs typeface="Sora" pitchFamily="2" charset="0"/>
              </a:rPr>
              <a:t>latiun</a:t>
            </a:r>
            <a:endParaRPr lang="en-CA">
              <a:effectLst/>
              <a:cs typeface="Sora" pitchFamily="2" charset="0"/>
            </a:endParaRPr>
          </a:p>
          <a:p>
            <a:endParaRPr lang="en-CA">
              <a:effectLst/>
              <a:cs typeface="Sora" pitchFamily="2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964EFB-3AA1-A663-C922-3B5DDA367A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CA">
                <a:effectLst/>
                <a:cs typeface="Sora" pitchFamily="2" charset="0"/>
              </a:rPr>
              <a:t>Et la dis </a:t>
            </a:r>
            <a:r>
              <a:rPr lang="en-CA" err="1">
                <a:effectLst/>
                <a:cs typeface="Sora" pitchFamily="2" charset="0"/>
              </a:rPr>
              <a:t>u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ullis</a:t>
            </a:r>
            <a:r>
              <a:rPr lang="en-CA">
                <a:effectLst/>
                <a:cs typeface="Sora" pitchFamily="2" charset="0"/>
              </a:rPr>
              <a:t> di </a:t>
            </a:r>
            <a:r>
              <a:rPr lang="en-CA" err="1">
                <a:effectLst/>
                <a:cs typeface="Sora" pitchFamily="2" charset="0"/>
              </a:rPr>
              <a:t>vidicia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consen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equ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stione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aquias</a:t>
            </a:r>
            <a:r>
              <a:rPr lang="en-CA">
                <a:effectLst/>
                <a:cs typeface="Sora" pitchFamily="2" charset="0"/>
              </a:rPr>
              <a:t> rem rerum </a:t>
            </a:r>
            <a:r>
              <a:rPr lang="en-CA" err="1">
                <a:effectLst/>
                <a:cs typeface="Sora" pitchFamily="2" charset="0"/>
              </a:rPr>
              <a:t>dolupide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aud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s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har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ipisimint</a:t>
            </a:r>
            <a:r>
              <a:rPr lang="en-CA">
                <a:effectLst/>
                <a:cs typeface="Sora" pitchFamily="2" charset="0"/>
              </a:rPr>
              <a:t> dem dem ex et </a:t>
            </a:r>
            <a:r>
              <a:rPr lang="en-CA" err="1">
                <a:effectLst/>
                <a:cs typeface="Sora" pitchFamily="2" charset="0"/>
              </a:rPr>
              <a:t>quod</a:t>
            </a:r>
            <a:r>
              <a:rPr lang="en-CA">
                <a:effectLst/>
                <a:cs typeface="Sora" pitchFamily="2" charset="0"/>
              </a:rPr>
              <a:t> quasit, </a:t>
            </a:r>
            <a:r>
              <a:rPr lang="en-CA" err="1">
                <a:effectLst/>
                <a:cs typeface="Sora" pitchFamily="2" charset="0"/>
              </a:rPr>
              <a:t>cu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miliqui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beatia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verumqui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imole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equisqui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doluptin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cu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minte</a:t>
            </a:r>
            <a:r>
              <a:rPr lang="en-CA">
                <a:effectLst/>
                <a:cs typeface="Sora" pitchFamily="2" charset="0"/>
              </a:rPr>
              <a:t> ped </a:t>
            </a:r>
            <a:r>
              <a:rPr lang="en-CA" err="1">
                <a:effectLst/>
                <a:cs typeface="Sora" pitchFamily="2" charset="0"/>
              </a:rPr>
              <a:t>u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occat</a:t>
            </a:r>
            <a:endParaRPr lang="en-CA">
              <a:cs typeface="Sora" pitchFamily="2" charset="0"/>
            </a:endParaRPr>
          </a:p>
          <a:p>
            <a:r>
              <a:rPr lang="en-CA">
                <a:effectLst/>
                <a:cs typeface="Sora" pitchFamily="2" charset="0"/>
              </a:rPr>
              <a:t>Naut </a:t>
            </a:r>
            <a:r>
              <a:rPr lang="en-CA" err="1">
                <a:effectLst/>
                <a:cs typeface="Sora" pitchFamily="2" charset="0"/>
              </a:rPr>
              <a:t>eo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andesti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iusam</a:t>
            </a:r>
            <a:r>
              <a:rPr lang="en-CA">
                <a:effectLst/>
                <a:cs typeface="Sora" pitchFamily="2" charset="0"/>
              </a:rPr>
              <a:t> as </a:t>
            </a:r>
            <a:r>
              <a:rPr lang="en-CA" err="1">
                <a:effectLst/>
                <a:cs typeface="Sora" pitchFamily="2" charset="0"/>
              </a:rPr>
              <a:t>rest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rspern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ut</a:t>
            </a:r>
            <a:r>
              <a:rPr lang="en-CA">
                <a:effectLst/>
                <a:cs typeface="Sora" pitchFamily="2" charset="0"/>
              </a:rPr>
              <a:t> labor </a:t>
            </a:r>
            <a:r>
              <a:rPr lang="en-CA" err="1">
                <a:effectLst/>
                <a:cs typeface="Sora" pitchFamily="2" charset="0"/>
              </a:rPr>
              <a:t>mostr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ntore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ducium</a:t>
            </a:r>
            <a:r>
              <a:rPr lang="en-CA">
                <a:effectLst/>
                <a:cs typeface="Sora" pitchFamily="2" charset="0"/>
              </a:rPr>
              <a:t> sit </a:t>
            </a:r>
            <a:r>
              <a:rPr lang="en-CA" err="1">
                <a:effectLst/>
                <a:cs typeface="Sora" pitchFamily="2" charset="0"/>
              </a:rPr>
              <a:t>latiun</a:t>
            </a:r>
            <a:endParaRPr lang="en-CA">
              <a:effectLst/>
              <a:cs typeface="Sora" pitchFamily="2" charset="0"/>
            </a:endParaRPr>
          </a:p>
          <a:p>
            <a:endParaRPr lang="en-US">
              <a:cs typeface="Sora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374D18D-8072-82D5-7B81-4567E832202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CA" err="1">
                <a:effectLst/>
                <a:cs typeface="Sora" pitchFamily="2" charset="0"/>
              </a:rPr>
              <a:t>Netust</a:t>
            </a:r>
            <a:r>
              <a:rPr lang="en-CA">
                <a:effectLst/>
                <a:cs typeface="Sora" pitchFamily="2" charset="0"/>
              </a:rPr>
              <a:t>, </a:t>
            </a:r>
            <a:r>
              <a:rPr lang="en-CA" err="1">
                <a:effectLst/>
                <a:cs typeface="Sora" pitchFamily="2" charset="0"/>
              </a:rPr>
              <a:t>sa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sto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voluptati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videb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cimaxime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ipicili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quaspe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nemporeped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millorpor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ass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oloraten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nulpar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fuga</a:t>
            </a:r>
            <a:r>
              <a:rPr lang="en-CA">
                <a:effectLst/>
                <a:cs typeface="Sora" pitchFamily="2" charset="0"/>
              </a:rPr>
              <a:t>. Ore </a:t>
            </a:r>
            <a:r>
              <a:rPr lang="en-CA" err="1">
                <a:effectLst/>
                <a:cs typeface="Sora" pitchFamily="2" charset="0"/>
              </a:rPr>
              <a:t>vendebis</a:t>
            </a:r>
            <a:r>
              <a:rPr lang="en-CA">
                <a:effectLst/>
                <a:cs typeface="Sora" pitchFamily="2" charset="0"/>
              </a:rPr>
              <a:t> qui </a:t>
            </a:r>
            <a:r>
              <a:rPr lang="en-CA" err="1">
                <a:effectLst/>
                <a:cs typeface="Sora" pitchFamily="2" charset="0"/>
              </a:rPr>
              <a:t>cusaect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ducips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dellenim</a:t>
            </a:r>
            <a:r>
              <a:rPr lang="en-CA">
                <a:effectLst/>
                <a:cs typeface="Sora" pitchFamily="2" charset="0"/>
              </a:rPr>
              <a:t> volent </a:t>
            </a:r>
            <a:r>
              <a:rPr lang="en-CA" err="1">
                <a:effectLst/>
                <a:cs typeface="Sora" pitchFamily="2" charset="0"/>
              </a:rPr>
              <a:t>si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te</a:t>
            </a:r>
            <a:r>
              <a:rPr lang="en-CA">
                <a:effectLst/>
                <a:cs typeface="Sora" pitchFamily="2" charset="0"/>
              </a:rPr>
              <a:t> et </a:t>
            </a:r>
            <a:r>
              <a:rPr lang="en-CA" err="1">
                <a:effectLst/>
                <a:cs typeface="Sora" pitchFamily="2" charset="0"/>
              </a:rPr>
              <a:t>hicitem</a:t>
            </a:r>
            <a:endParaRPr lang="en-CA">
              <a:effectLst/>
              <a:cs typeface="Sora" pitchFamily="2" charset="0"/>
            </a:endParaRPr>
          </a:p>
          <a:p>
            <a:r>
              <a:rPr lang="en-CA">
                <a:effectLst/>
                <a:cs typeface="Sora" pitchFamily="2" charset="0"/>
              </a:rPr>
              <a:t>Et la dis </a:t>
            </a:r>
            <a:r>
              <a:rPr lang="en-CA" err="1">
                <a:effectLst/>
                <a:cs typeface="Sora" pitchFamily="2" charset="0"/>
              </a:rPr>
              <a:t>u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ullis</a:t>
            </a:r>
            <a:r>
              <a:rPr lang="en-CA">
                <a:effectLst/>
                <a:cs typeface="Sora" pitchFamily="2" charset="0"/>
              </a:rPr>
              <a:t> di </a:t>
            </a:r>
            <a:r>
              <a:rPr lang="en-CA" err="1">
                <a:effectLst/>
                <a:cs typeface="Sora" pitchFamily="2" charset="0"/>
              </a:rPr>
              <a:t>vidicia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consen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equ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stione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aquias</a:t>
            </a:r>
            <a:r>
              <a:rPr lang="en-CA">
                <a:effectLst/>
                <a:cs typeface="Sora" pitchFamily="2" charset="0"/>
              </a:rPr>
              <a:t> rem rerum </a:t>
            </a:r>
            <a:r>
              <a:rPr lang="en-CA" err="1">
                <a:effectLst/>
                <a:cs typeface="Sora" pitchFamily="2" charset="0"/>
              </a:rPr>
              <a:t>dolupide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aud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s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har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ipisimint</a:t>
            </a:r>
            <a:r>
              <a:rPr lang="en-CA">
                <a:effectLst/>
                <a:cs typeface="Sora" pitchFamily="2" charset="0"/>
              </a:rPr>
              <a:t> dem dem ex et </a:t>
            </a:r>
            <a:r>
              <a:rPr lang="en-CA" err="1">
                <a:effectLst/>
                <a:cs typeface="Sora" pitchFamily="2" charset="0"/>
              </a:rPr>
              <a:t>quod</a:t>
            </a:r>
            <a:r>
              <a:rPr lang="en-CA">
                <a:effectLst/>
                <a:cs typeface="Sora" pitchFamily="2" charset="0"/>
              </a:rPr>
              <a:t> quasit</a:t>
            </a:r>
            <a:endParaRPr lang="en-US">
              <a:cs typeface="Sora" pitchFamily="2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9755781-9B28-5093-2824-52A06FD6DD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CA">
                <a:effectLst/>
                <a:cs typeface="Sora" pitchFamily="2" charset="0"/>
              </a:rPr>
              <a:t>Et la dis </a:t>
            </a:r>
            <a:r>
              <a:rPr lang="en-CA" err="1">
                <a:effectLst/>
                <a:cs typeface="Sora" pitchFamily="2" charset="0"/>
              </a:rPr>
              <a:t>u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ullis</a:t>
            </a:r>
            <a:r>
              <a:rPr lang="en-CA">
                <a:effectLst/>
                <a:cs typeface="Sora" pitchFamily="2" charset="0"/>
              </a:rPr>
              <a:t> di </a:t>
            </a:r>
            <a:r>
              <a:rPr lang="en-CA" err="1">
                <a:effectLst/>
                <a:cs typeface="Sora" pitchFamily="2" charset="0"/>
              </a:rPr>
              <a:t>vidicia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consen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equ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stione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aquias</a:t>
            </a:r>
            <a:r>
              <a:rPr lang="en-CA">
                <a:effectLst/>
                <a:cs typeface="Sora" pitchFamily="2" charset="0"/>
              </a:rPr>
              <a:t> rem rerum </a:t>
            </a:r>
            <a:r>
              <a:rPr lang="en-CA" err="1">
                <a:effectLst/>
                <a:cs typeface="Sora" pitchFamily="2" charset="0"/>
              </a:rPr>
              <a:t>dolupide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aud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s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haru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ipisimint</a:t>
            </a:r>
            <a:r>
              <a:rPr lang="en-CA">
                <a:effectLst/>
                <a:cs typeface="Sora" pitchFamily="2" charset="0"/>
              </a:rPr>
              <a:t> dem dem ex et </a:t>
            </a:r>
            <a:r>
              <a:rPr lang="en-CA" err="1">
                <a:effectLst/>
                <a:cs typeface="Sora" pitchFamily="2" charset="0"/>
              </a:rPr>
              <a:t>quod</a:t>
            </a:r>
            <a:r>
              <a:rPr lang="en-CA">
                <a:effectLst/>
                <a:cs typeface="Sora" pitchFamily="2" charset="0"/>
              </a:rPr>
              <a:t> quasit, </a:t>
            </a:r>
            <a:r>
              <a:rPr lang="en-CA" err="1">
                <a:effectLst/>
                <a:cs typeface="Sora" pitchFamily="2" charset="0"/>
              </a:rPr>
              <a:t>cu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miliqui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beatiam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verumqui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imole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equisqui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doluptin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cu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minte</a:t>
            </a:r>
            <a:r>
              <a:rPr lang="en-CA">
                <a:effectLst/>
                <a:cs typeface="Sora" pitchFamily="2" charset="0"/>
              </a:rPr>
              <a:t> ped </a:t>
            </a:r>
            <a:r>
              <a:rPr lang="en-CA" err="1">
                <a:effectLst/>
                <a:cs typeface="Sora" pitchFamily="2" charset="0"/>
              </a:rPr>
              <a:t>u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occa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aut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o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sandestia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iusam</a:t>
            </a:r>
            <a:r>
              <a:rPr lang="en-CA">
                <a:effectLst/>
                <a:cs typeface="Sora" pitchFamily="2" charset="0"/>
              </a:rPr>
              <a:t> as </a:t>
            </a:r>
            <a:r>
              <a:rPr lang="en-CA" err="1">
                <a:effectLst/>
                <a:cs typeface="Sora" pitchFamily="2" charset="0"/>
              </a:rPr>
              <a:t>restis</a:t>
            </a:r>
            <a:r>
              <a:rPr lang="en-CA">
                <a:effectLst/>
                <a:cs typeface="Sora" pitchFamily="2" charset="0"/>
              </a:rPr>
              <a:t> </a:t>
            </a:r>
            <a:r>
              <a:rPr lang="en-CA" err="1">
                <a:effectLst/>
                <a:cs typeface="Sora" pitchFamily="2" charset="0"/>
              </a:rPr>
              <a:t>erspern</a:t>
            </a:r>
            <a:endParaRPr lang="en-US">
              <a:cs typeface="So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84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B338E95-D252-6424-9F3A-D3BD8E7341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eader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E3AB73-D787-01B4-9B83-B4BFCD052E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CA" sz="1400" dirty="0">
                <a:effectLst/>
                <a:cs typeface="Sora" pitchFamily="2" charset="0"/>
              </a:rPr>
              <a:t>Ignis </a:t>
            </a:r>
            <a:r>
              <a:rPr lang="en-CA" sz="1400" dirty="0" err="1">
                <a:effectLst/>
                <a:cs typeface="Sora" pitchFamily="2" charset="0"/>
              </a:rPr>
              <a:t>ei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ndandi</a:t>
            </a:r>
            <a:r>
              <a:rPr lang="en-CA" sz="1400" dirty="0">
                <a:effectLst/>
                <a:cs typeface="Sora" pitchFamily="2" charset="0"/>
              </a:rPr>
              <a:t> ne </a:t>
            </a:r>
            <a:r>
              <a:rPr lang="en-CA" sz="1400" dirty="0" err="1">
                <a:effectLst/>
                <a:cs typeface="Sora" pitchFamily="2" charset="0"/>
              </a:rPr>
              <a:t>quodis</a:t>
            </a:r>
            <a:r>
              <a:rPr lang="en-CA" sz="1400" dirty="0">
                <a:effectLst/>
                <a:cs typeface="Sora" pitchFamily="2" charset="0"/>
              </a:rPr>
              <a:t> nobis et </a:t>
            </a:r>
            <a:r>
              <a:rPr lang="en-CA" sz="1400" dirty="0" err="1">
                <a:effectLst/>
                <a:cs typeface="Sora" pitchFamily="2" charset="0"/>
              </a:rPr>
              <a:t>ventoria</a:t>
            </a:r>
            <a:r>
              <a:rPr lang="en-CA" sz="1400" dirty="0">
                <a:effectLst/>
                <a:cs typeface="Sora" pitchFamily="2" charset="0"/>
              </a:rPr>
              <a:t> cum et </a:t>
            </a:r>
            <a:r>
              <a:rPr lang="en-CA" sz="1400" dirty="0" err="1">
                <a:effectLst/>
                <a:cs typeface="Sora" pitchFamily="2" charset="0"/>
              </a:rPr>
              <a:t>etust</a:t>
            </a:r>
            <a:r>
              <a:rPr lang="en-CA" sz="1400" dirty="0">
                <a:effectLst/>
                <a:cs typeface="Sora" pitchFamily="2" charset="0"/>
              </a:rPr>
              <a:t>, </a:t>
            </a:r>
            <a:r>
              <a:rPr lang="en-CA" sz="1400" dirty="0" err="1">
                <a:effectLst/>
                <a:cs typeface="Sora" pitchFamily="2" charset="0"/>
              </a:rPr>
              <a:t>s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o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quasp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nemporeped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llorpor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ss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olorat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nulpa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fuga</a:t>
            </a:r>
            <a:r>
              <a:rPr lang="en-CA" sz="1400" dirty="0">
                <a:effectLst/>
                <a:cs typeface="Sora" pitchFamily="2" charset="0"/>
              </a:rPr>
              <a:t>. </a:t>
            </a:r>
          </a:p>
          <a:p>
            <a:r>
              <a:rPr lang="en-CA" sz="1400" dirty="0">
                <a:effectLst/>
                <a:cs typeface="Sora" pitchFamily="2" charset="0"/>
              </a:rPr>
              <a:t>Ore </a:t>
            </a:r>
            <a:r>
              <a:rPr lang="en-CA" sz="1400" dirty="0" err="1">
                <a:effectLst/>
                <a:cs typeface="Sora" pitchFamily="2" charset="0"/>
              </a:rPr>
              <a:t>vendebis</a:t>
            </a:r>
            <a:r>
              <a:rPr lang="en-CA" sz="1400" dirty="0">
                <a:effectLst/>
                <a:cs typeface="Sora" pitchFamily="2" charset="0"/>
              </a:rPr>
              <a:t> qui </a:t>
            </a:r>
            <a:r>
              <a:rPr lang="en-CA" sz="1400" dirty="0" err="1">
                <a:effectLst/>
                <a:cs typeface="Sora" pitchFamily="2" charset="0"/>
              </a:rPr>
              <a:t>cusaect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ps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ellenim</a:t>
            </a:r>
            <a:r>
              <a:rPr lang="en-CA" sz="1400" dirty="0">
                <a:effectLst/>
                <a:cs typeface="Sora" pitchFamily="2" charset="0"/>
              </a:rPr>
              <a:t> volent </a:t>
            </a:r>
            <a:r>
              <a:rPr lang="en-CA" sz="1400" dirty="0" err="1">
                <a:effectLst/>
                <a:cs typeface="Sora" pitchFamily="2" charset="0"/>
              </a:rPr>
              <a:t>s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te</a:t>
            </a:r>
            <a:r>
              <a:rPr lang="en-CA" sz="1400" dirty="0">
                <a:effectLst/>
                <a:cs typeface="Sora" pitchFamily="2" charset="0"/>
              </a:rPr>
              <a:t> et </a:t>
            </a:r>
            <a:r>
              <a:rPr lang="en-CA" sz="1400" dirty="0" err="1">
                <a:effectLst/>
                <a:cs typeface="Sora" pitchFamily="2" charset="0"/>
              </a:rPr>
              <a:t>hicitem</a:t>
            </a:r>
            <a:r>
              <a:rPr lang="en-CA" sz="1400" dirty="0">
                <a:effectLst/>
                <a:cs typeface="Sora" pitchFamily="2" charset="0"/>
              </a:rPr>
              <a:t>. Et la dis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llis</a:t>
            </a:r>
            <a:r>
              <a:rPr lang="en-CA" sz="1400" dirty="0">
                <a:effectLst/>
                <a:cs typeface="Sora" pitchFamily="2" charset="0"/>
              </a:rPr>
              <a:t> di </a:t>
            </a:r>
            <a:r>
              <a:rPr lang="en-CA" sz="1400" dirty="0" err="1">
                <a:effectLst/>
                <a:cs typeface="Sora" pitchFamily="2" charset="0"/>
              </a:rPr>
              <a:t>vidic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ion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aquias</a:t>
            </a:r>
            <a:r>
              <a:rPr lang="en-CA" sz="1400" dirty="0">
                <a:effectLst/>
                <a:cs typeface="Sora" pitchFamily="2" charset="0"/>
              </a:rPr>
              <a:t> rem rerum </a:t>
            </a:r>
            <a:r>
              <a:rPr lang="en-CA" sz="1400" dirty="0" err="1">
                <a:effectLst/>
                <a:cs typeface="Sora" pitchFamily="2" charset="0"/>
              </a:rPr>
              <a:t>dolupides</a:t>
            </a:r>
            <a:r>
              <a:rPr lang="en-CA" sz="1400" dirty="0">
                <a:effectLst/>
                <a:cs typeface="Sora" pitchFamily="2" charset="0"/>
              </a:rPr>
              <a:t> </a:t>
            </a:r>
          </a:p>
          <a:p>
            <a:r>
              <a:rPr lang="en-CA" sz="1400" dirty="0" err="1">
                <a:effectLst/>
                <a:cs typeface="Sora" pitchFamily="2" charset="0"/>
              </a:rPr>
              <a:t>Aud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ha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pisimint</a:t>
            </a:r>
            <a:r>
              <a:rPr lang="en-CA" sz="1400" dirty="0">
                <a:effectLst/>
                <a:cs typeface="Sora" pitchFamily="2" charset="0"/>
              </a:rPr>
              <a:t> dem </a:t>
            </a:r>
            <a:r>
              <a:rPr lang="en-CA" sz="1400" dirty="0" err="1">
                <a:effectLst/>
                <a:cs typeface="Sora" pitchFamily="2" charset="0"/>
              </a:rPr>
              <a:t>dem</a:t>
            </a:r>
            <a:r>
              <a:rPr lang="en-CA" sz="1400" dirty="0">
                <a:effectLst/>
                <a:cs typeface="Sora" pitchFamily="2" charset="0"/>
              </a:rPr>
              <a:t> ex et </a:t>
            </a:r>
            <a:r>
              <a:rPr lang="en-CA" sz="1400" dirty="0" err="1">
                <a:effectLst/>
                <a:cs typeface="Sora" pitchFamily="2" charset="0"/>
              </a:rPr>
              <a:t>quod</a:t>
            </a:r>
            <a:r>
              <a:rPr lang="en-CA" sz="1400" dirty="0">
                <a:effectLst/>
                <a:cs typeface="Sora" pitchFamily="2" charset="0"/>
              </a:rPr>
              <a:t> quasit, </a:t>
            </a:r>
            <a:r>
              <a:rPr lang="en-CA" sz="1400" dirty="0" err="1">
                <a:effectLst/>
                <a:cs typeface="Sora" pitchFamily="2" charset="0"/>
              </a:rPr>
              <a:t>cu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liqu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beat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verumqu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imole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qu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oluptin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u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nte</a:t>
            </a:r>
            <a:r>
              <a:rPr lang="en-CA" sz="1400" dirty="0">
                <a:effectLst/>
                <a:cs typeface="Sora" pitchFamily="2" charset="0"/>
              </a:rPr>
              <a:t> ped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occa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o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andest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usam</a:t>
            </a:r>
            <a:r>
              <a:rPr lang="en-CA" sz="1400" dirty="0">
                <a:effectLst/>
                <a:cs typeface="Sora" pitchFamily="2" charset="0"/>
              </a:rPr>
              <a:t> as </a:t>
            </a:r>
            <a:r>
              <a:rPr lang="en-CA" sz="1400" dirty="0" err="1">
                <a:effectLst/>
                <a:cs typeface="Sora" pitchFamily="2" charset="0"/>
              </a:rPr>
              <a:t>rest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rspern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labor </a:t>
            </a:r>
            <a:r>
              <a:rPr lang="en-CA" sz="1400" dirty="0" err="1">
                <a:effectLst/>
                <a:cs typeface="Sora" pitchFamily="2" charset="0"/>
              </a:rPr>
              <a:t>most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ntor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um</a:t>
            </a:r>
            <a:r>
              <a:rPr lang="en-CA" sz="1400" dirty="0">
                <a:effectLst/>
                <a:cs typeface="Sora" pitchFamily="2" charset="0"/>
              </a:rPr>
              <a:t> sit </a:t>
            </a:r>
            <a:r>
              <a:rPr lang="en-CA" sz="1400" dirty="0" err="1">
                <a:effectLst/>
                <a:cs typeface="Sora" pitchFamily="2" charset="0"/>
              </a:rPr>
              <a:t>latiunt</a:t>
            </a:r>
            <a:r>
              <a:rPr lang="en-CA" sz="1400" dirty="0">
                <a:effectLst/>
                <a:cs typeface="Sora" pitchFamily="2" charset="0"/>
              </a:rPr>
              <a:t>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267458-7C0D-CE23-467C-68C6B4B32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6B7ACA-3B34-8B90-105A-6D16E447E7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03F7E9-3356-F92D-6630-2465FF550A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02EED508-93B4-4A71-28E2-086AF47A49AA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3800" y="1371600"/>
            <a:ext cx="3124200" cy="2057400"/>
          </a:xfrm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4BB68FA0-A440-67DC-CC6A-72D7CB172D92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41E3B11A-3929-36F7-1967-EB5A1F1B1ED5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2850" y="3797300"/>
            <a:ext cx="3086100" cy="2057400"/>
          </a:xfrm>
        </p:spPr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C91DFDE1-3A84-B285-B859-4C018ACECFA3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5152" y="3797300"/>
            <a:ext cx="3124200" cy="2057400"/>
          </a:xfrm>
        </p:spPr>
      </p:pic>
    </p:spTree>
    <p:extLst>
      <p:ext uri="{BB962C8B-B14F-4D97-AF65-F5344CB8AC3E}">
        <p14:creationId xmlns:p14="http://schemas.microsoft.com/office/powerpoint/2010/main" val="26371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276608-99F9-1D53-63E6-5BA142F9DE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Header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D26921-2BAE-AA45-8CBE-19CD627FE4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CA" sz="1400" dirty="0">
                <a:effectLst/>
                <a:cs typeface="Sora" pitchFamily="2" charset="0"/>
              </a:rPr>
              <a:t>Ignis </a:t>
            </a:r>
            <a:r>
              <a:rPr lang="en-CA" sz="1400" dirty="0" err="1">
                <a:effectLst/>
                <a:cs typeface="Sora" pitchFamily="2" charset="0"/>
              </a:rPr>
              <a:t>ei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ndandi</a:t>
            </a:r>
            <a:r>
              <a:rPr lang="en-CA" sz="1400" dirty="0">
                <a:effectLst/>
                <a:cs typeface="Sora" pitchFamily="2" charset="0"/>
              </a:rPr>
              <a:t> ne </a:t>
            </a:r>
            <a:r>
              <a:rPr lang="en-CA" sz="1400" dirty="0" err="1">
                <a:effectLst/>
                <a:cs typeface="Sora" pitchFamily="2" charset="0"/>
              </a:rPr>
              <a:t>quodis</a:t>
            </a:r>
            <a:r>
              <a:rPr lang="en-CA" sz="1400" dirty="0">
                <a:effectLst/>
                <a:cs typeface="Sora" pitchFamily="2" charset="0"/>
              </a:rPr>
              <a:t> nobis et </a:t>
            </a:r>
            <a:r>
              <a:rPr lang="en-CA" sz="1400" dirty="0" err="1">
                <a:effectLst/>
                <a:cs typeface="Sora" pitchFamily="2" charset="0"/>
              </a:rPr>
              <a:t>ventoria</a:t>
            </a:r>
            <a:r>
              <a:rPr lang="en-CA" sz="1400" dirty="0">
                <a:effectLst/>
                <a:cs typeface="Sora" pitchFamily="2" charset="0"/>
              </a:rPr>
              <a:t> cum et </a:t>
            </a:r>
            <a:r>
              <a:rPr lang="en-CA" sz="1400" dirty="0" err="1">
                <a:effectLst/>
                <a:cs typeface="Sora" pitchFamily="2" charset="0"/>
              </a:rPr>
              <a:t>etust</a:t>
            </a:r>
            <a:r>
              <a:rPr lang="en-CA" sz="1400" dirty="0">
                <a:effectLst/>
                <a:cs typeface="Sora" pitchFamily="2" charset="0"/>
              </a:rPr>
              <a:t>, </a:t>
            </a:r>
            <a:r>
              <a:rPr lang="en-CA" sz="1400" dirty="0" err="1">
                <a:effectLst/>
                <a:cs typeface="Sora" pitchFamily="2" charset="0"/>
              </a:rPr>
              <a:t>s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o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quasp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nemporeped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llorpor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ss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olorat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nulpa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fuga</a:t>
            </a:r>
            <a:r>
              <a:rPr lang="en-CA" sz="1400" dirty="0">
                <a:effectLst/>
                <a:cs typeface="Sora" pitchFamily="2" charset="0"/>
              </a:rPr>
              <a:t>. </a:t>
            </a:r>
          </a:p>
          <a:p>
            <a:r>
              <a:rPr lang="en-CA" sz="1400" dirty="0">
                <a:effectLst/>
                <a:cs typeface="Sora" pitchFamily="2" charset="0"/>
              </a:rPr>
              <a:t>Ore </a:t>
            </a:r>
            <a:r>
              <a:rPr lang="en-CA" sz="1400" dirty="0" err="1">
                <a:effectLst/>
                <a:cs typeface="Sora" pitchFamily="2" charset="0"/>
              </a:rPr>
              <a:t>vendebis</a:t>
            </a:r>
            <a:r>
              <a:rPr lang="en-CA" sz="1400" dirty="0">
                <a:effectLst/>
                <a:cs typeface="Sora" pitchFamily="2" charset="0"/>
              </a:rPr>
              <a:t> qui </a:t>
            </a:r>
            <a:r>
              <a:rPr lang="en-CA" sz="1400" dirty="0" err="1">
                <a:effectLst/>
                <a:cs typeface="Sora" pitchFamily="2" charset="0"/>
              </a:rPr>
              <a:t>cusaect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ps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ellenim</a:t>
            </a:r>
            <a:r>
              <a:rPr lang="en-CA" sz="1400" dirty="0">
                <a:effectLst/>
                <a:cs typeface="Sora" pitchFamily="2" charset="0"/>
              </a:rPr>
              <a:t> volent </a:t>
            </a:r>
            <a:r>
              <a:rPr lang="en-CA" sz="1400" dirty="0" err="1">
                <a:effectLst/>
                <a:cs typeface="Sora" pitchFamily="2" charset="0"/>
              </a:rPr>
              <a:t>s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te</a:t>
            </a:r>
            <a:r>
              <a:rPr lang="en-CA" sz="1400" dirty="0">
                <a:effectLst/>
                <a:cs typeface="Sora" pitchFamily="2" charset="0"/>
              </a:rPr>
              <a:t> et </a:t>
            </a:r>
            <a:r>
              <a:rPr lang="en-CA" sz="1400" dirty="0" err="1">
                <a:effectLst/>
                <a:cs typeface="Sora" pitchFamily="2" charset="0"/>
              </a:rPr>
              <a:t>hicitem</a:t>
            </a:r>
            <a:r>
              <a:rPr lang="en-CA" sz="1400" dirty="0">
                <a:effectLst/>
                <a:cs typeface="Sora" pitchFamily="2" charset="0"/>
              </a:rPr>
              <a:t>. Et la dis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llis</a:t>
            </a:r>
            <a:r>
              <a:rPr lang="en-CA" sz="1400" dirty="0">
                <a:effectLst/>
                <a:cs typeface="Sora" pitchFamily="2" charset="0"/>
              </a:rPr>
              <a:t> di </a:t>
            </a:r>
            <a:r>
              <a:rPr lang="en-CA" sz="1400" dirty="0" err="1">
                <a:effectLst/>
                <a:cs typeface="Sora" pitchFamily="2" charset="0"/>
              </a:rPr>
              <a:t>vidic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ion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aquias</a:t>
            </a:r>
            <a:r>
              <a:rPr lang="en-CA" sz="1400" dirty="0">
                <a:effectLst/>
                <a:cs typeface="Sora" pitchFamily="2" charset="0"/>
              </a:rPr>
              <a:t> rem rerum </a:t>
            </a:r>
            <a:r>
              <a:rPr lang="en-CA" sz="1400" dirty="0" err="1">
                <a:effectLst/>
                <a:cs typeface="Sora" pitchFamily="2" charset="0"/>
              </a:rPr>
              <a:t>dolupides</a:t>
            </a:r>
            <a:r>
              <a:rPr lang="en-CA" sz="1400" dirty="0">
                <a:effectLst/>
                <a:cs typeface="Sora" pitchFamily="2" charset="0"/>
              </a:rPr>
              <a:t> </a:t>
            </a:r>
          </a:p>
          <a:p>
            <a:r>
              <a:rPr lang="en-CA" sz="1400" dirty="0" err="1">
                <a:effectLst/>
                <a:cs typeface="Sora" pitchFamily="2" charset="0"/>
              </a:rPr>
              <a:t>Aud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ha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pisimint</a:t>
            </a:r>
            <a:r>
              <a:rPr lang="en-CA" sz="1400" dirty="0">
                <a:effectLst/>
                <a:cs typeface="Sora" pitchFamily="2" charset="0"/>
              </a:rPr>
              <a:t> dem </a:t>
            </a:r>
            <a:r>
              <a:rPr lang="en-CA" sz="1400" dirty="0" err="1">
                <a:effectLst/>
                <a:cs typeface="Sora" pitchFamily="2" charset="0"/>
              </a:rPr>
              <a:t>dem</a:t>
            </a:r>
            <a:r>
              <a:rPr lang="en-CA" sz="1400" dirty="0">
                <a:effectLst/>
                <a:cs typeface="Sora" pitchFamily="2" charset="0"/>
              </a:rPr>
              <a:t> ex et </a:t>
            </a:r>
            <a:r>
              <a:rPr lang="en-CA" sz="1400" dirty="0" err="1">
                <a:effectLst/>
                <a:cs typeface="Sora" pitchFamily="2" charset="0"/>
              </a:rPr>
              <a:t>quod</a:t>
            </a:r>
            <a:r>
              <a:rPr lang="en-CA" sz="1400" dirty="0">
                <a:effectLst/>
                <a:cs typeface="Sora" pitchFamily="2" charset="0"/>
              </a:rPr>
              <a:t> quasit, </a:t>
            </a:r>
            <a:r>
              <a:rPr lang="en-CA" sz="1400" dirty="0" err="1">
                <a:effectLst/>
                <a:cs typeface="Sora" pitchFamily="2" charset="0"/>
              </a:rPr>
              <a:t>cu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liqu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beat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verumqu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imole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qu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oluptin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u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nte</a:t>
            </a:r>
            <a:r>
              <a:rPr lang="en-CA" sz="1400" dirty="0">
                <a:effectLst/>
                <a:cs typeface="Sora" pitchFamily="2" charset="0"/>
              </a:rPr>
              <a:t> ped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occa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o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andest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usam</a:t>
            </a:r>
            <a:r>
              <a:rPr lang="en-CA" sz="1400" dirty="0">
                <a:effectLst/>
                <a:cs typeface="Sora" pitchFamily="2" charset="0"/>
              </a:rPr>
              <a:t> as </a:t>
            </a:r>
            <a:r>
              <a:rPr lang="en-CA" sz="1400" dirty="0" err="1">
                <a:effectLst/>
                <a:cs typeface="Sora" pitchFamily="2" charset="0"/>
              </a:rPr>
              <a:t>rest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rspern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labor </a:t>
            </a:r>
            <a:r>
              <a:rPr lang="en-CA" sz="1400" dirty="0" err="1">
                <a:effectLst/>
                <a:cs typeface="Sora" pitchFamily="2" charset="0"/>
              </a:rPr>
              <a:t>most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ntor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um</a:t>
            </a:r>
            <a:r>
              <a:rPr lang="en-CA" sz="1400" dirty="0">
                <a:effectLst/>
                <a:cs typeface="Sora" pitchFamily="2" charset="0"/>
              </a:rPr>
              <a:t> sit </a:t>
            </a:r>
            <a:r>
              <a:rPr lang="en-CA" sz="1400" dirty="0" err="1">
                <a:effectLst/>
                <a:cs typeface="Sora" pitchFamily="2" charset="0"/>
              </a:rPr>
              <a:t>latiunt</a:t>
            </a:r>
            <a:r>
              <a:rPr lang="en-CA" sz="1400" dirty="0">
                <a:effectLst/>
                <a:cs typeface="Sora" pitchFamily="2" charset="0"/>
              </a:rPr>
              <a:t>.</a:t>
            </a:r>
          </a:p>
          <a:p>
            <a:endParaRPr lang="en-US" dirty="0">
              <a:cs typeface="Sora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0024C6-A2FF-343F-DCE3-03E7EE825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048616-0FD6-0434-C19F-58EEFCE6F6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2A7A6F-5903-F293-20BC-AC95C90B88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8A2AF3D-4975-E379-1029-990C1D0AAA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dirty="0" err="1">
                <a:effectLst/>
                <a:cs typeface="Sora" pitchFamily="2" charset="0"/>
              </a:rPr>
              <a:t>Auda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st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harum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ipisimint</a:t>
            </a:r>
            <a:r>
              <a:rPr lang="en-CA" dirty="0">
                <a:effectLst/>
                <a:cs typeface="Sora" pitchFamily="2" charset="0"/>
              </a:rPr>
              <a:t> dem </a:t>
            </a:r>
            <a:r>
              <a:rPr lang="en-CA" dirty="0" err="1">
                <a:effectLst/>
                <a:cs typeface="Sora" pitchFamily="2" charset="0"/>
              </a:rPr>
              <a:t>dem</a:t>
            </a:r>
            <a:r>
              <a:rPr lang="en-CA" dirty="0">
                <a:effectLst/>
                <a:cs typeface="Sora" pitchFamily="2" charset="0"/>
              </a:rPr>
              <a:t> ex et </a:t>
            </a:r>
            <a:r>
              <a:rPr lang="en-CA" dirty="0" err="1">
                <a:effectLst/>
                <a:cs typeface="Sora" pitchFamily="2" charset="0"/>
              </a:rPr>
              <a:t>quod</a:t>
            </a:r>
            <a:r>
              <a:rPr lang="en-CA" dirty="0">
                <a:effectLst/>
                <a:cs typeface="Sora" pitchFamily="2" charset="0"/>
              </a:rPr>
              <a:t> quasit, </a:t>
            </a:r>
            <a:r>
              <a:rPr lang="en-CA" dirty="0" err="1">
                <a:effectLst/>
                <a:cs typeface="Sora" pitchFamily="2" charset="0"/>
              </a:rPr>
              <a:t>cu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miliqui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beatiam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verumquia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simole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sequisqui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doluptin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cu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minte</a:t>
            </a:r>
            <a:r>
              <a:rPr lang="en-CA" dirty="0">
                <a:effectLst/>
                <a:cs typeface="Sora" pitchFamily="2" charset="0"/>
              </a:rPr>
              <a:t> ped </a:t>
            </a:r>
            <a:r>
              <a:rPr lang="en-CA" dirty="0" err="1">
                <a:effectLst/>
                <a:cs typeface="Sora" pitchFamily="2" charset="0"/>
              </a:rPr>
              <a:t>ut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occat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aut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o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sandestia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iusam</a:t>
            </a:r>
            <a:r>
              <a:rPr lang="en-CA" dirty="0">
                <a:effectLst/>
                <a:cs typeface="Sora" pitchFamily="2" charset="0"/>
              </a:rPr>
              <a:t> as </a:t>
            </a:r>
            <a:r>
              <a:rPr lang="en-CA" dirty="0" err="1">
                <a:effectLst/>
                <a:cs typeface="Sora" pitchFamily="2" charset="0"/>
              </a:rPr>
              <a:t>resti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rspern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ut</a:t>
            </a:r>
            <a:r>
              <a:rPr lang="en-CA" dirty="0">
                <a:effectLst/>
                <a:cs typeface="Sora" pitchFamily="2" charset="0"/>
              </a:rPr>
              <a:t> labor </a:t>
            </a:r>
            <a:r>
              <a:rPr lang="en-CA" dirty="0" err="1">
                <a:effectLst/>
                <a:cs typeface="Sora" pitchFamily="2" charset="0"/>
              </a:rPr>
              <a:t>mostrum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ntore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ducium</a:t>
            </a:r>
            <a:r>
              <a:rPr lang="en-CA" dirty="0">
                <a:effectLst/>
                <a:cs typeface="Sora" pitchFamily="2" charset="0"/>
              </a:rPr>
              <a:t> sit </a:t>
            </a:r>
            <a:r>
              <a:rPr lang="en-CA" dirty="0" err="1">
                <a:effectLst/>
                <a:cs typeface="Sora" pitchFamily="2" charset="0"/>
              </a:rPr>
              <a:t>latiunt</a:t>
            </a:r>
            <a:r>
              <a:rPr lang="en-CA" dirty="0">
                <a:effectLst/>
                <a:cs typeface="Sora" pitchFamily="2" charset="0"/>
              </a:rPr>
              <a:t>.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1714897E-E53E-2152-5414-E9E8F3A0F159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97B184-AEC0-210C-E3DB-F7726CE77D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dirty="0" err="1">
                <a:cs typeface="Sora" pitchFamily="2" charset="0"/>
              </a:rPr>
              <a:t>H</a:t>
            </a:r>
            <a:r>
              <a:rPr lang="en-CA" dirty="0" err="1">
                <a:effectLst/>
                <a:cs typeface="Sora" pitchFamily="2" charset="0"/>
              </a:rPr>
              <a:t>arum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ipisimint</a:t>
            </a:r>
            <a:r>
              <a:rPr lang="en-CA" dirty="0">
                <a:effectLst/>
                <a:cs typeface="Sora" pitchFamily="2" charset="0"/>
              </a:rPr>
              <a:t> dem </a:t>
            </a:r>
            <a:r>
              <a:rPr lang="en-CA" dirty="0" err="1">
                <a:effectLst/>
                <a:cs typeface="Sora" pitchFamily="2" charset="0"/>
              </a:rPr>
              <a:t>dem</a:t>
            </a:r>
            <a:r>
              <a:rPr lang="en-CA" dirty="0">
                <a:effectLst/>
                <a:cs typeface="Sora" pitchFamily="2" charset="0"/>
              </a:rPr>
              <a:t> ex et </a:t>
            </a:r>
            <a:r>
              <a:rPr lang="en-CA" dirty="0" err="1">
                <a:effectLst/>
                <a:cs typeface="Sora" pitchFamily="2" charset="0"/>
              </a:rPr>
              <a:t>quod</a:t>
            </a:r>
            <a:r>
              <a:rPr lang="en-CA" dirty="0">
                <a:effectLst/>
                <a:cs typeface="Sora" pitchFamily="2" charset="0"/>
              </a:rPr>
              <a:t> quasit, </a:t>
            </a:r>
            <a:r>
              <a:rPr lang="en-CA" dirty="0" err="1">
                <a:effectLst/>
                <a:cs typeface="Sora" pitchFamily="2" charset="0"/>
              </a:rPr>
              <a:t>cu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miliqui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beatiam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verumquia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simole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sequisqui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doluptin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cu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minte</a:t>
            </a:r>
            <a:r>
              <a:rPr lang="en-CA" dirty="0">
                <a:effectLst/>
                <a:cs typeface="Sora" pitchFamily="2" charset="0"/>
              </a:rPr>
              <a:t> ped </a:t>
            </a:r>
            <a:r>
              <a:rPr lang="en-CA" dirty="0" err="1">
                <a:effectLst/>
                <a:cs typeface="Sora" pitchFamily="2" charset="0"/>
              </a:rPr>
              <a:t>ut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occat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aut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o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sandestia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iusam</a:t>
            </a:r>
            <a:r>
              <a:rPr lang="en-CA" dirty="0">
                <a:effectLst/>
                <a:cs typeface="Sora" pitchFamily="2" charset="0"/>
              </a:rPr>
              <a:t> as </a:t>
            </a:r>
            <a:r>
              <a:rPr lang="en-CA" dirty="0" err="1">
                <a:effectLst/>
                <a:cs typeface="Sora" pitchFamily="2" charset="0"/>
              </a:rPr>
              <a:t>restis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rspern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ut</a:t>
            </a:r>
            <a:r>
              <a:rPr lang="en-CA" dirty="0">
                <a:effectLst/>
                <a:cs typeface="Sora" pitchFamily="2" charset="0"/>
              </a:rPr>
              <a:t> labor </a:t>
            </a:r>
            <a:r>
              <a:rPr lang="en-CA" dirty="0" err="1">
                <a:effectLst/>
                <a:cs typeface="Sora" pitchFamily="2" charset="0"/>
              </a:rPr>
              <a:t>mostrum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entore</a:t>
            </a:r>
            <a:r>
              <a:rPr lang="en-CA" dirty="0">
                <a:effectLst/>
                <a:cs typeface="Sora" pitchFamily="2" charset="0"/>
              </a:rPr>
              <a:t> </a:t>
            </a:r>
            <a:r>
              <a:rPr lang="en-CA" dirty="0" err="1">
                <a:effectLst/>
                <a:cs typeface="Sora" pitchFamily="2" charset="0"/>
              </a:rPr>
              <a:t>ducium</a:t>
            </a:r>
            <a:r>
              <a:rPr lang="en-CA" dirty="0">
                <a:effectLst/>
                <a:cs typeface="Sora" pitchFamily="2" charset="0"/>
              </a:rPr>
              <a:t> sit </a:t>
            </a:r>
            <a:r>
              <a:rPr lang="en-CA" dirty="0" err="1">
                <a:effectLst/>
                <a:cs typeface="Sora" pitchFamily="2" charset="0"/>
              </a:rPr>
              <a:t>latiunt</a:t>
            </a:r>
            <a:r>
              <a:rPr lang="en-CA" dirty="0">
                <a:effectLst/>
                <a:cs typeface="Sora" pitchFamily="2" charset="0"/>
              </a:rPr>
              <a:t>.</a:t>
            </a:r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98F1D995-DC91-6897-A3F9-A83E33B59F8D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73237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igh angle view of a city&#10;&#10;Description automatically generated">
            <a:extLst>
              <a:ext uri="{FF2B5EF4-FFF2-40B4-BE49-F238E27FC236}">
                <a16:creationId xmlns:a16="http://schemas.microsoft.com/office/drawing/2014/main" id="{A858ADF1-9216-161D-1CCD-3F66C7D08CFC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AC2B22-62B6-A89D-9C98-880D0DB4D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Header text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D5A0C4-62F3-3A7A-77F1-66861A303D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CA" dirty="0"/>
              <a:t>Ignis </a:t>
            </a:r>
            <a:r>
              <a:rPr lang="en-CA" dirty="0" err="1"/>
              <a:t>eium</a:t>
            </a:r>
            <a:r>
              <a:rPr lang="en-CA" dirty="0"/>
              <a:t> </a:t>
            </a:r>
            <a:r>
              <a:rPr lang="en-CA" dirty="0" err="1"/>
              <a:t>conse</a:t>
            </a:r>
            <a:r>
              <a:rPr lang="en-CA" dirty="0"/>
              <a:t> </a:t>
            </a:r>
            <a:r>
              <a:rPr lang="en-CA" dirty="0" err="1"/>
              <a:t>endandi</a:t>
            </a:r>
            <a:r>
              <a:rPr lang="en-CA" dirty="0"/>
              <a:t> ne </a:t>
            </a:r>
            <a:r>
              <a:rPr lang="en-CA" dirty="0" err="1"/>
              <a:t>quodis</a:t>
            </a:r>
            <a:r>
              <a:rPr lang="en-CA" dirty="0"/>
              <a:t> nobis et </a:t>
            </a:r>
            <a:r>
              <a:rPr lang="en-CA" dirty="0" err="1"/>
              <a:t>ventoria</a:t>
            </a:r>
            <a:r>
              <a:rPr lang="en-CA" dirty="0"/>
              <a:t> cum et </a:t>
            </a:r>
            <a:r>
              <a:rPr lang="en-CA" dirty="0" err="1"/>
              <a:t>etust</a:t>
            </a:r>
            <a:r>
              <a:rPr lang="en-CA" dirty="0"/>
              <a:t>, </a:t>
            </a:r>
            <a:r>
              <a:rPr lang="en-CA" dirty="0" err="1"/>
              <a:t>sam</a:t>
            </a:r>
            <a:r>
              <a:rPr lang="en-CA" dirty="0"/>
              <a:t> </a:t>
            </a:r>
            <a:r>
              <a:rPr lang="en-CA" dirty="0" err="1"/>
              <a:t>esto</a:t>
            </a:r>
            <a:r>
              <a:rPr lang="en-CA" dirty="0"/>
              <a:t> </a:t>
            </a:r>
            <a:r>
              <a:rPr lang="en-CA" dirty="0" err="1"/>
              <a:t>quaspe</a:t>
            </a:r>
            <a:r>
              <a:rPr lang="en-CA" dirty="0"/>
              <a:t> </a:t>
            </a:r>
            <a:r>
              <a:rPr lang="en-CA" dirty="0" err="1"/>
              <a:t>nemporeped</a:t>
            </a:r>
            <a:r>
              <a:rPr lang="en-CA" dirty="0"/>
              <a:t> </a:t>
            </a:r>
            <a:r>
              <a:rPr lang="en-CA" dirty="0" err="1"/>
              <a:t>millorpor</a:t>
            </a:r>
            <a:r>
              <a:rPr lang="en-CA" dirty="0"/>
              <a:t> </a:t>
            </a:r>
            <a:r>
              <a:rPr lang="en-CA" dirty="0" err="1"/>
              <a:t>assum</a:t>
            </a:r>
            <a:r>
              <a:rPr lang="en-CA" dirty="0"/>
              <a:t> </a:t>
            </a:r>
            <a:r>
              <a:rPr lang="en-CA" dirty="0" err="1"/>
              <a:t>soloratenis</a:t>
            </a:r>
            <a:r>
              <a:rPr lang="en-CA" dirty="0"/>
              <a:t> </a:t>
            </a:r>
            <a:r>
              <a:rPr lang="en-CA" dirty="0" err="1"/>
              <a:t>nulparum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</a:t>
            </a:r>
          </a:p>
          <a:p>
            <a:r>
              <a:rPr lang="en-CA" dirty="0"/>
              <a:t>Ore </a:t>
            </a:r>
            <a:r>
              <a:rPr lang="en-CA" dirty="0" err="1"/>
              <a:t>vendebis</a:t>
            </a:r>
            <a:r>
              <a:rPr lang="en-CA" dirty="0"/>
              <a:t> qui </a:t>
            </a:r>
            <a:r>
              <a:rPr lang="en-CA" dirty="0" err="1"/>
              <a:t>cusaectis</a:t>
            </a:r>
            <a:r>
              <a:rPr lang="en-CA" dirty="0"/>
              <a:t> </a:t>
            </a:r>
            <a:r>
              <a:rPr lang="en-CA" dirty="0" err="1"/>
              <a:t>ducipsa</a:t>
            </a:r>
            <a:r>
              <a:rPr lang="en-CA" dirty="0"/>
              <a:t> </a:t>
            </a:r>
            <a:r>
              <a:rPr lang="en-CA" dirty="0" err="1"/>
              <a:t>dellenim</a:t>
            </a:r>
            <a:r>
              <a:rPr lang="en-CA" dirty="0"/>
              <a:t> volent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te</a:t>
            </a:r>
            <a:r>
              <a:rPr lang="en-CA" dirty="0"/>
              <a:t> et </a:t>
            </a:r>
            <a:r>
              <a:rPr lang="en-CA" dirty="0" err="1"/>
              <a:t>hicitem</a:t>
            </a:r>
            <a:r>
              <a:rPr lang="en-CA" dirty="0"/>
              <a:t>. Et la dis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ullis</a:t>
            </a:r>
            <a:r>
              <a:rPr lang="en-CA" dirty="0"/>
              <a:t> di </a:t>
            </a:r>
            <a:r>
              <a:rPr lang="en-CA" dirty="0" err="1"/>
              <a:t>vidiciam</a:t>
            </a:r>
            <a:r>
              <a:rPr lang="en-CA" dirty="0"/>
              <a:t> </a:t>
            </a:r>
            <a:r>
              <a:rPr lang="en-CA" dirty="0" err="1"/>
              <a:t>consenis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estione</a:t>
            </a:r>
            <a:r>
              <a:rPr lang="en-CA" dirty="0"/>
              <a:t> </a:t>
            </a:r>
            <a:r>
              <a:rPr lang="en-CA" dirty="0" err="1"/>
              <a:t>eaquias</a:t>
            </a:r>
            <a:r>
              <a:rPr lang="en-CA" dirty="0"/>
              <a:t> rem rerum </a:t>
            </a:r>
            <a:r>
              <a:rPr lang="en-CA" dirty="0" err="1"/>
              <a:t>dolupides</a:t>
            </a:r>
            <a:r>
              <a:rPr lang="en-CA" dirty="0"/>
              <a:t> </a:t>
            </a:r>
          </a:p>
          <a:p>
            <a:r>
              <a:rPr lang="en-CA" dirty="0" err="1"/>
              <a:t>Auda</a:t>
            </a:r>
            <a:r>
              <a:rPr lang="en-CA" dirty="0"/>
              <a:t> </a:t>
            </a:r>
            <a:r>
              <a:rPr lang="en-CA" dirty="0" err="1"/>
              <a:t>est</a:t>
            </a:r>
            <a:r>
              <a:rPr lang="en-CA" dirty="0"/>
              <a:t> </a:t>
            </a:r>
            <a:r>
              <a:rPr lang="en-CA" dirty="0" err="1"/>
              <a:t>harum</a:t>
            </a:r>
            <a:r>
              <a:rPr lang="en-CA" dirty="0"/>
              <a:t> </a:t>
            </a:r>
            <a:r>
              <a:rPr lang="en-CA" dirty="0" err="1"/>
              <a:t>ipisimint</a:t>
            </a:r>
            <a:r>
              <a:rPr lang="en-CA" dirty="0"/>
              <a:t> dem </a:t>
            </a:r>
            <a:r>
              <a:rPr lang="en-CA" dirty="0" err="1"/>
              <a:t>dem</a:t>
            </a:r>
            <a:r>
              <a:rPr lang="en-CA" dirty="0"/>
              <a:t> ex et </a:t>
            </a:r>
            <a:r>
              <a:rPr lang="en-CA" dirty="0" err="1"/>
              <a:t>quod</a:t>
            </a:r>
            <a:r>
              <a:rPr lang="en-CA" dirty="0"/>
              <a:t> quasit,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liqui</a:t>
            </a:r>
            <a:r>
              <a:rPr lang="en-CA" dirty="0"/>
              <a:t> </a:t>
            </a:r>
            <a:r>
              <a:rPr lang="en-CA" dirty="0" err="1"/>
              <a:t>beatiam</a:t>
            </a:r>
            <a:r>
              <a:rPr lang="en-CA" dirty="0"/>
              <a:t> </a:t>
            </a:r>
            <a:r>
              <a:rPr lang="en-CA" dirty="0" err="1"/>
              <a:t>everumquia</a:t>
            </a:r>
            <a:r>
              <a:rPr lang="en-CA" dirty="0"/>
              <a:t> </a:t>
            </a:r>
            <a:r>
              <a:rPr lang="en-CA" dirty="0" err="1"/>
              <a:t>simoles</a:t>
            </a:r>
            <a:r>
              <a:rPr lang="en-CA" dirty="0"/>
              <a:t> </a:t>
            </a:r>
            <a:r>
              <a:rPr lang="en-CA" dirty="0" err="1"/>
              <a:t>sequisqui</a:t>
            </a:r>
            <a:r>
              <a:rPr lang="en-CA" dirty="0"/>
              <a:t> </a:t>
            </a:r>
            <a:r>
              <a:rPr lang="en-CA" dirty="0" err="1"/>
              <a:t>doluptin</a:t>
            </a:r>
            <a:r>
              <a:rPr lang="en-CA" dirty="0"/>
              <a:t>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nte</a:t>
            </a:r>
            <a:r>
              <a:rPr lang="en-CA" dirty="0"/>
              <a:t> ped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occat</a:t>
            </a:r>
            <a:r>
              <a:rPr lang="en-CA" dirty="0"/>
              <a:t> </a:t>
            </a:r>
            <a:r>
              <a:rPr lang="en-CA" dirty="0" err="1"/>
              <a:t>aut</a:t>
            </a:r>
            <a:r>
              <a:rPr lang="en-CA" dirty="0"/>
              <a:t> </a:t>
            </a:r>
            <a:r>
              <a:rPr lang="en-CA" dirty="0" err="1"/>
              <a:t>eos</a:t>
            </a:r>
            <a:r>
              <a:rPr lang="en-CA" dirty="0"/>
              <a:t> </a:t>
            </a:r>
            <a:r>
              <a:rPr lang="en-CA" dirty="0" err="1"/>
              <a:t>sandestia</a:t>
            </a:r>
            <a:r>
              <a:rPr lang="en-CA" dirty="0"/>
              <a:t> </a:t>
            </a:r>
            <a:r>
              <a:rPr lang="en-CA" dirty="0" err="1"/>
              <a:t>iusam</a:t>
            </a:r>
            <a:r>
              <a:rPr lang="en-CA" dirty="0"/>
              <a:t> as </a:t>
            </a:r>
            <a:r>
              <a:rPr lang="en-CA" dirty="0" err="1"/>
              <a:t>restis</a:t>
            </a:r>
            <a:r>
              <a:rPr lang="en-CA" dirty="0"/>
              <a:t> </a:t>
            </a:r>
            <a:r>
              <a:rPr lang="en-CA" dirty="0" err="1"/>
              <a:t>erspern</a:t>
            </a:r>
            <a:r>
              <a:rPr lang="en-CA" dirty="0"/>
              <a:t> </a:t>
            </a:r>
            <a:r>
              <a:rPr lang="en-CA" dirty="0" err="1"/>
              <a:t>ut</a:t>
            </a:r>
            <a:r>
              <a:rPr lang="en-CA" dirty="0"/>
              <a:t> labor </a:t>
            </a:r>
            <a:r>
              <a:rPr lang="en-CA" dirty="0" err="1"/>
              <a:t>mostrum</a:t>
            </a:r>
            <a:r>
              <a:rPr lang="en-CA" dirty="0"/>
              <a:t> </a:t>
            </a:r>
            <a:r>
              <a:rPr lang="en-CA" dirty="0" err="1"/>
              <a:t>entore</a:t>
            </a:r>
            <a:r>
              <a:rPr lang="en-CA" dirty="0"/>
              <a:t> </a:t>
            </a:r>
            <a:r>
              <a:rPr lang="en-CA" dirty="0" err="1"/>
              <a:t>ducium</a:t>
            </a:r>
            <a:r>
              <a:rPr lang="en-CA" dirty="0"/>
              <a:t> sit </a:t>
            </a:r>
            <a:r>
              <a:rPr lang="en-CA" dirty="0" err="1"/>
              <a:t>latiunt</a:t>
            </a:r>
            <a:r>
              <a:rPr lang="en-CA" dirty="0"/>
              <a:t>.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893560-E4CC-993A-C65C-534EDB7AB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4EB7-3FBE-3C94-4C6E-234AE59625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4A9BC17-587E-300B-E3F0-2671844A0F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2326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igh angle view of a city&#10;&#10;Description automatically generated">
            <a:extLst>
              <a:ext uri="{FF2B5EF4-FFF2-40B4-BE49-F238E27FC236}">
                <a16:creationId xmlns:a16="http://schemas.microsoft.com/office/drawing/2014/main" id="{A858ADF1-9216-161D-1CCD-3F66C7D08CFC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AC2B22-62B6-A89D-9C98-880D0DB4D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Header text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D5A0C4-62F3-3A7A-77F1-66861A303D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CA"/>
              <a:t>Ore </a:t>
            </a:r>
            <a:r>
              <a:rPr lang="en-CA" err="1"/>
              <a:t>vendebis</a:t>
            </a:r>
            <a:r>
              <a:rPr lang="en-CA"/>
              <a:t> qui </a:t>
            </a:r>
            <a:r>
              <a:rPr lang="en-CA" err="1"/>
              <a:t>cusaeIgnis</a:t>
            </a:r>
            <a:r>
              <a:rPr lang="en-CA"/>
              <a:t> </a:t>
            </a:r>
            <a:r>
              <a:rPr lang="en-CA" err="1"/>
              <a:t>eium</a:t>
            </a:r>
            <a:r>
              <a:rPr lang="en-CA"/>
              <a:t> </a:t>
            </a:r>
            <a:r>
              <a:rPr lang="en-CA" err="1"/>
              <a:t>conse</a:t>
            </a:r>
            <a:r>
              <a:rPr lang="en-CA"/>
              <a:t> </a:t>
            </a:r>
            <a:r>
              <a:rPr lang="en-CA" err="1"/>
              <a:t>endandi</a:t>
            </a:r>
            <a:r>
              <a:rPr lang="en-CA"/>
              <a:t> ne </a:t>
            </a:r>
            <a:r>
              <a:rPr lang="en-CA" err="1"/>
              <a:t>quodis</a:t>
            </a:r>
            <a:r>
              <a:rPr lang="en-CA"/>
              <a:t> nobis et </a:t>
            </a:r>
            <a:r>
              <a:rPr lang="en-CA" err="1"/>
              <a:t>ventoria</a:t>
            </a:r>
            <a:r>
              <a:rPr lang="en-CA"/>
              <a:t> cum et </a:t>
            </a:r>
            <a:r>
              <a:rPr lang="en-CA" err="1"/>
              <a:t>etust</a:t>
            </a:r>
            <a:r>
              <a:rPr lang="en-CA"/>
              <a:t>, </a:t>
            </a:r>
            <a:r>
              <a:rPr lang="en-CA" err="1"/>
              <a:t>sam</a:t>
            </a:r>
            <a:r>
              <a:rPr lang="en-CA"/>
              <a:t> </a:t>
            </a:r>
            <a:r>
              <a:rPr lang="en-CA" err="1"/>
              <a:t>esto</a:t>
            </a:r>
            <a:r>
              <a:rPr lang="en-CA"/>
              <a:t> </a:t>
            </a:r>
            <a:r>
              <a:rPr lang="en-CA" err="1"/>
              <a:t>quaspe</a:t>
            </a:r>
            <a:r>
              <a:rPr lang="en-CA"/>
              <a:t> </a:t>
            </a:r>
            <a:r>
              <a:rPr lang="en-CA" err="1"/>
              <a:t>nemporeped</a:t>
            </a:r>
            <a:r>
              <a:rPr lang="en-CA"/>
              <a:t> </a:t>
            </a:r>
            <a:r>
              <a:rPr lang="en-CA" err="1"/>
              <a:t>millorpor</a:t>
            </a:r>
            <a:r>
              <a:rPr lang="en-CA"/>
              <a:t> </a:t>
            </a:r>
            <a:r>
              <a:rPr lang="en-CA" err="1"/>
              <a:t>assum</a:t>
            </a:r>
            <a:r>
              <a:rPr lang="en-CA"/>
              <a:t> </a:t>
            </a:r>
            <a:r>
              <a:rPr lang="en-CA" err="1"/>
              <a:t>soloratenis</a:t>
            </a:r>
            <a:r>
              <a:rPr lang="en-CA"/>
              <a:t> </a:t>
            </a:r>
            <a:r>
              <a:rPr lang="en-CA" err="1"/>
              <a:t>nulparum</a:t>
            </a:r>
            <a:r>
              <a:rPr lang="en-CA"/>
              <a:t> </a:t>
            </a:r>
            <a:r>
              <a:rPr lang="en-CA" err="1"/>
              <a:t>fuga</a:t>
            </a:r>
            <a:r>
              <a:rPr lang="en-CA"/>
              <a:t>. </a:t>
            </a:r>
          </a:p>
          <a:p>
            <a:r>
              <a:rPr lang="en-CA" err="1"/>
              <a:t>Ctis</a:t>
            </a:r>
            <a:r>
              <a:rPr lang="en-CA"/>
              <a:t> </a:t>
            </a:r>
            <a:r>
              <a:rPr lang="en-CA" err="1"/>
              <a:t>ducipsa</a:t>
            </a:r>
            <a:r>
              <a:rPr lang="en-CA"/>
              <a:t> </a:t>
            </a:r>
            <a:r>
              <a:rPr lang="en-CA" err="1"/>
              <a:t>dellenim</a:t>
            </a:r>
            <a:r>
              <a:rPr lang="en-CA"/>
              <a:t> volent </a:t>
            </a:r>
            <a:r>
              <a:rPr lang="en-CA" err="1"/>
              <a:t>si</a:t>
            </a:r>
            <a:r>
              <a:rPr lang="en-CA"/>
              <a:t> </a:t>
            </a:r>
            <a:r>
              <a:rPr lang="en-CA" err="1"/>
              <a:t>te</a:t>
            </a:r>
            <a:r>
              <a:rPr lang="en-CA"/>
              <a:t> et </a:t>
            </a:r>
            <a:r>
              <a:rPr lang="en-CA" err="1"/>
              <a:t>hicitem</a:t>
            </a:r>
            <a:r>
              <a:rPr lang="en-CA"/>
              <a:t>. Et la dis </a:t>
            </a:r>
            <a:r>
              <a:rPr lang="en-CA" err="1"/>
              <a:t>ut</a:t>
            </a:r>
            <a:r>
              <a:rPr lang="en-CA"/>
              <a:t> </a:t>
            </a:r>
            <a:r>
              <a:rPr lang="en-CA" err="1"/>
              <a:t>ullis</a:t>
            </a:r>
            <a:r>
              <a:rPr lang="en-CA"/>
              <a:t> di </a:t>
            </a:r>
            <a:r>
              <a:rPr lang="en-CA" err="1"/>
              <a:t>vidiciam</a:t>
            </a:r>
            <a:r>
              <a:rPr lang="en-CA"/>
              <a:t> </a:t>
            </a:r>
            <a:r>
              <a:rPr lang="en-CA" err="1"/>
              <a:t>consenis</a:t>
            </a:r>
            <a:r>
              <a:rPr lang="en-CA"/>
              <a:t> </a:t>
            </a:r>
            <a:r>
              <a:rPr lang="en-CA" err="1"/>
              <a:t>sequis</a:t>
            </a:r>
            <a:r>
              <a:rPr lang="en-CA"/>
              <a:t> </a:t>
            </a:r>
            <a:r>
              <a:rPr lang="en-CA" err="1"/>
              <a:t>estione</a:t>
            </a:r>
            <a:r>
              <a:rPr lang="en-CA"/>
              <a:t> </a:t>
            </a:r>
            <a:r>
              <a:rPr lang="en-CA" err="1"/>
              <a:t>eaquias</a:t>
            </a:r>
            <a:r>
              <a:rPr lang="en-CA"/>
              <a:t> rem rerum </a:t>
            </a:r>
            <a:r>
              <a:rPr lang="en-CA" err="1"/>
              <a:t>dolupides</a:t>
            </a:r>
            <a:r>
              <a:rPr lang="en-CA"/>
              <a:t> </a:t>
            </a:r>
          </a:p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893560-E4CC-993A-C65C-534EDB7AB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4EB7-3FBE-3C94-4C6E-234AE59625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4A9BC17-587E-300B-E3F0-2671844A0F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838DDC5-F029-3531-773B-12DC6528B71A}"/>
              </a:ext>
            </a:extLst>
          </p:cNvPr>
          <p:cNvSpPr/>
          <p:nvPr/>
        </p:nvSpPr>
        <p:spPr>
          <a:xfrm>
            <a:off x="-177800" y="4203700"/>
            <a:ext cx="7623630" cy="1761671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42DC38F-E24B-3D54-1842-8F74C382A249}"/>
              </a:ext>
            </a:extLst>
          </p:cNvPr>
          <p:cNvSpPr txBox="1"/>
          <p:nvPr/>
        </p:nvSpPr>
        <p:spPr>
          <a:xfrm>
            <a:off x="511628" y="4655403"/>
            <a:ext cx="69342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2400" dirty="0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Et la dis </a:t>
            </a:r>
            <a:r>
              <a:rPr lang="en-CA" sz="2400" dirty="0" err="1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ut</a:t>
            </a:r>
            <a:r>
              <a:rPr lang="en-CA" sz="2400" dirty="0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 </a:t>
            </a:r>
            <a:r>
              <a:rPr lang="en-CA" sz="2400" dirty="0" err="1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ullis</a:t>
            </a:r>
            <a:r>
              <a:rPr lang="en-CA" sz="2400" dirty="0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 di </a:t>
            </a:r>
            <a:r>
              <a:rPr lang="en-CA" sz="2400" dirty="0" err="1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vidiciam</a:t>
            </a:r>
            <a:r>
              <a:rPr lang="en-CA" sz="2400" dirty="0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 </a:t>
            </a:r>
            <a:r>
              <a:rPr lang="en-CA" sz="2400" dirty="0" err="1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consenis</a:t>
            </a:r>
            <a:r>
              <a:rPr lang="en-CA" sz="2400" dirty="0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 </a:t>
            </a:r>
            <a:r>
              <a:rPr lang="en-CA" sz="2400" dirty="0" err="1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sequis</a:t>
            </a:r>
            <a:r>
              <a:rPr lang="en-CA" sz="2400" dirty="0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 </a:t>
            </a:r>
            <a:r>
              <a:rPr lang="en-CA" sz="2400" dirty="0" err="1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estione</a:t>
            </a:r>
            <a:r>
              <a:rPr lang="en-CA" sz="2400" dirty="0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 </a:t>
            </a:r>
            <a:r>
              <a:rPr lang="en-CA" sz="2400" dirty="0" err="1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eaquias</a:t>
            </a:r>
            <a:r>
              <a:rPr lang="en-CA" sz="2400" dirty="0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 rem rerum </a:t>
            </a:r>
            <a:r>
              <a:rPr lang="en-CA" sz="2400" dirty="0" err="1">
                <a:solidFill>
                  <a:schemeClr val="tx2"/>
                </a:solidFill>
                <a:effectLst/>
                <a:latin typeface="+mj-lt"/>
                <a:cs typeface="Sora" pitchFamily="2" charset="0"/>
              </a:rPr>
              <a:t>dolupides</a:t>
            </a:r>
            <a:r>
              <a:rPr lang="en-CA" sz="2400" dirty="0">
                <a:solidFill>
                  <a:schemeClr val="tx2"/>
                </a:solidFill>
                <a:latin typeface="+mj-lt"/>
                <a:cs typeface="Sora" pitchFamily="2" charset="0"/>
              </a:rPr>
              <a:t>.</a:t>
            </a:r>
            <a:endParaRPr lang="en-CA" sz="2400" dirty="0">
              <a:solidFill>
                <a:schemeClr val="tx2"/>
              </a:solidFill>
              <a:effectLst/>
              <a:latin typeface="+mj-lt"/>
              <a:cs typeface="So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66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0" descr="A person using a phone to pay for a machine&#10;&#10;Description automatically generated">
            <a:extLst>
              <a:ext uri="{FF2B5EF4-FFF2-40B4-BE49-F238E27FC236}">
                <a16:creationId xmlns:a16="http://schemas.microsoft.com/office/drawing/2014/main" id="{E32F167B-DF4D-D975-DB9C-6C8A7B2FF37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effectLst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DAE4382-9628-DD41-4E90-E00AD6ACF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goes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BC8C3A-68F4-19AA-0C27-74B29D00D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25B621-9350-A9DE-7F09-9A54187B1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0DFE76-5703-EDC7-6133-68C51BCAA3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CA" dirty="0"/>
              <a:t>Et la dis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ullis</a:t>
            </a:r>
            <a:r>
              <a:rPr lang="en-CA" dirty="0"/>
              <a:t> di </a:t>
            </a:r>
            <a:r>
              <a:rPr lang="en-CA" dirty="0" err="1"/>
              <a:t>vidiciam</a:t>
            </a:r>
            <a:r>
              <a:rPr lang="en-CA" dirty="0"/>
              <a:t> </a:t>
            </a:r>
            <a:r>
              <a:rPr lang="en-CA" dirty="0" err="1"/>
              <a:t>consenis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estione</a:t>
            </a:r>
            <a:r>
              <a:rPr lang="en-CA" dirty="0"/>
              <a:t> </a:t>
            </a:r>
            <a:r>
              <a:rPr lang="en-CA" dirty="0" err="1"/>
              <a:t>eaquias</a:t>
            </a:r>
            <a:r>
              <a:rPr lang="en-CA" dirty="0"/>
              <a:t> rem rerum </a:t>
            </a:r>
            <a:r>
              <a:rPr lang="en-CA" dirty="0" err="1"/>
              <a:t>dolupides</a:t>
            </a:r>
            <a:r>
              <a:rPr lang="en-CA" dirty="0"/>
              <a:t> </a:t>
            </a:r>
            <a:r>
              <a:rPr lang="en-CA" dirty="0" err="1"/>
              <a:t>auda</a:t>
            </a:r>
            <a:r>
              <a:rPr lang="en-CA" dirty="0"/>
              <a:t> </a:t>
            </a:r>
            <a:r>
              <a:rPr lang="en-CA" dirty="0" err="1"/>
              <a:t>est</a:t>
            </a:r>
            <a:r>
              <a:rPr lang="en-CA" dirty="0"/>
              <a:t> </a:t>
            </a:r>
            <a:r>
              <a:rPr lang="en-CA" dirty="0" err="1"/>
              <a:t>harum</a:t>
            </a:r>
            <a:r>
              <a:rPr lang="en-CA" dirty="0"/>
              <a:t> </a:t>
            </a:r>
            <a:r>
              <a:rPr lang="en-CA" dirty="0" err="1"/>
              <a:t>ipisimint</a:t>
            </a:r>
            <a:r>
              <a:rPr lang="en-CA" dirty="0"/>
              <a:t> dem </a:t>
            </a:r>
            <a:r>
              <a:rPr lang="en-CA" dirty="0" err="1"/>
              <a:t>dem</a:t>
            </a:r>
            <a:r>
              <a:rPr lang="en-CA" dirty="0"/>
              <a:t> ex et </a:t>
            </a:r>
            <a:r>
              <a:rPr lang="en-CA" dirty="0" err="1"/>
              <a:t>quod</a:t>
            </a:r>
            <a:r>
              <a:rPr lang="en-CA" dirty="0"/>
              <a:t> quasit,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liqui</a:t>
            </a:r>
            <a:r>
              <a:rPr lang="en-CA" dirty="0"/>
              <a:t> </a:t>
            </a:r>
            <a:r>
              <a:rPr lang="en-CA" dirty="0" err="1"/>
              <a:t>beatiam</a:t>
            </a:r>
            <a:r>
              <a:rPr lang="en-CA" dirty="0"/>
              <a:t> </a:t>
            </a:r>
            <a:r>
              <a:rPr lang="en-CA" dirty="0" err="1"/>
              <a:t>everumquia</a:t>
            </a:r>
            <a:r>
              <a:rPr lang="en-CA" dirty="0"/>
              <a:t> </a:t>
            </a:r>
            <a:r>
              <a:rPr lang="en-CA" dirty="0" err="1"/>
              <a:t>simoles</a:t>
            </a:r>
            <a:r>
              <a:rPr lang="en-CA" dirty="0"/>
              <a:t> </a:t>
            </a:r>
            <a:r>
              <a:rPr lang="en-CA" dirty="0" err="1"/>
              <a:t>sequisqui</a:t>
            </a:r>
            <a:r>
              <a:rPr lang="en-CA" dirty="0"/>
              <a:t> </a:t>
            </a:r>
            <a:r>
              <a:rPr lang="en-CA" dirty="0" err="1"/>
              <a:t>doluptin</a:t>
            </a:r>
            <a:r>
              <a:rPr lang="en-CA" dirty="0"/>
              <a:t>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nte</a:t>
            </a:r>
            <a:r>
              <a:rPr lang="en-CA" dirty="0"/>
              <a:t> ped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occat</a:t>
            </a:r>
            <a:r>
              <a:rPr lang="en-CA" dirty="0"/>
              <a:t> </a:t>
            </a:r>
            <a:r>
              <a:rPr lang="en-CA" dirty="0" err="1"/>
              <a:t>aut</a:t>
            </a:r>
            <a:r>
              <a:rPr lang="en-CA" dirty="0"/>
              <a:t> </a:t>
            </a:r>
            <a:r>
              <a:rPr lang="en-CA" dirty="0" err="1"/>
              <a:t>eos</a:t>
            </a:r>
            <a:r>
              <a:rPr lang="en-CA" dirty="0"/>
              <a:t> </a:t>
            </a:r>
            <a:r>
              <a:rPr lang="en-CA" dirty="0" err="1"/>
              <a:t>sandestia</a:t>
            </a:r>
            <a:r>
              <a:rPr lang="en-CA" dirty="0"/>
              <a:t> </a:t>
            </a:r>
            <a:r>
              <a:rPr lang="en-CA" dirty="0" err="1"/>
              <a:t>iusam</a:t>
            </a:r>
            <a:r>
              <a:rPr lang="en-CA" dirty="0"/>
              <a:t> as </a:t>
            </a:r>
            <a:r>
              <a:rPr lang="en-CA" dirty="0" err="1"/>
              <a:t>restis</a:t>
            </a:r>
            <a:r>
              <a:rPr lang="en-CA" dirty="0"/>
              <a:t> </a:t>
            </a:r>
            <a:r>
              <a:rPr lang="en-CA" dirty="0" err="1"/>
              <a:t>erspern</a:t>
            </a:r>
            <a:r>
              <a:rPr lang="en-CA" dirty="0"/>
              <a:t> </a:t>
            </a:r>
            <a:r>
              <a:rPr lang="en-CA" dirty="0" err="1"/>
              <a:t>ut</a:t>
            </a:r>
            <a:r>
              <a:rPr lang="en-CA" dirty="0"/>
              <a:t> labor </a:t>
            </a:r>
            <a:r>
              <a:rPr lang="en-CA" dirty="0" err="1"/>
              <a:t>mostrum</a:t>
            </a:r>
            <a:r>
              <a:rPr lang="en-CA" dirty="0"/>
              <a:t> </a:t>
            </a:r>
            <a:r>
              <a:rPr lang="en-CA" dirty="0" err="1"/>
              <a:t>entore</a:t>
            </a:r>
            <a:r>
              <a:rPr lang="en-CA" dirty="0"/>
              <a:t> </a:t>
            </a:r>
            <a:r>
              <a:rPr lang="en-CA" dirty="0" err="1"/>
              <a:t>ducium</a:t>
            </a:r>
            <a:r>
              <a:rPr lang="en-CA" dirty="0"/>
              <a:t> sit </a:t>
            </a:r>
            <a:r>
              <a:rPr lang="en-CA" dirty="0" err="1"/>
              <a:t>latiunt</a:t>
            </a:r>
            <a:r>
              <a:rPr lang="en-CA" dirty="0"/>
              <a:t>.</a:t>
            </a:r>
          </a:p>
          <a:p>
            <a:r>
              <a:rPr lang="en-CA" dirty="0" err="1"/>
              <a:t>Odi</a:t>
            </a:r>
            <a:r>
              <a:rPr lang="en-CA" dirty="0"/>
              <a:t> con </a:t>
            </a:r>
            <a:r>
              <a:rPr lang="en-CA" dirty="0" err="1"/>
              <a:t>raereris</a:t>
            </a:r>
            <a:r>
              <a:rPr lang="en-CA" dirty="0"/>
              <a:t> </a:t>
            </a:r>
            <a:r>
              <a:rPr lang="en-CA" dirty="0" err="1"/>
              <a:t>ea</a:t>
            </a:r>
            <a:r>
              <a:rPr lang="en-CA" dirty="0"/>
              <a:t> </a:t>
            </a:r>
            <a:r>
              <a:rPr lang="en-CA" dirty="0" err="1"/>
              <a:t>doluptae</a:t>
            </a:r>
            <a:r>
              <a:rPr lang="en-CA" dirty="0"/>
              <a:t> </a:t>
            </a:r>
            <a:r>
              <a:rPr lang="en-CA" dirty="0" err="1"/>
              <a:t>ereste</a:t>
            </a:r>
            <a:r>
              <a:rPr lang="en-CA" dirty="0"/>
              <a:t> dis </a:t>
            </a:r>
            <a:r>
              <a:rPr lang="en-CA" dirty="0" err="1"/>
              <a:t>evenduci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di </a:t>
            </a:r>
            <a:r>
              <a:rPr lang="en-CA" dirty="0" err="1"/>
              <a:t>doluptatem</a:t>
            </a:r>
            <a:r>
              <a:rPr lang="en-CA" dirty="0"/>
              <a:t> in </a:t>
            </a:r>
            <a:r>
              <a:rPr lang="en-CA" dirty="0" err="1"/>
              <a:t>pla</a:t>
            </a:r>
            <a:r>
              <a:rPr lang="en-CA" dirty="0"/>
              <a:t> volent </a:t>
            </a:r>
            <a:r>
              <a:rPr lang="en-CA" dirty="0" err="1"/>
              <a:t>volupitatur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ommolupta</a:t>
            </a:r>
            <a:r>
              <a:rPr lang="en-CA" dirty="0"/>
              <a:t> </a:t>
            </a:r>
            <a:r>
              <a:rPr lang="en-CA" dirty="0" err="1"/>
              <a:t>exeritatium</a:t>
            </a:r>
            <a:r>
              <a:rPr lang="en-CA" dirty="0"/>
              <a:t> quat </a:t>
            </a:r>
            <a:r>
              <a:rPr lang="en-CA" dirty="0" err="1"/>
              <a:t>eatiam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molorum</a:t>
            </a:r>
            <a:r>
              <a:rPr lang="en-CA" dirty="0"/>
              <a:t> </a:t>
            </a:r>
            <a:r>
              <a:rPr lang="en-CA" dirty="0" err="1"/>
              <a:t>ditatemodi</a:t>
            </a:r>
            <a:r>
              <a:rPr lang="en-CA" dirty="0"/>
              <a:t> </a:t>
            </a:r>
            <a:r>
              <a:rPr lang="en-CA" dirty="0" err="1"/>
              <a:t>denestium</a:t>
            </a:r>
            <a:r>
              <a:rPr lang="en-CA" dirty="0"/>
              <a:t> </a:t>
            </a:r>
            <a:r>
              <a:rPr lang="en-CA" dirty="0" err="1"/>
              <a:t>rerit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At </a:t>
            </a:r>
            <a:r>
              <a:rPr lang="en-CA" dirty="0" err="1"/>
              <a:t>quias</a:t>
            </a:r>
            <a:r>
              <a:rPr lang="en-CA" dirty="0"/>
              <a:t> </a:t>
            </a:r>
            <a:r>
              <a:rPr lang="en-CA" dirty="0" err="1"/>
              <a:t>dollenti</a:t>
            </a:r>
            <a:r>
              <a:rPr lang="en-CA" dirty="0"/>
              <a:t> </a:t>
            </a:r>
            <a:r>
              <a:rPr lang="en-CA" dirty="0" err="1"/>
              <a:t>officaturit</a:t>
            </a:r>
            <a:r>
              <a:rPr lang="en-CA" dirty="0"/>
              <a:t> </a:t>
            </a:r>
            <a:r>
              <a:rPr lang="en-CA" dirty="0" err="1"/>
              <a:t>volorem</a:t>
            </a:r>
            <a:r>
              <a:rPr lang="en-CA" dirty="0"/>
              <a:t> quos </a:t>
            </a:r>
            <a:r>
              <a:rPr lang="en-CA" dirty="0" err="1"/>
              <a:t>mos</a:t>
            </a:r>
            <a:r>
              <a:rPr lang="en-CA" dirty="0"/>
              <a:t> </a:t>
            </a:r>
            <a:r>
              <a:rPr lang="en-CA" dirty="0" err="1"/>
              <a:t>iunt</a:t>
            </a:r>
            <a:r>
              <a:rPr lang="en-CA" dirty="0"/>
              <a:t>.</a:t>
            </a:r>
          </a:p>
          <a:p>
            <a:pPr lvl="1"/>
            <a:r>
              <a:rPr lang="en-CA" dirty="0" err="1"/>
              <a:t>Odi</a:t>
            </a:r>
            <a:r>
              <a:rPr lang="en-CA" dirty="0"/>
              <a:t> con </a:t>
            </a:r>
            <a:r>
              <a:rPr lang="en-CA" dirty="0" err="1"/>
              <a:t>raereris</a:t>
            </a:r>
            <a:r>
              <a:rPr lang="en-CA" dirty="0"/>
              <a:t> </a:t>
            </a:r>
            <a:r>
              <a:rPr lang="en-CA" dirty="0" err="1"/>
              <a:t>ea</a:t>
            </a:r>
            <a:r>
              <a:rPr lang="en-CA" dirty="0"/>
              <a:t> </a:t>
            </a:r>
            <a:r>
              <a:rPr lang="en-CA" dirty="0" err="1"/>
              <a:t>doluptae</a:t>
            </a:r>
            <a:r>
              <a:rPr lang="en-CA" dirty="0"/>
              <a:t> </a:t>
            </a:r>
            <a:r>
              <a:rPr lang="en-CA" dirty="0" err="1"/>
              <a:t>ereste</a:t>
            </a:r>
            <a:r>
              <a:rPr lang="en-CA" dirty="0"/>
              <a:t> dis </a:t>
            </a:r>
            <a:r>
              <a:rPr lang="en-CA" dirty="0" err="1"/>
              <a:t>evenduci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di </a:t>
            </a:r>
            <a:r>
              <a:rPr lang="en-CA" dirty="0" err="1"/>
              <a:t>doluptatem</a:t>
            </a:r>
            <a:r>
              <a:rPr lang="en-CA" dirty="0"/>
              <a:t> in </a:t>
            </a:r>
            <a:r>
              <a:rPr lang="en-CA" dirty="0" err="1"/>
              <a:t>pla</a:t>
            </a:r>
            <a:r>
              <a:rPr lang="en-CA" dirty="0"/>
              <a:t> volent </a:t>
            </a:r>
            <a:r>
              <a:rPr lang="en-CA" dirty="0" err="1"/>
              <a:t>volupitatur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ommolupta</a:t>
            </a:r>
            <a:r>
              <a:rPr lang="en-CA" dirty="0"/>
              <a:t> </a:t>
            </a:r>
            <a:r>
              <a:rPr lang="en-CA" dirty="0" err="1"/>
              <a:t>exeritatium</a:t>
            </a:r>
            <a:r>
              <a:rPr lang="en-CA" dirty="0"/>
              <a:t> quat </a:t>
            </a:r>
            <a:r>
              <a:rPr lang="en-CA" dirty="0" err="1"/>
              <a:t>eatiam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molorum</a:t>
            </a:r>
            <a:r>
              <a:rPr lang="en-CA" dirty="0"/>
              <a:t> </a:t>
            </a:r>
            <a:r>
              <a:rPr lang="en-CA" dirty="0" err="1"/>
              <a:t>ditatemodi</a:t>
            </a:r>
            <a:r>
              <a:rPr lang="en-CA" dirty="0"/>
              <a:t> </a:t>
            </a:r>
            <a:r>
              <a:rPr lang="en-CA" dirty="0" err="1"/>
              <a:t>denestium</a:t>
            </a:r>
            <a:r>
              <a:rPr lang="en-CA" dirty="0"/>
              <a:t> </a:t>
            </a:r>
            <a:r>
              <a:rPr lang="en-CA" dirty="0" err="1"/>
              <a:t>rerit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At </a:t>
            </a:r>
            <a:r>
              <a:rPr lang="en-CA" dirty="0" err="1"/>
              <a:t>quias</a:t>
            </a:r>
            <a:r>
              <a:rPr lang="en-CA" dirty="0"/>
              <a:t> </a:t>
            </a:r>
            <a:r>
              <a:rPr lang="en-CA" dirty="0" err="1"/>
              <a:t>dollenti</a:t>
            </a:r>
            <a:r>
              <a:rPr lang="en-CA" dirty="0"/>
              <a:t> </a:t>
            </a:r>
            <a:r>
              <a:rPr lang="en-CA" dirty="0" err="1"/>
              <a:t>officaturit</a:t>
            </a:r>
            <a:r>
              <a:rPr lang="en-CA" dirty="0"/>
              <a:t> </a:t>
            </a:r>
            <a:r>
              <a:rPr lang="en-CA" dirty="0" err="1"/>
              <a:t>volorem</a:t>
            </a:r>
            <a:r>
              <a:rPr lang="en-CA" dirty="0"/>
              <a:t> quos </a:t>
            </a:r>
            <a:r>
              <a:rPr lang="en-CA" dirty="0" err="1"/>
              <a:t>mos</a:t>
            </a:r>
            <a:r>
              <a:rPr lang="en-CA" dirty="0"/>
              <a:t> </a:t>
            </a:r>
            <a:r>
              <a:rPr lang="en-CA" dirty="0" err="1"/>
              <a:t>iunt</a:t>
            </a:r>
            <a:r>
              <a:rPr lang="en-CA" dirty="0"/>
              <a:t>.</a:t>
            </a:r>
          </a:p>
          <a:p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23B3CA-C1D3-3814-D458-0E4F8CAB39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eader text here</a:t>
            </a:r>
          </a:p>
        </p:txBody>
      </p:sp>
    </p:spTree>
    <p:extLst>
      <p:ext uri="{BB962C8B-B14F-4D97-AF65-F5344CB8AC3E}">
        <p14:creationId xmlns:p14="http://schemas.microsoft.com/office/powerpoint/2010/main" val="63504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Placeholder 5">
            <a:extLst>
              <a:ext uri="{FF2B5EF4-FFF2-40B4-BE49-F238E27FC236}">
                <a16:creationId xmlns:a16="http://schemas.microsoft.com/office/drawing/2014/main" id="{99B71F69-014E-7D10-15B2-D7A319415928}"/>
              </a:ext>
            </a:extLst>
          </p:cNvPr>
          <p:cNvGraphicFramePr>
            <a:graphicFrameLocks noGrp="1"/>
          </p:cNvGraphicFramePr>
          <p:nvPr>
            <p:ph type="tbl" sz="quarter" idx="17"/>
            <p:extLst>
              <p:ext uri="{D42A27DB-BD31-4B8C-83A1-F6EECF244321}">
                <p14:modId xmlns:p14="http://schemas.microsoft.com/office/powerpoint/2010/main" val="97730624"/>
              </p:ext>
            </p:extLst>
          </p:nvPr>
        </p:nvGraphicFramePr>
        <p:xfrm>
          <a:off x="609600" y="1371600"/>
          <a:ext cx="10972800" cy="376645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1746087289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1672375019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936278279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4196583249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657285021"/>
                    </a:ext>
                  </a:extLst>
                </a:gridCol>
              </a:tblGrid>
              <a:tr h="627743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Category 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Category 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Category 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Category 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Category 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879227"/>
                  </a:ext>
                </a:extLst>
              </a:tr>
              <a:tr h="627743">
                <a:tc>
                  <a:txBody>
                    <a:bodyPr/>
                    <a:lstStyle/>
                    <a:p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390740"/>
                  </a:ext>
                </a:extLst>
              </a:tr>
              <a:tr h="627743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56855"/>
                  </a:ext>
                </a:extLst>
              </a:tr>
              <a:tr h="627743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617655"/>
                  </a:ext>
                </a:extLst>
              </a:tr>
              <a:tr h="627743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73880"/>
                  </a:ext>
                </a:extLst>
              </a:tr>
              <a:tr h="627743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Consen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Sequis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vidiciam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estione</a:t>
                      </a:r>
                      <a:r>
                        <a:rPr lang="en-CA" sz="1200" dirty="0">
                          <a:solidFill>
                            <a:schemeClr val="tx2"/>
                          </a:solidFill>
                          <a:effectLst/>
                          <a:latin typeface="Sora" pitchFamily="2" charset="0"/>
                          <a:cs typeface="Sora" pitchFamily="2" charset="0"/>
                        </a:rPr>
                        <a:t> </a:t>
                      </a:r>
                      <a:endParaRPr lang="en-US" sz="1200" dirty="0">
                        <a:solidFill>
                          <a:schemeClr val="tx2"/>
                        </a:solidFill>
                        <a:latin typeface="Sora" pitchFamily="2" charset="0"/>
                        <a:cs typeface="Sora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2147495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7F1B00D-8C94-3F77-8265-FEF224AB2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table sli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EA5A90-EAD6-BD75-2305-7D174BD06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CE4E96-0932-D437-7CF0-AA2EC6FC68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701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/styling for tables primary color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3317C5B-F05E-7CF0-ED76-DDFC9DAE6D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Placeholder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09235122"/>
              </p:ext>
            </p:extLst>
          </p:nvPr>
        </p:nvGraphicFramePr>
        <p:xfrm>
          <a:off x="609601" y="1371600"/>
          <a:ext cx="10972801" cy="4255929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1258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3266">
                <a:tc>
                  <a:txBody>
                    <a:bodyPr/>
                    <a:lstStyle/>
                    <a:p>
                      <a:endParaRPr lang="en-US" sz="2400"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Month</a:t>
                      </a: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Month</a:t>
                      </a: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Month</a:t>
                      </a: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30</a:t>
                      </a:r>
                      <a:r>
                        <a:rPr kumimoji="0" lang="en-US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Month</a:t>
                      </a: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Month</a:t>
                      </a: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449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nd</a:t>
                      </a:r>
                      <a:b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ventoria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nd</a:t>
                      </a:r>
                      <a:b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ventoria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07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229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76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b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\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07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b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\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554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765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107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00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9" name="Group 9"/>
          <p:cNvGrpSpPr>
            <a:grpSpLocks/>
          </p:cNvGrpSpPr>
          <p:nvPr/>
        </p:nvGrpSpPr>
        <p:grpSpPr bwMode="auto">
          <a:xfrm>
            <a:off x="7882098" y="5627529"/>
            <a:ext cx="3733520" cy="537634"/>
            <a:chOff x="4627350" y="1252533"/>
            <a:chExt cx="4435448" cy="1007920"/>
          </a:xfrm>
        </p:grpSpPr>
        <p:sp>
          <p:nvSpPr>
            <p:cNvPr id="10" name="Pentagon 9"/>
            <p:cNvSpPr/>
            <p:nvPr/>
          </p:nvSpPr>
          <p:spPr>
            <a:xfrm>
              <a:off x="4627350" y="1252533"/>
              <a:ext cx="4435448" cy="1007920"/>
            </a:xfrm>
            <a:prstGeom prst="homePlate">
              <a:avLst>
                <a:gd name="adj" fmla="val 30317"/>
              </a:avLst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000">
                <a:cs typeface="Open Sans" panose="02040503050201020203" pitchFamily="18" charset="0"/>
              </a:endParaRPr>
            </a:p>
          </p:txBody>
        </p:sp>
        <p:sp>
          <p:nvSpPr>
            <p:cNvPr id="11" name="TextBox 12"/>
            <p:cNvSpPr txBox="1">
              <a:spLocks noChangeArrowheads="1"/>
            </p:cNvSpPr>
            <p:nvPr/>
          </p:nvSpPr>
          <p:spPr bwMode="auto">
            <a:xfrm>
              <a:off x="6936952" y="1526876"/>
              <a:ext cx="2121493" cy="556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</a:pPr>
              <a:r>
                <a:rPr lang="fr-FR" sz="1600" b="1" dirty="0" err="1">
                  <a:solidFill>
                    <a:schemeClr val="tx2"/>
                  </a:solidFill>
                  <a:latin typeface="+mn-lt"/>
                  <a:cs typeface="Arial"/>
                </a:rPr>
                <a:t>Ignis</a:t>
              </a:r>
              <a:r>
                <a:rPr lang="fr-FR" sz="1600" b="1" dirty="0">
                  <a:solidFill>
                    <a:schemeClr val="tx2"/>
                  </a:solidFill>
                  <a:latin typeface="+mn-lt"/>
                  <a:cs typeface="Arial"/>
                </a:rPr>
                <a:t> </a:t>
              </a:r>
              <a:r>
                <a:rPr lang="fr-FR" sz="1600" b="1" dirty="0" err="1">
                  <a:solidFill>
                    <a:schemeClr val="tx2"/>
                  </a:solidFill>
                  <a:latin typeface="+mn-lt"/>
                  <a:cs typeface="Arial"/>
                </a:rPr>
                <a:t>eium</a:t>
              </a:r>
              <a:endParaRPr lang="en-US" sz="1600" b="1" dirty="0">
                <a:solidFill>
                  <a:schemeClr val="tx2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12" name="Group 14"/>
          <p:cNvGrpSpPr>
            <a:grpSpLocks/>
          </p:cNvGrpSpPr>
          <p:nvPr/>
        </p:nvGrpSpPr>
        <p:grpSpPr bwMode="auto">
          <a:xfrm>
            <a:off x="2724150" y="5627529"/>
            <a:ext cx="7183330" cy="533530"/>
            <a:chOff x="738655" y="1239278"/>
            <a:chExt cx="4619925" cy="1019974"/>
          </a:xfrm>
        </p:grpSpPr>
        <p:sp>
          <p:nvSpPr>
            <p:cNvPr id="13" name="Pentagon 12"/>
            <p:cNvSpPr/>
            <p:nvPr/>
          </p:nvSpPr>
          <p:spPr>
            <a:xfrm>
              <a:off x="738655" y="1239278"/>
              <a:ext cx="4619925" cy="1019974"/>
            </a:xfrm>
            <a:prstGeom prst="homePlate">
              <a:avLst>
                <a:gd name="adj" fmla="val 30531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000">
                <a:cs typeface="Open Sans" panose="02040503050201020203" pitchFamily="18" charset="0"/>
              </a:endParaRPr>
            </a:p>
          </p:txBody>
        </p:sp>
        <p:sp>
          <p:nvSpPr>
            <p:cNvPr id="14" name="TextBox 16"/>
            <p:cNvSpPr txBox="1">
              <a:spLocks noChangeArrowheads="1"/>
            </p:cNvSpPr>
            <p:nvPr/>
          </p:nvSpPr>
          <p:spPr bwMode="auto">
            <a:xfrm>
              <a:off x="921633" y="1275697"/>
              <a:ext cx="4199280" cy="6026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fr-FR" sz="1600" b="1" dirty="0" err="1">
                  <a:solidFill>
                    <a:schemeClr val="bg1"/>
                  </a:solidFill>
                  <a:latin typeface="+mj-lt"/>
                  <a:cs typeface="Arial" charset="0"/>
                </a:rPr>
                <a:t>Ignis</a:t>
              </a:r>
              <a:r>
                <a:rPr lang="fr-FR" sz="1600" b="1" dirty="0">
                  <a:solidFill>
                    <a:schemeClr val="bg1"/>
                  </a:solidFill>
                  <a:latin typeface="+mj-lt"/>
                  <a:cs typeface="Arial" charset="0"/>
                </a:rPr>
                <a:t> </a:t>
              </a:r>
              <a:r>
                <a:rPr lang="fr-FR" sz="1600" b="1" dirty="0" err="1">
                  <a:solidFill>
                    <a:schemeClr val="bg1"/>
                  </a:solidFill>
                  <a:latin typeface="+mj-lt"/>
                  <a:cs typeface="Arial" charset="0"/>
                </a:rPr>
                <a:t>eium</a:t>
              </a:r>
              <a:r>
                <a:rPr lang="fr-FR" sz="1600" b="1" dirty="0">
                  <a:solidFill>
                    <a:schemeClr val="bg1"/>
                  </a:solidFill>
                  <a:latin typeface="+mj-lt"/>
                  <a:cs typeface="Arial" charset="0"/>
                </a:rPr>
                <a:t> </a:t>
              </a:r>
              <a:r>
                <a:rPr lang="fr-FR" sz="1600" b="1" dirty="0" err="1">
                  <a:solidFill>
                    <a:schemeClr val="bg1"/>
                  </a:solidFill>
                  <a:latin typeface="+mj-lt"/>
                  <a:cs typeface="Arial" charset="0"/>
                </a:rPr>
                <a:t>conse</a:t>
              </a:r>
              <a:r>
                <a:rPr lang="fr-FR" sz="1600" b="1" dirty="0">
                  <a:solidFill>
                    <a:schemeClr val="bg1"/>
                  </a:solidFill>
                  <a:latin typeface="+mj-lt"/>
                  <a:cs typeface="Arial" charset="0"/>
                </a:rPr>
                <a:t> </a:t>
              </a:r>
              <a:r>
                <a:rPr lang="fr-FR" sz="1600" b="1" dirty="0" err="1">
                  <a:solidFill>
                    <a:schemeClr val="bg1"/>
                  </a:solidFill>
                  <a:latin typeface="+mj-lt"/>
                  <a:cs typeface="Arial" charset="0"/>
                </a:rPr>
                <a:t>endandi</a:t>
              </a:r>
              <a:r>
                <a:rPr lang="fr-FR" sz="1600" b="1" dirty="0">
                  <a:solidFill>
                    <a:schemeClr val="bg1"/>
                  </a:solidFill>
                  <a:latin typeface="+mj-lt"/>
                  <a:cs typeface="Arial" charset="0"/>
                </a:rPr>
                <a:t> ne </a:t>
              </a:r>
              <a:r>
                <a:rPr lang="fr-FR" sz="1600" b="1" dirty="0" err="1">
                  <a:solidFill>
                    <a:schemeClr val="bg1"/>
                  </a:solidFill>
                  <a:latin typeface="+mj-lt"/>
                  <a:cs typeface="Arial" charset="0"/>
                </a:rPr>
                <a:t>quodis</a:t>
              </a:r>
              <a:r>
                <a:rPr lang="fr-FR" sz="1600" b="1" dirty="0">
                  <a:solidFill>
                    <a:schemeClr val="bg1"/>
                  </a:solidFill>
                  <a:latin typeface="+mj-lt"/>
                  <a:cs typeface="Arial" charset="0"/>
                </a:rPr>
                <a:t> </a:t>
              </a:r>
              <a:r>
                <a:rPr lang="fr-FR" sz="1600" b="1" dirty="0" err="1">
                  <a:solidFill>
                    <a:schemeClr val="bg1"/>
                  </a:solidFill>
                  <a:latin typeface="+mj-lt"/>
                  <a:cs typeface="Arial" charset="0"/>
                </a:rPr>
                <a:t>nobis</a:t>
              </a:r>
              <a:r>
                <a:rPr lang="fr-FR" sz="1600" b="1" dirty="0">
                  <a:solidFill>
                    <a:schemeClr val="bg1"/>
                  </a:solidFill>
                  <a:latin typeface="+mj-lt"/>
                  <a:cs typeface="Arial" charset="0"/>
                </a:rPr>
                <a:t> et </a:t>
              </a:r>
            </a:p>
          </p:txBody>
        </p:sp>
        <p:sp>
          <p:nvSpPr>
            <p:cNvPr id="15" name="TextBox 17"/>
            <p:cNvSpPr txBox="1">
              <a:spLocks noChangeArrowheads="1"/>
            </p:cNvSpPr>
            <p:nvPr/>
          </p:nvSpPr>
          <p:spPr bwMode="auto">
            <a:xfrm>
              <a:off x="791888" y="1732004"/>
              <a:ext cx="4450316" cy="469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fr-FR" sz="1100" dirty="0" err="1">
                  <a:solidFill>
                    <a:schemeClr val="bg1"/>
                  </a:solidFill>
                  <a:latin typeface="+mj-lt"/>
                  <a:cs typeface="Arial" charset="0"/>
                </a:rPr>
                <a:t>conse</a:t>
              </a:r>
              <a:r>
                <a:rPr lang="fr-FR" sz="1100" dirty="0">
                  <a:solidFill>
                    <a:schemeClr val="bg1"/>
                  </a:solidFill>
                  <a:latin typeface="+mj-lt"/>
                  <a:cs typeface="Arial" charset="0"/>
                </a:rPr>
                <a:t> </a:t>
              </a:r>
              <a:r>
                <a:rPr lang="fr-FR" sz="1100" dirty="0" err="1">
                  <a:solidFill>
                    <a:schemeClr val="bg1"/>
                  </a:solidFill>
                  <a:latin typeface="+mj-lt"/>
                  <a:cs typeface="Arial" charset="0"/>
                </a:rPr>
                <a:t>endandi</a:t>
              </a:r>
              <a:r>
                <a:rPr lang="fr-FR" sz="1100" dirty="0">
                  <a:solidFill>
                    <a:schemeClr val="bg1"/>
                  </a:solidFill>
                  <a:latin typeface="+mj-lt"/>
                  <a:cs typeface="Arial" charset="0"/>
                </a:rPr>
                <a:t> ne </a:t>
              </a:r>
              <a:r>
                <a:rPr lang="fr-FR" sz="1100" dirty="0" err="1">
                  <a:solidFill>
                    <a:schemeClr val="bg1"/>
                  </a:solidFill>
                  <a:latin typeface="+mj-lt"/>
                  <a:cs typeface="Arial" charset="0"/>
                </a:rPr>
                <a:t>quodis</a:t>
              </a:r>
              <a:r>
                <a:rPr lang="fr-FR" sz="1100" dirty="0">
                  <a:solidFill>
                    <a:schemeClr val="bg1"/>
                  </a:solidFill>
                  <a:latin typeface="+mj-lt"/>
                  <a:cs typeface="Arial" charset="0"/>
                </a:rPr>
                <a:t> </a:t>
              </a:r>
              <a:r>
                <a:rPr lang="fr-FR" sz="1100" dirty="0" err="1">
                  <a:solidFill>
                    <a:schemeClr val="bg1"/>
                  </a:solidFill>
                  <a:latin typeface="+mj-lt"/>
                  <a:cs typeface="Arial" charset="0"/>
                </a:rPr>
                <a:t>nobis</a:t>
              </a:r>
              <a:r>
                <a:rPr lang="fr-FR" sz="1100" dirty="0">
                  <a:solidFill>
                    <a:schemeClr val="bg1"/>
                  </a:solidFill>
                  <a:latin typeface="+mj-lt"/>
                  <a:cs typeface="Arial" charset="0"/>
                </a:rPr>
                <a:t> et </a:t>
              </a:r>
              <a:endParaRPr lang="en-US" sz="1100" dirty="0">
                <a:solidFill>
                  <a:schemeClr val="bg1"/>
                </a:solidFill>
                <a:latin typeface="+mj-lt"/>
                <a:cs typeface="Arial" charset="0"/>
              </a:endParaRPr>
            </a:p>
          </p:txBody>
        </p:sp>
      </p:grp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5A94F7C-EBF2-8D84-1625-5EC9B6D62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50BDD91B-E80A-E96D-DB42-D45CE35EB4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07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31CCF6-3527-4215-4B0C-328AECA2B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4BBFE-5748-FBEF-E76F-2B900C3CFA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itle of presentation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261810-7B47-8CCF-99CD-7EC697CD7D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esenter’s name goes her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F5A92E5-80EA-79F3-9E29-F147C494EC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4310950-6F04-8AE8-91C3-7A5B359A26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978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t/styling for tables tertiary color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3317C5B-F05E-7CF0-ED76-DDFC9DAE6D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Placeholder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27623997"/>
              </p:ext>
            </p:extLst>
          </p:nvPr>
        </p:nvGraphicFramePr>
        <p:xfrm>
          <a:off x="609601" y="1371600"/>
          <a:ext cx="10972801" cy="4255929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1258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693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3266">
                <a:tc>
                  <a:txBody>
                    <a:bodyPr/>
                    <a:lstStyle/>
                    <a:p>
                      <a:endParaRPr lang="en-US" sz="2400" dirty="0"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Month</a:t>
                      </a: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Month</a:t>
                      </a: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Month</a:t>
                      </a: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30</a:t>
                      </a:r>
                      <a:r>
                        <a:rPr kumimoji="0" lang="en-US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Month</a:t>
                      </a: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Month</a:t>
                      </a: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449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Text Goes Here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Sora" panose="020B0604020202020204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nd</a:t>
                      </a:r>
                      <a:b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ventoria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nd</a:t>
                      </a:r>
                      <a:b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ventoria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07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Text Goes Here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Sora" panose="020B0604020202020204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229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Text Goes Here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Sora" panose="020B0604020202020204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76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b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\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07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Text Goes Here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Sora" panose="020B0604020202020204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b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\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554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Text Goes Here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Sora" panose="020B0604020202020204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765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Text Goes Here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Sora" panose="020B0604020202020204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107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Text Goes Here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Sora" panose="020B0604020202020204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ndandi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ne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quod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nob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et </a:t>
                      </a:r>
                      <a:endParaRPr lang="en-US" sz="900" b="0" dirty="0">
                        <a:solidFill>
                          <a:schemeClr val="tx2"/>
                        </a:solidFill>
                        <a:latin typeface="+mn-lt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00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Sora" panose="020B0604020202020204"/>
                          <a:ea typeface="+mn-ea"/>
                          <a:cs typeface="Arial"/>
                        </a:rPr>
                        <a:t>Text Goes Here</a:t>
                      </a:r>
                    </a:p>
                  </a:txBody>
                  <a:tcPr marL="126289" marR="126289" marT="60952" marB="6095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tx2"/>
                        </a:solidFill>
                        <a:cs typeface="Open Sans" panose="02040503050201020203" pitchFamily="18" charset="0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Ignis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eium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fr-FR" sz="900" b="0" dirty="0" err="1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conse</a:t>
                      </a:r>
                      <a:r>
                        <a:rPr lang="fr-FR" sz="900" b="0" dirty="0">
                          <a:solidFill>
                            <a:schemeClr val="tx2"/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26289" marR="126289" marT="60952" marB="609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9" name="Group 9"/>
          <p:cNvGrpSpPr>
            <a:grpSpLocks/>
          </p:cNvGrpSpPr>
          <p:nvPr/>
        </p:nvGrpSpPr>
        <p:grpSpPr bwMode="auto">
          <a:xfrm>
            <a:off x="7922034" y="5627529"/>
            <a:ext cx="3693583" cy="537634"/>
            <a:chOff x="4627350" y="1252533"/>
            <a:chExt cx="4435448" cy="1007920"/>
          </a:xfrm>
        </p:grpSpPr>
        <p:sp>
          <p:nvSpPr>
            <p:cNvPr id="10" name="Pentagon 9"/>
            <p:cNvSpPr/>
            <p:nvPr/>
          </p:nvSpPr>
          <p:spPr>
            <a:xfrm>
              <a:off x="4627350" y="1252533"/>
              <a:ext cx="4435448" cy="1007920"/>
            </a:xfrm>
            <a:prstGeom prst="homePlate">
              <a:avLst>
                <a:gd name="adj" fmla="val 30317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000">
                <a:cs typeface="Open Sans" panose="02040503050201020203" pitchFamily="18" charset="0"/>
              </a:endParaRPr>
            </a:p>
          </p:txBody>
        </p:sp>
        <p:sp>
          <p:nvSpPr>
            <p:cNvPr id="11" name="TextBox 12"/>
            <p:cNvSpPr txBox="1">
              <a:spLocks noChangeArrowheads="1"/>
            </p:cNvSpPr>
            <p:nvPr/>
          </p:nvSpPr>
          <p:spPr bwMode="auto">
            <a:xfrm>
              <a:off x="6936952" y="1526876"/>
              <a:ext cx="2121493" cy="556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</a:pPr>
              <a:r>
                <a:rPr lang="fr-FR" sz="1600" b="1" dirty="0" err="1">
                  <a:solidFill>
                    <a:schemeClr val="tx2"/>
                  </a:solidFill>
                  <a:latin typeface="+mn-lt"/>
                  <a:cs typeface="Arial"/>
                </a:rPr>
                <a:t>Ignis</a:t>
              </a:r>
              <a:r>
                <a:rPr lang="fr-FR" sz="1600" b="1" dirty="0">
                  <a:solidFill>
                    <a:schemeClr val="tx2"/>
                  </a:solidFill>
                  <a:latin typeface="+mn-lt"/>
                  <a:cs typeface="Arial"/>
                </a:rPr>
                <a:t> </a:t>
              </a:r>
              <a:r>
                <a:rPr lang="fr-FR" sz="1600" b="1" dirty="0" err="1">
                  <a:solidFill>
                    <a:schemeClr val="tx2"/>
                  </a:solidFill>
                  <a:latin typeface="+mn-lt"/>
                  <a:cs typeface="Arial"/>
                </a:rPr>
                <a:t>eium</a:t>
              </a:r>
              <a:endParaRPr lang="en-US" sz="1600" b="1" dirty="0">
                <a:solidFill>
                  <a:schemeClr val="tx2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12" name="Group 14"/>
          <p:cNvGrpSpPr>
            <a:grpSpLocks/>
          </p:cNvGrpSpPr>
          <p:nvPr/>
        </p:nvGrpSpPr>
        <p:grpSpPr bwMode="auto">
          <a:xfrm>
            <a:off x="2743200" y="5627529"/>
            <a:ext cx="7164280" cy="533530"/>
            <a:chOff x="738655" y="1239278"/>
            <a:chExt cx="4619925" cy="1019974"/>
          </a:xfrm>
          <a:solidFill>
            <a:schemeClr val="bg2"/>
          </a:solidFill>
        </p:grpSpPr>
        <p:sp>
          <p:nvSpPr>
            <p:cNvPr id="13" name="Pentagon 12"/>
            <p:cNvSpPr/>
            <p:nvPr/>
          </p:nvSpPr>
          <p:spPr>
            <a:xfrm>
              <a:off x="738655" y="1239278"/>
              <a:ext cx="4619925" cy="1019974"/>
            </a:xfrm>
            <a:prstGeom prst="homePlate">
              <a:avLst>
                <a:gd name="adj" fmla="val 30531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000">
                <a:cs typeface="Open Sans" panose="02040503050201020203" pitchFamily="18" charset="0"/>
              </a:endParaRPr>
            </a:p>
          </p:txBody>
        </p:sp>
        <p:sp>
          <p:nvSpPr>
            <p:cNvPr id="14" name="TextBox 16"/>
            <p:cNvSpPr txBox="1">
              <a:spLocks noChangeArrowheads="1"/>
            </p:cNvSpPr>
            <p:nvPr/>
          </p:nvSpPr>
          <p:spPr bwMode="auto">
            <a:xfrm>
              <a:off x="921633" y="1275697"/>
              <a:ext cx="4199280" cy="60260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fr-FR" sz="1600" b="1" dirty="0" err="1">
                  <a:solidFill>
                    <a:schemeClr val="tx2"/>
                  </a:solidFill>
                  <a:latin typeface="+mj-lt"/>
                  <a:cs typeface="Arial" charset="0"/>
                </a:rPr>
                <a:t>Ignis</a:t>
              </a:r>
              <a:r>
                <a:rPr lang="fr-FR" sz="1600" b="1" dirty="0">
                  <a:solidFill>
                    <a:schemeClr val="tx2"/>
                  </a:solidFill>
                  <a:latin typeface="+mj-lt"/>
                  <a:cs typeface="Arial" charset="0"/>
                </a:rPr>
                <a:t> </a:t>
              </a:r>
              <a:r>
                <a:rPr lang="fr-FR" sz="1600" b="1" dirty="0" err="1">
                  <a:solidFill>
                    <a:schemeClr val="tx2"/>
                  </a:solidFill>
                  <a:latin typeface="+mj-lt"/>
                  <a:cs typeface="Arial" charset="0"/>
                </a:rPr>
                <a:t>eium</a:t>
              </a:r>
              <a:r>
                <a:rPr lang="fr-FR" sz="1600" b="1" dirty="0">
                  <a:solidFill>
                    <a:schemeClr val="tx2"/>
                  </a:solidFill>
                  <a:latin typeface="+mj-lt"/>
                  <a:cs typeface="Arial" charset="0"/>
                </a:rPr>
                <a:t> </a:t>
              </a:r>
              <a:r>
                <a:rPr lang="fr-FR" sz="1600" b="1" dirty="0" err="1">
                  <a:solidFill>
                    <a:schemeClr val="tx2"/>
                  </a:solidFill>
                  <a:latin typeface="+mj-lt"/>
                  <a:cs typeface="Arial" charset="0"/>
                </a:rPr>
                <a:t>conse</a:t>
              </a:r>
              <a:r>
                <a:rPr lang="fr-FR" sz="1600" b="1" dirty="0">
                  <a:solidFill>
                    <a:schemeClr val="tx2"/>
                  </a:solidFill>
                  <a:latin typeface="+mj-lt"/>
                  <a:cs typeface="Arial" charset="0"/>
                </a:rPr>
                <a:t> </a:t>
              </a:r>
              <a:r>
                <a:rPr lang="fr-FR" sz="1600" b="1" dirty="0" err="1">
                  <a:solidFill>
                    <a:schemeClr val="tx2"/>
                  </a:solidFill>
                  <a:latin typeface="+mj-lt"/>
                  <a:cs typeface="Arial" charset="0"/>
                </a:rPr>
                <a:t>endandi</a:t>
              </a:r>
              <a:r>
                <a:rPr lang="fr-FR" sz="1600" b="1" dirty="0">
                  <a:solidFill>
                    <a:schemeClr val="tx2"/>
                  </a:solidFill>
                  <a:latin typeface="+mj-lt"/>
                  <a:cs typeface="Arial" charset="0"/>
                </a:rPr>
                <a:t> ne </a:t>
              </a:r>
              <a:r>
                <a:rPr lang="fr-FR" sz="1600" b="1" dirty="0" err="1">
                  <a:solidFill>
                    <a:schemeClr val="tx2"/>
                  </a:solidFill>
                  <a:latin typeface="+mj-lt"/>
                  <a:cs typeface="Arial" charset="0"/>
                </a:rPr>
                <a:t>quodis</a:t>
              </a:r>
              <a:r>
                <a:rPr lang="fr-FR" sz="1600" b="1" dirty="0">
                  <a:solidFill>
                    <a:schemeClr val="tx2"/>
                  </a:solidFill>
                  <a:latin typeface="+mj-lt"/>
                  <a:cs typeface="Arial" charset="0"/>
                </a:rPr>
                <a:t> </a:t>
              </a:r>
              <a:r>
                <a:rPr lang="fr-FR" sz="1600" b="1" dirty="0" err="1">
                  <a:solidFill>
                    <a:schemeClr val="tx2"/>
                  </a:solidFill>
                  <a:latin typeface="+mj-lt"/>
                  <a:cs typeface="Arial" charset="0"/>
                </a:rPr>
                <a:t>nobis</a:t>
              </a:r>
              <a:r>
                <a:rPr lang="fr-FR" sz="1600" b="1" dirty="0">
                  <a:solidFill>
                    <a:schemeClr val="tx2"/>
                  </a:solidFill>
                  <a:latin typeface="+mj-lt"/>
                  <a:cs typeface="Arial" charset="0"/>
                </a:rPr>
                <a:t> et </a:t>
              </a:r>
            </a:p>
          </p:txBody>
        </p:sp>
        <p:sp>
          <p:nvSpPr>
            <p:cNvPr id="15" name="TextBox 17"/>
            <p:cNvSpPr txBox="1">
              <a:spLocks noChangeArrowheads="1"/>
            </p:cNvSpPr>
            <p:nvPr/>
          </p:nvSpPr>
          <p:spPr bwMode="auto">
            <a:xfrm>
              <a:off x="791888" y="1732004"/>
              <a:ext cx="4450316" cy="4694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fr-FR" sz="1100" dirty="0" err="1">
                  <a:solidFill>
                    <a:schemeClr val="tx2"/>
                  </a:solidFill>
                  <a:latin typeface="+mj-lt"/>
                  <a:cs typeface="Arial" charset="0"/>
                </a:rPr>
                <a:t>conse</a:t>
              </a:r>
              <a:r>
                <a:rPr lang="fr-FR" sz="1100" dirty="0">
                  <a:solidFill>
                    <a:schemeClr val="tx2"/>
                  </a:solidFill>
                  <a:latin typeface="+mj-lt"/>
                  <a:cs typeface="Arial" charset="0"/>
                </a:rPr>
                <a:t> </a:t>
              </a:r>
              <a:r>
                <a:rPr lang="fr-FR" sz="1100" dirty="0" err="1">
                  <a:solidFill>
                    <a:schemeClr val="tx2"/>
                  </a:solidFill>
                  <a:latin typeface="+mj-lt"/>
                  <a:cs typeface="Arial" charset="0"/>
                </a:rPr>
                <a:t>endandi</a:t>
              </a:r>
              <a:r>
                <a:rPr lang="fr-FR" sz="1100" dirty="0">
                  <a:solidFill>
                    <a:schemeClr val="tx2"/>
                  </a:solidFill>
                  <a:latin typeface="+mj-lt"/>
                  <a:cs typeface="Arial" charset="0"/>
                </a:rPr>
                <a:t> ne </a:t>
              </a:r>
              <a:r>
                <a:rPr lang="fr-FR" sz="1100" dirty="0" err="1">
                  <a:solidFill>
                    <a:schemeClr val="tx2"/>
                  </a:solidFill>
                  <a:latin typeface="+mj-lt"/>
                  <a:cs typeface="Arial" charset="0"/>
                </a:rPr>
                <a:t>quodis</a:t>
              </a:r>
              <a:r>
                <a:rPr lang="fr-FR" sz="1100" dirty="0">
                  <a:solidFill>
                    <a:schemeClr val="tx2"/>
                  </a:solidFill>
                  <a:latin typeface="+mj-lt"/>
                  <a:cs typeface="Arial" charset="0"/>
                </a:rPr>
                <a:t> </a:t>
              </a:r>
              <a:r>
                <a:rPr lang="fr-FR" sz="1100" dirty="0" err="1">
                  <a:solidFill>
                    <a:schemeClr val="tx2"/>
                  </a:solidFill>
                  <a:latin typeface="+mj-lt"/>
                  <a:cs typeface="Arial" charset="0"/>
                </a:rPr>
                <a:t>nobis</a:t>
              </a:r>
              <a:r>
                <a:rPr lang="fr-FR" sz="1100" dirty="0">
                  <a:solidFill>
                    <a:schemeClr val="tx2"/>
                  </a:solidFill>
                  <a:latin typeface="+mj-lt"/>
                  <a:cs typeface="Arial" charset="0"/>
                </a:rPr>
                <a:t> et </a:t>
              </a:r>
              <a:endParaRPr lang="en-US" sz="1100" dirty="0">
                <a:solidFill>
                  <a:schemeClr val="tx2"/>
                </a:solidFill>
                <a:latin typeface="+mj-lt"/>
                <a:cs typeface="Arial" charset="0"/>
              </a:endParaRPr>
            </a:p>
          </p:txBody>
        </p:sp>
      </p:grp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5A94F7C-EBF2-8D84-1625-5EC9B6D62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50BDD91B-E80A-E96D-DB42-D45CE35EB4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96987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D5AD7005-0841-D455-2FF6-0AD036F33F9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" b="24"/>
          <a:stretch/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3F3B38-958C-669E-56AB-7323D962E2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eader Text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9836FD-0C8B-BB99-D40F-4C9F0BAF7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3D29849-8690-459B-85F6-DF1AF69C29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5EC0DB-6B47-4BC1-8623-5A4B5ADC35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34E6901-584F-F36F-40DF-927DC87550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CA" dirty="0"/>
              <a:t>Et la dis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ullis</a:t>
            </a:r>
            <a:r>
              <a:rPr lang="en-CA" dirty="0"/>
              <a:t> di </a:t>
            </a:r>
            <a:r>
              <a:rPr lang="en-CA" dirty="0" err="1"/>
              <a:t>vidiciam</a:t>
            </a:r>
            <a:r>
              <a:rPr lang="en-CA" dirty="0"/>
              <a:t> </a:t>
            </a:r>
            <a:r>
              <a:rPr lang="en-CA" dirty="0" err="1"/>
              <a:t>consenis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estione</a:t>
            </a:r>
            <a:r>
              <a:rPr lang="en-CA" dirty="0"/>
              <a:t> </a:t>
            </a:r>
            <a:r>
              <a:rPr lang="en-CA" dirty="0" err="1"/>
              <a:t>eaquias</a:t>
            </a:r>
            <a:r>
              <a:rPr lang="en-CA" dirty="0"/>
              <a:t> rem rerum </a:t>
            </a:r>
            <a:r>
              <a:rPr lang="en-CA" dirty="0" err="1"/>
              <a:t>dolupides</a:t>
            </a:r>
            <a:r>
              <a:rPr lang="en-CA" dirty="0"/>
              <a:t> </a:t>
            </a:r>
            <a:r>
              <a:rPr lang="en-CA" dirty="0" err="1"/>
              <a:t>auda</a:t>
            </a:r>
            <a:r>
              <a:rPr lang="en-CA" dirty="0"/>
              <a:t> </a:t>
            </a:r>
            <a:r>
              <a:rPr lang="en-CA" dirty="0" err="1"/>
              <a:t>est</a:t>
            </a:r>
            <a:r>
              <a:rPr lang="en-CA" dirty="0"/>
              <a:t> </a:t>
            </a:r>
            <a:r>
              <a:rPr lang="en-CA" dirty="0" err="1"/>
              <a:t>harum</a:t>
            </a:r>
            <a:r>
              <a:rPr lang="en-CA" dirty="0"/>
              <a:t> </a:t>
            </a:r>
            <a:r>
              <a:rPr lang="en-CA" dirty="0" err="1"/>
              <a:t>ipisimint</a:t>
            </a:r>
            <a:r>
              <a:rPr lang="en-CA" dirty="0"/>
              <a:t> dem </a:t>
            </a:r>
            <a:r>
              <a:rPr lang="en-CA" dirty="0" err="1"/>
              <a:t>dem</a:t>
            </a:r>
            <a:r>
              <a:rPr lang="en-CA" dirty="0"/>
              <a:t> ex et </a:t>
            </a:r>
            <a:r>
              <a:rPr lang="en-CA" dirty="0" err="1"/>
              <a:t>quod</a:t>
            </a:r>
            <a:r>
              <a:rPr lang="en-CA" dirty="0"/>
              <a:t> quasit,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liqui</a:t>
            </a:r>
            <a:r>
              <a:rPr lang="en-CA" dirty="0"/>
              <a:t> </a:t>
            </a:r>
            <a:r>
              <a:rPr lang="en-CA" dirty="0" err="1"/>
              <a:t>beatiam</a:t>
            </a:r>
            <a:r>
              <a:rPr lang="en-CA" dirty="0"/>
              <a:t> </a:t>
            </a:r>
            <a:r>
              <a:rPr lang="en-CA" dirty="0" err="1"/>
              <a:t>everumquia</a:t>
            </a:r>
            <a:r>
              <a:rPr lang="en-CA" dirty="0"/>
              <a:t> </a:t>
            </a:r>
            <a:r>
              <a:rPr lang="en-CA" dirty="0" err="1"/>
              <a:t>simoles</a:t>
            </a:r>
            <a:r>
              <a:rPr lang="en-CA" dirty="0"/>
              <a:t> </a:t>
            </a:r>
            <a:r>
              <a:rPr lang="en-CA" dirty="0" err="1"/>
              <a:t>sequisqui</a:t>
            </a:r>
            <a:r>
              <a:rPr lang="en-CA" dirty="0"/>
              <a:t> </a:t>
            </a:r>
            <a:r>
              <a:rPr lang="en-CA" dirty="0" err="1"/>
              <a:t>doluptin</a:t>
            </a:r>
            <a:r>
              <a:rPr lang="en-CA" dirty="0"/>
              <a:t>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nte</a:t>
            </a:r>
            <a:r>
              <a:rPr lang="en-CA" dirty="0"/>
              <a:t> ped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occat</a:t>
            </a:r>
            <a:r>
              <a:rPr lang="en-CA" dirty="0"/>
              <a:t> </a:t>
            </a:r>
            <a:r>
              <a:rPr lang="en-CA" dirty="0" err="1"/>
              <a:t>aut</a:t>
            </a:r>
            <a:r>
              <a:rPr lang="en-CA" dirty="0"/>
              <a:t> </a:t>
            </a:r>
            <a:r>
              <a:rPr lang="en-CA" dirty="0" err="1"/>
              <a:t>eos</a:t>
            </a:r>
            <a:r>
              <a:rPr lang="en-CA" dirty="0"/>
              <a:t> </a:t>
            </a:r>
            <a:r>
              <a:rPr lang="en-CA" dirty="0" err="1"/>
              <a:t>sandestia</a:t>
            </a:r>
            <a:r>
              <a:rPr lang="en-CA" dirty="0"/>
              <a:t> </a:t>
            </a:r>
            <a:r>
              <a:rPr lang="en-CA" dirty="0" err="1"/>
              <a:t>iusam</a:t>
            </a:r>
            <a:r>
              <a:rPr lang="en-CA" dirty="0"/>
              <a:t> as </a:t>
            </a:r>
            <a:r>
              <a:rPr lang="en-CA" dirty="0" err="1"/>
              <a:t>restis</a:t>
            </a:r>
            <a:r>
              <a:rPr lang="en-CA" dirty="0"/>
              <a:t> </a:t>
            </a:r>
            <a:r>
              <a:rPr lang="en-CA" dirty="0" err="1"/>
              <a:t>erspern</a:t>
            </a:r>
            <a:r>
              <a:rPr lang="en-CA" dirty="0"/>
              <a:t> </a:t>
            </a:r>
            <a:r>
              <a:rPr lang="en-CA" dirty="0" err="1"/>
              <a:t>ut</a:t>
            </a:r>
            <a:r>
              <a:rPr lang="en-CA" dirty="0"/>
              <a:t> labor </a:t>
            </a:r>
            <a:r>
              <a:rPr lang="en-CA" dirty="0" err="1"/>
              <a:t>mostrum</a:t>
            </a:r>
            <a:r>
              <a:rPr lang="en-CA" dirty="0"/>
              <a:t> </a:t>
            </a:r>
            <a:r>
              <a:rPr lang="en-CA" dirty="0" err="1"/>
              <a:t>entore</a:t>
            </a:r>
            <a:r>
              <a:rPr lang="en-CA" dirty="0"/>
              <a:t> </a:t>
            </a:r>
            <a:r>
              <a:rPr lang="en-CA" dirty="0" err="1"/>
              <a:t>ducium</a:t>
            </a:r>
            <a:r>
              <a:rPr lang="en-CA" dirty="0"/>
              <a:t> sit </a:t>
            </a:r>
            <a:r>
              <a:rPr lang="en-CA" dirty="0" err="1"/>
              <a:t>latiunt</a:t>
            </a:r>
            <a:r>
              <a:rPr lang="en-CA" dirty="0"/>
              <a:t>.</a:t>
            </a:r>
          </a:p>
          <a:p>
            <a:r>
              <a:rPr lang="en-CA" dirty="0" err="1"/>
              <a:t>Odi</a:t>
            </a:r>
            <a:r>
              <a:rPr lang="en-CA" dirty="0"/>
              <a:t> con </a:t>
            </a:r>
            <a:r>
              <a:rPr lang="en-CA" dirty="0" err="1"/>
              <a:t>raereris</a:t>
            </a:r>
            <a:r>
              <a:rPr lang="en-CA" dirty="0"/>
              <a:t> </a:t>
            </a:r>
            <a:r>
              <a:rPr lang="en-CA" dirty="0" err="1"/>
              <a:t>ea</a:t>
            </a:r>
            <a:r>
              <a:rPr lang="en-CA" dirty="0"/>
              <a:t> </a:t>
            </a:r>
            <a:r>
              <a:rPr lang="en-CA" dirty="0" err="1"/>
              <a:t>doluptae</a:t>
            </a:r>
            <a:r>
              <a:rPr lang="en-CA" dirty="0"/>
              <a:t> </a:t>
            </a:r>
            <a:r>
              <a:rPr lang="en-CA" dirty="0" err="1"/>
              <a:t>ereste</a:t>
            </a:r>
            <a:r>
              <a:rPr lang="en-CA" dirty="0"/>
              <a:t> dis </a:t>
            </a:r>
            <a:r>
              <a:rPr lang="en-CA" dirty="0" err="1"/>
              <a:t>evenduci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di </a:t>
            </a:r>
            <a:r>
              <a:rPr lang="en-CA" dirty="0" err="1"/>
              <a:t>doluptatem</a:t>
            </a:r>
            <a:r>
              <a:rPr lang="en-CA" dirty="0"/>
              <a:t> in </a:t>
            </a:r>
            <a:r>
              <a:rPr lang="en-CA" dirty="0" err="1"/>
              <a:t>pla</a:t>
            </a:r>
            <a:r>
              <a:rPr lang="en-CA" dirty="0"/>
              <a:t> volent </a:t>
            </a:r>
            <a:r>
              <a:rPr lang="en-CA" dirty="0" err="1"/>
              <a:t>volupitatur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ommolupta</a:t>
            </a:r>
            <a:r>
              <a:rPr lang="en-CA" dirty="0"/>
              <a:t> </a:t>
            </a:r>
            <a:r>
              <a:rPr lang="en-CA" dirty="0" err="1"/>
              <a:t>exeritatium</a:t>
            </a:r>
            <a:r>
              <a:rPr lang="en-CA" dirty="0"/>
              <a:t> quat </a:t>
            </a:r>
            <a:r>
              <a:rPr lang="en-CA" dirty="0" err="1"/>
              <a:t>eatiam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molorum</a:t>
            </a:r>
            <a:r>
              <a:rPr lang="en-CA" dirty="0"/>
              <a:t> </a:t>
            </a:r>
            <a:r>
              <a:rPr lang="en-CA" dirty="0" err="1"/>
              <a:t>ditatemodi</a:t>
            </a:r>
            <a:r>
              <a:rPr lang="en-CA" dirty="0"/>
              <a:t> </a:t>
            </a:r>
            <a:r>
              <a:rPr lang="en-CA" dirty="0" err="1"/>
              <a:t>denestium</a:t>
            </a:r>
            <a:r>
              <a:rPr lang="en-CA" dirty="0"/>
              <a:t> </a:t>
            </a:r>
            <a:r>
              <a:rPr lang="en-CA" dirty="0" err="1"/>
              <a:t>rerit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At </a:t>
            </a:r>
            <a:r>
              <a:rPr lang="en-CA" dirty="0" err="1"/>
              <a:t>quias</a:t>
            </a:r>
            <a:r>
              <a:rPr lang="en-CA" dirty="0"/>
              <a:t> </a:t>
            </a:r>
            <a:r>
              <a:rPr lang="en-CA" dirty="0" err="1"/>
              <a:t>dollenti</a:t>
            </a:r>
            <a:r>
              <a:rPr lang="en-CA" dirty="0"/>
              <a:t> </a:t>
            </a:r>
            <a:r>
              <a:rPr lang="en-CA" dirty="0" err="1"/>
              <a:t>officaturit</a:t>
            </a:r>
            <a:r>
              <a:rPr lang="en-CA" dirty="0"/>
              <a:t> </a:t>
            </a:r>
            <a:r>
              <a:rPr lang="en-CA" dirty="0" err="1"/>
              <a:t>volorem</a:t>
            </a:r>
            <a:r>
              <a:rPr lang="en-CA" dirty="0"/>
              <a:t> quos </a:t>
            </a:r>
            <a:r>
              <a:rPr lang="en-CA" dirty="0" err="1"/>
              <a:t>mos</a:t>
            </a:r>
            <a:r>
              <a:rPr lang="en-CA" dirty="0"/>
              <a:t> </a:t>
            </a:r>
            <a:r>
              <a:rPr lang="en-CA" dirty="0" err="1"/>
              <a:t>iunt</a:t>
            </a:r>
            <a:r>
              <a:rPr lang="en-CA" dirty="0"/>
              <a:t>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8BB05E-CF7B-4BF1-9210-D6D8A76F2F8B}"/>
              </a:ext>
            </a:extLst>
          </p:cNvPr>
          <p:cNvSpPr/>
          <p:nvPr/>
        </p:nvSpPr>
        <p:spPr>
          <a:xfrm>
            <a:off x="6286501" y="435429"/>
            <a:ext cx="2476500" cy="64008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52400" dist="1524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Shape 1038">
            <a:extLst>
              <a:ext uri="{FF2B5EF4-FFF2-40B4-BE49-F238E27FC236}">
                <a16:creationId xmlns:a16="http://schemas.microsoft.com/office/drawing/2014/main" id="{659F2D61-FF12-4FFA-8709-24737293A1FD}"/>
              </a:ext>
            </a:extLst>
          </p:cNvPr>
          <p:cNvSpPr/>
          <p:nvPr/>
        </p:nvSpPr>
        <p:spPr>
          <a:xfrm>
            <a:off x="6269151" y="934204"/>
            <a:ext cx="2493849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2</a:t>
            </a:r>
            <a:r>
              <a:rPr sz="4800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%</a:t>
            </a:r>
          </a:p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  <p:sp>
        <p:nvSpPr>
          <p:cNvPr id="13" name="Shape 1038">
            <a:extLst>
              <a:ext uri="{FF2B5EF4-FFF2-40B4-BE49-F238E27FC236}">
                <a16:creationId xmlns:a16="http://schemas.microsoft.com/office/drawing/2014/main" id="{3E8DE103-B1A2-471A-9C1F-65F5D860C8D8}"/>
              </a:ext>
            </a:extLst>
          </p:cNvPr>
          <p:cNvSpPr/>
          <p:nvPr/>
        </p:nvSpPr>
        <p:spPr>
          <a:xfrm>
            <a:off x="6269151" y="2982376"/>
            <a:ext cx="2493849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0</a:t>
            </a:r>
            <a:r>
              <a:rPr sz="4800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%</a:t>
            </a:r>
          </a:p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  <p:sp>
        <p:nvSpPr>
          <p:cNvPr id="14" name="Shape 1038">
            <a:extLst>
              <a:ext uri="{FF2B5EF4-FFF2-40B4-BE49-F238E27FC236}">
                <a16:creationId xmlns:a16="http://schemas.microsoft.com/office/drawing/2014/main" id="{9E3F9530-F1CF-4185-BEE9-F49239FA0829}"/>
              </a:ext>
            </a:extLst>
          </p:cNvPr>
          <p:cNvSpPr/>
          <p:nvPr/>
        </p:nvSpPr>
        <p:spPr>
          <a:xfrm>
            <a:off x="6269151" y="5189394"/>
            <a:ext cx="2493849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2</a:t>
            </a:r>
            <a:r>
              <a:rPr sz="4800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%</a:t>
            </a:r>
          </a:p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92661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D5AD7005-0841-D455-2FF6-0AD036F33F9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6500" y="0"/>
            <a:ext cx="5905500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3F3B38-958C-669E-56AB-7323D962E2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Header Text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9836FD-0C8B-BB99-D40F-4C9F0BAF7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3D29849-8690-459B-85F6-DF1AF69C29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5EC0DB-6B47-4BC1-8623-5A4B5ADC35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34E6901-584F-F36F-40DF-927DC87550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CA" sz="1600" dirty="0">
                <a:effectLst/>
                <a:cs typeface="Sora" pitchFamily="2" charset="0"/>
              </a:rPr>
              <a:t>Et la dis </a:t>
            </a:r>
            <a:r>
              <a:rPr lang="en-CA" sz="1600" dirty="0" err="1">
                <a:effectLst/>
                <a:cs typeface="Sora" pitchFamily="2" charset="0"/>
              </a:rPr>
              <a:t>ut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ullis</a:t>
            </a:r>
            <a:r>
              <a:rPr lang="en-CA" sz="1600" dirty="0">
                <a:effectLst/>
                <a:cs typeface="Sora" pitchFamily="2" charset="0"/>
              </a:rPr>
              <a:t> di </a:t>
            </a:r>
            <a:r>
              <a:rPr lang="en-CA" sz="1600" dirty="0" err="1">
                <a:effectLst/>
                <a:cs typeface="Sora" pitchFamily="2" charset="0"/>
              </a:rPr>
              <a:t>vidiciam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consenis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sequis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estione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eaquias</a:t>
            </a:r>
            <a:r>
              <a:rPr lang="en-CA" sz="1600" dirty="0">
                <a:effectLst/>
                <a:cs typeface="Sora" pitchFamily="2" charset="0"/>
              </a:rPr>
              <a:t> rem rerum </a:t>
            </a:r>
            <a:r>
              <a:rPr lang="en-CA" sz="1600" dirty="0" err="1">
                <a:effectLst/>
                <a:cs typeface="Sora" pitchFamily="2" charset="0"/>
              </a:rPr>
              <a:t>dolupides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auda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est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harum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ipisimint</a:t>
            </a:r>
            <a:r>
              <a:rPr lang="en-CA" sz="1600" dirty="0">
                <a:effectLst/>
                <a:cs typeface="Sora" pitchFamily="2" charset="0"/>
              </a:rPr>
              <a:t> dem </a:t>
            </a:r>
            <a:r>
              <a:rPr lang="en-CA" sz="1600" dirty="0" err="1">
                <a:effectLst/>
                <a:cs typeface="Sora" pitchFamily="2" charset="0"/>
              </a:rPr>
              <a:t>dem</a:t>
            </a:r>
            <a:r>
              <a:rPr lang="en-CA" sz="1600" dirty="0">
                <a:effectLst/>
                <a:cs typeface="Sora" pitchFamily="2" charset="0"/>
              </a:rPr>
              <a:t> ex et </a:t>
            </a:r>
            <a:r>
              <a:rPr lang="en-CA" sz="1600" dirty="0" err="1">
                <a:effectLst/>
                <a:cs typeface="Sora" pitchFamily="2" charset="0"/>
              </a:rPr>
              <a:t>quod</a:t>
            </a:r>
            <a:r>
              <a:rPr lang="en-CA" sz="1600" dirty="0">
                <a:effectLst/>
                <a:cs typeface="Sora" pitchFamily="2" charset="0"/>
              </a:rPr>
              <a:t> quasit, </a:t>
            </a:r>
            <a:r>
              <a:rPr lang="en-CA" sz="1600" dirty="0" err="1">
                <a:effectLst/>
                <a:cs typeface="Sora" pitchFamily="2" charset="0"/>
              </a:rPr>
              <a:t>cus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miliqui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beatiam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everumquia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simoles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sequisqui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doluptin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cus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minte</a:t>
            </a:r>
            <a:r>
              <a:rPr lang="en-CA" sz="1600" dirty="0">
                <a:effectLst/>
                <a:cs typeface="Sora" pitchFamily="2" charset="0"/>
              </a:rPr>
              <a:t> ped </a:t>
            </a:r>
            <a:r>
              <a:rPr lang="en-CA" sz="1600" dirty="0" err="1">
                <a:effectLst/>
                <a:cs typeface="Sora" pitchFamily="2" charset="0"/>
              </a:rPr>
              <a:t>ut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occat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aut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eos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sandestia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iusam</a:t>
            </a:r>
            <a:r>
              <a:rPr lang="en-CA" sz="1600" dirty="0">
                <a:effectLst/>
                <a:cs typeface="Sora" pitchFamily="2" charset="0"/>
              </a:rPr>
              <a:t> as </a:t>
            </a:r>
            <a:r>
              <a:rPr lang="en-CA" sz="1600" dirty="0" err="1">
                <a:effectLst/>
                <a:cs typeface="Sora" pitchFamily="2" charset="0"/>
              </a:rPr>
              <a:t>restis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erspern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ut</a:t>
            </a:r>
            <a:r>
              <a:rPr lang="en-CA" sz="1600" dirty="0">
                <a:effectLst/>
                <a:cs typeface="Sora" pitchFamily="2" charset="0"/>
              </a:rPr>
              <a:t> labor </a:t>
            </a:r>
            <a:r>
              <a:rPr lang="en-CA" sz="1600" dirty="0" err="1">
                <a:effectLst/>
                <a:cs typeface="Sora" pitchFamily="2" charset="0"/>
              </a:rPr>
              <a:t>mostrum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entore</a:t>
            </a:r>
            <a:r>
              <a:rPr lang="en-CA" sz="1600" dirty="0">
                <a:effectLst/>
                <a:cs typeface="Sora" pitchFamily="2" charset="0"/>
              </a:rPr>
              <a:t> </a:t>
            </a:r>
            <a:r>
              <a:rPr lang="en-CA" sz="1600" dirty="0" err="1">
                <a:effectLst/>
                <a:cs typeface="Sora" pitchFamily="2" charset="0"/>
              </a:rPr>
              <a:t>ducium</a:t>
            </a:r>
            <a:r>
              <a:rPr lang="en-CA" sz="1600" dirty="0">
                <a:effectLst/>
                <a:cs typeface="Sora" pitchFamily="2" charset="0"/>
              </a:rPr>
              <a:t> sit </a:t>
            </a:r>
            <a:r>
              <a:rPr lang="en-CA" sz="1600" dirty="0" err="1">
                <a:effectLst/>
                <a:cs typeface="Sora" pitchFamily="2" charset="0"/>
              </a:rPr>
              <a:t>latiunt</a:t>
            </a:r>
            <a:r>
              <a:rPr lang="en-CA" sz="1600" dirty="0">
                <a:effectLst/>
                <a:cs typeface="Sora" pitchFamily="2" charset="0"/>
              </a:rPr>
              <a:t>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8BB05E-CF7B-4BF1-9210-D6D8A76F2F8B}"/>
              </a:ext>
            </a:extLst>
          </p:cNvPr>
          <p:cNvSpPr/>
          <p:nvPr/>
        </p:nvSpPr>
        <p:spPr>
          <a:xfrm>
            <a:off x="-1" y="4027715"/>
            <a:ext cx="7903029" cy="222068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52400" dist="152400" dir="2700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Shape 1038">
            <a:extLst>
              <a:ext uri="{FF2B5EF4-FFF2-40B4-BE49-F238E27FC236}">
                <a16:creationId xmlns:a16="http://schemas.microsoft.com/office/drawing/2014/main" id="{3E8DE103-B1A2-471A-9C1F-65F5D860C8D8}"/>
              </a:ext>
            </a:extLst>
          </p:cNvPr>
          <p:cNvSpPr/>
          <p:nvPr/>
        </p:nvSpPr>
        <p:spPr>
          <a:xfrm>
            <a:off x="174168" y="4571689"/>
            <a:ext cx="2493849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0</a:t>
            </a:r>
            <a:r>
              <a:rPr sz="4800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%</a:t>
            </a:r>
          </a:p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  <p:sp>
        <p:nvSpPr>
          <p:cNvPr id="14" name="Shape 1038">
            <a:extLst>
              <a:ext uri="{FF2B5EF4-FFF2-40B4-BE49-F238E27FC236}">
                <a16:creationId xmlns:a16="http://schemas.microsoft.com/office/drawing/2014/main" id="{9E3F9530-F1CF-4185-BEE9-F49239FA0829}"/>
              </a:ext>
            </a:extLst>
          </p:cNvPr>
          <p:cNvSpPr/>
          <p:nvPr/>
        </p:nvSpPr>
        <p:spPr>
          <a:xfrm>
            <a:off x="2720405" y="4558024"/>
            <a:ext cx="2493849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2</a:t>
            </a:r>
            <a:r>
              <a:rPr sz="4800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%</a:t>
            </a:r>
          </a:p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  <p:sp>
        <p:nvSpPr>
          <p:cNvPr id="4" name="Shape 1038">
            <a:extLst>
              <a:ext uri="{FF2B5EF4-FFF2-40B4-BE49-F238E27FC236}">
                <a16:creationId xmlns:a16="http://schemas.microsoft.com/office/drawing/2014/main" id="{C99A2DFC-332F-5DDB-72F1-7CE11E920234}"/>
              </a:ext>
            </a:extLst>
          </p:cNvPr>
          <p:cNvSpPr/>
          <p:nvPr/>
        </p:nvSpPr>
        <p:spPr>
          <a:xfrm>
            <a:off x="5213743" y="4571689"/>
            <a:ext cx="2493849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0</a:t>
            </a:r>
            <a:r>
              <a:rPr sz="4800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%</a:t>
            </a:r>
          </a:p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96237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2EC5D5ED-D5D8-4830-A2B4-BF4476B331DE}"/>
              </a:ext>
            </a:extLst>
          </p:cNvPr>
          <p:cNvGraphicFramePr>
            <a:graphicFrameLocks noGrp="1"/>
          </p:cNvGraphicFramePr>
          <p:nvPr>
            <p:ph type="chart" sz="quarter" idx="17"/>
            <p:extLst>
              <p:ext uri="{D42A27DB-BD31-4B8C-83A1-F6EECF244321}">
                <p14:modId xmlns:p14="http://schemas.microsoft.com/office/powerpoint/2010/main" val="3019417986"/>
              </p:ext>
            </p:extLst>
          </p:nvPr>
        </p:nvGraphicFramePr>
        <p:xfrm>
          <a:off x="3352800" y="1371600"/>
          <a:ext cx="82296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363AEF2-1F8E-0299-E4FF-511B015D9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548ECA-D5A8-82BF-8320-3446A5B613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B020BD-F139-3979-8CAD-F6C596224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B97876-3E54-E8DC-0F3E-AB42B71B4A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Et la dis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llis</a:t>
            </a:r>
            <a:r>
              <a:rPr lang="en-US" dirty="0"/>
              <a:t> di </a:t>
            </a:r>
            <a:r>
              <a:rPr lang="en-US" dirty="0" err="1"/>
              <a:t>vidiciam</a:t>
            </a:r>
            <a:r>
              <a:rPr lang="en-US" dirty="0"/>
              <a:t> </a:t>
            </a:r>
            <a:r>
              <a:rPr lang="en-US" dirty="0" err="1"/>
              <a:t>consenis</a:t>
            </a:r>
            <a:endParaRPr lang="en-US" dirty="0"/>
          </a:p>
          <a:p>
            <a:r>
              <a:rPr lang="en-US" dirty="0" err="1"/>
              <a:t>sequis</a:t>
            </a:r>
            <a:r>
              <a:rPr lang="en-US" dirty="0"/>
              <a:t> </a:t>
            </a:r>
            <a:r>
              <a:rPr lang="en-US" dirty="0" err="1"/>
              <a:t>estione</a:t>
            </a:r>
            <a:r>
              <a:rPr lang="en-US" dirty="0"/>
              <a:t> </a:t>
            </a:r>
            <a:r>
              <a:rPr lang="en-US" dirty="0" err="1"/>
              <a:t>eaquias</a:t>
            </a:r>
            <a:r>
              <a:rPr lang="en-US" dirty="0"/>
              <a:t> rem rerum </a:t>
            </a:r>
            <a:r>
              <a:rPr lang="en-US" dirty="0" err="1"/>
              <a:t>dolupides</a:t>
            </a:r>
            <a:r>
              <a:rPr lang="en-US" dirty="0"/>
              <a:t>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est</a:t>
            </a:r>
            <a:endParaRPr lang="en-US" dirty="0"/>
          </a:p>
          <a:p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ipisimint</a:t>
            </a:r>
            <a:r>
              <a:rPr lang="en-US" dirty="0"/>
              <a:t> dem </a:t>
            </a:r>
            <a:r>
              <a:rPr lang="en-US" dirty="0" err="1"/>
              <a:t>dem</a:t>
            </a:r>
            <a:r>
              <a:rPr lang="en-US" dirty="0"/>
              <a:t> ex et </a:t>
            </a:r>
            <a:r>
              <a:rPr lang="en-US" dirty="0" err="1"/>
              <a:t>quod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07F51A-A3C0-7B85-C8D4-AE842174521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Et la dis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llis</a:t>
            </a:r>
            <a:r>
              <a:rPr lang="en-US" dirty="0"/>
              <a:t> di </a:t>
            </a:r>
            <a:r>
              <a:rPr lang="en-US" dirty="0" err="1"/>
              <a:t>vidiciam</a:t>
            </a:r>
            <a:r>
              <a:rPr lang="en-US" dirty="0"/>
              <a:t> </a:t>
            </a:r>
            <a:r>
              <a:rPr lang="en-US" dirty="0" err="1"/>
              <a:t>consenis</a:t>
            </a:r>
            <a:endParaRPr lang="en-US" dirty="0"/>
          </a:p>
          <a:p>
            <a:r>
              <a:rPr lang="en-US" dirty="0" err="1"/>
              <a:t>sequis</a:t>
            </a:r>
            <a:r>
              <a:rPr lang="en-US" dirty="0"/>
              <a:t> </a:t>
            </a:r>
            <a:r>
              <a:rPr lang="en-US" dirty="0" err="1"/>
              <a:t>estione</a:t>
            </a:r>
            <a:r>
              <a:rPr lang="en-US" dirty="0"/>
              <a:t> </a:t>
            </a:r>
            <a:r>
              <a:rPr lang="en-US" dirty="0" err="1"/>
              <a:t>eaquias</a:t>
            </a:r>
            <a:r>
              <a:rPr lang="en-US" dirty="0"/>
              <a:t> rem rerum </a:t>
            </a:r>
            <a:r>
              <a:rPr lang="en-US" dirty="0" err="1"/>
              <a:t>dolupides</a:t>
            </a:r>
            <a:r>
              <a:rPr lang="en-US" dirty="0"/>
              <a:t>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est</a:t>
            </a:r>
            <a:endParaRPr lang="en-US" dirty="0"/>
          </a:p>
          <a:p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ipisimint</a:t>
            </a:r>
            <a:r>
              <a:rPr lang="en-US" dirty="0"/>
              <a:t> dem </a:t>
            </a:r>
            <a:r>
              <a:rPr lang="en-US" dirty="0" err="1"/>
              <a:t>dem</a:t>
            </a:r>
            <a:r>
              <a:rPr lang="en-US" dirty="0"/>
              <a:t> ex et </a:t>
            </a:r>
            <a:r>
              <a:rPr lang="en-US" dirty="0" err="1"/>
              <a:t>quo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80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9C4CF5CD-A16F-3F67-55DD-A923713CAD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7565963"/>
              </p:ext>
            </p:extLst>
          </p:nvPr>
        </p:nvGraphicFramePr>
        <p:xfrm>
          <a:off x="3799001" y="916516"/>
          <a:ext cx="7617605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363AEF2-1F8E-0299-E4FF-511B015D9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goes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548ECA-D5A8-82BF-8320-3446A5B613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B020BD-F139-3979-8CAD-F6C596224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B97876-3E54-E8DC-0F3E-AB42B71B4A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Et la dis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llis</a:t>
            </a:r>
            <a:r>
              <a:rPr lang="en-US" dirty="0"/>
              <a:t> di </a:t>
            </a:r>
            <a:r>
              <a:rPr lang="en-US" dirty="0" err="1"/>
              <a:t>vidiciam</a:t>
            </a:r>
            <a:r>
              <a:rPr lang="en-US" dirty="0"/>
              <a:t> </a:t>
            </a:r>
            <a:r>
              <a:rPr lang="en-US" dirty="0" err="1"/>
              <a:t>consenis</a:t>
            </a:r>
            <a:endParaRPr lang="en-US" dirty="0"/>
          </a:p>
          <a:p>
            <a:r>
              <a:rPr lang="en-US" dirty="0" err="1"/>
              <a:t>sequis</a:t>
            </a:r>
            <a:r>
              <a:rPr lang="en-US" dirty="0"/>
              <a:t> </a:t>
            </a:r>
            <a:r>
              <a:rPr lang="en-US" dirty="0" err="1"/>
              <a:t>estione</a:t>
            </a:r>
            <a:r>
              <a:rPr lang="en-US" dirty="0"/>
              <a:t> </a:t>
            </a:r>
            <a:r>
              <a:rPr lang="en-US" dirty="0" err="1"/>
              <a:t>eaquias</a:t>
            </a:r>
            <a:r>
              <a:rPr lang="en-US" dirty="0"/>
              <a:t> rem rerum </a:t>
            </a:r>
            <a:r>
              <a:rPr lang="en-US" dirty="0" err="1"/>
              <a:t>dolupides</a:t>
            </a:r>
            <a:r>
              <a:rPr lang="en-US" dirty="0"/>
              <a:t>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est</a:t>
            </a:r>
            <a:endParaRPr lang="en-US" dirty="0"/>
          </a:p>
          <a:p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ipisimint</a:t>
            </a:r>
            <a:r>
              <a:rPr lang="en-US" dirty="0"/>
              <a:t> dem </a:t>
            </a:r>
            <a:r>
              <a:rPr lang="en-US" dirty="0" err="1"/>
              <a:t>dem</a:t>
            </a:r>
            <a:r>
              <a:rPr lang="en-US" dirty="0"/>
              <a:t> ex et </a:t>
            </a:r>
            <a:r>
              <a:rPr lang="en-US" dirty="0" err="1"/>
              <a:t>quod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07F51A-A3C0-7B85-C8D4-AE842174521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Et la dis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llis</a:t>
            </a:r>
            <a:r>
              <a:rPr lang="en-US" dirty="0"/>
              <a:t> di </a:t>
            </a:r>
            <a:r>
              <a:rPr lang="en-US" dirty="0" err="1"/>
              <a:t>vidiciam</a:t>
            </a:r>
            <a:r>
              <a:rPr lang="en-US" dirty="0"/>
              <a:t> </a:t>
            </a:r>
            <a:r>
              <a:rPr lang="en-US" dirty="0" err="1"/>
              <a:t>consenis</a:t>
            </a:r>
            <a:endParaRPr lang="en-US" dirty="0"/>
          </a:p>
          <a:p>
            <a:r>
              <a:rPr lang="en-US" dirty="0" err="1"/>
              <a:t>sequis</a:t>
            </a:r>
            <a:r>
              <a:rPr lang="en-US" dirty="0"/>
              <a:t> </a:t>
            </a:r>
            <a:r>
              <a:rPr lang="en-US" dirty="0" err="1"/>
              <a:t>estione</a:t>
            </a:r>
            <a:r>
              <a:rPr lang="en-US" dirty="0"/>
              <a:t> </a:t>
            </a:r>
            <a:r>
              <a:rPr lang="en-US" dirty="0" err="1"/>
              <a:t>eaquias</a:t>
            </a:r>
            <a:r>
              <a:rPr lang="en-US" dirty="0"/>
              <a:t> rem rerum </a:t>
            </a:r>
            <a:r>
              <a:rPr lang="en-US" dirty="0" err="1"/>
              <a:t>dolupides</a:t>
            </a:r>
            <a:r>
              <a:rPr lang="en-US" dirty="0"/>
              <a:t>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est</a:t>
            </a:r>
            <a:endParaRPr lang="en-US" dirty="0"/>
          </a:p>
          <a:p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ipisimint</a:t>
            </a:r>
            <a:r>
              <a:rPr lang="en-US" dirty="0"/>
              <a:t> dem </a:t>
            </a:r>
            <a:r>
              <a:rPr lang="en-US" dirty="0" err="1"/>
              <a:t>dem</a:t>
            </a:r>
            <a:r>
              <a:rPr lang="en-US" dirty="0"/>
              <a:t> ex et </a:t>
            </a:r>
            <a:r>
              <a:rPr lang="en-US" dirty="0" err="1"/>
              <a:t>quo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7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E12262A6-F077-6B03-326B-E3929390DE1A}"/>
              </a:ext>
            </a:extLst>
          </p:cNvPr>
          <p:cNvPicPr>
            <a:picLocks noGrp="1" noChangeAspect="1"/>
          </p:cNvPicPr>
          <p:nvPr>
            <p:ph type="pic" sz="quarter" idx="3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57200"/>
            <a:ext cx="1828800" cy="1828800"/>
          </a:xfrm>
        </p:spPr>
      </p:pic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CA91208D-FE78-D79D-BCEB-6A4E77D4EA8E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3027" y="457200"/>
            <a:ext cx="1845733" cy="1828800"/>
          </a:xfrm>
        </p:spPr>
      </p:pic>
      <p:pic>
        <p:nvPicPr>
          <p:cNvPr id="23" name="Picture Placeholder 22" descr="A person and person looking at a tablet&#10;&#10;Description automatically generated">
            <a:extLst>
              <a:ext uri="{FF2B5EF4-FFF2-40B4-BE49-F238E27FC236}">
                <a16:creationId xmlns:a16="http://schemas.microsoft.com/office/drawing/2014/main" id="{8FF9CE77-587E-0D1B-7116-1AC725D5611F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767" y="457200"/>
            <a:ext cx="1845733" cy="1828800"/>
          </a:xfrm>
        </p:spPr>
      </p:pic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693CF2BA-9075-4CBE-FA08-93B980EDB7F6}"/>
              </a:ext>
            </a:extLst>
          </p:cNvPr>
          <p:cNvPicPr>
            <a:picLocks noGrp="1" noChangeAspect="1"/>
          </p:cNvPicPr>
          <p:nvPr>
            <p:ph type="pic" sz="quarter" idx="3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438400"/>
            <a:ext cx="1828798" cy="1828800"/>
          </a:xfrm>
        </p:spPr>
      </p:pic>
      <p:pic>
        <p:nvPicPr>
          <p:cNvPr id="27" name="Picture Placeholder 26" descr="Men walking in a hallway&#10;&#10;Description automatically generated">
            <a:extLst>
              <a:ext uri="{FF2B5EF4-FFF2-40B4-BE49-F238E27FC236}">
                <a16:creationId xmlns:a16="http://schemas.microsoft.com/office/drawing/2014/main" id="{2C0AC9F0-FD0B-5212-31C0-2C2E8C73FFC3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23027" y="2438400"/>
            <a:ext cx="1845733" cy="1828800"/>
          </a:xfrm>
        </p:spPr>
      </p:pic>
      <p:pic>
        <p:nvPicPr>
          <p:cNvPr id="29" name="Picture Placeholder 28" descr="A person standing in an office&#10;&#10;Description automatically generated">
            <a:extLst>
              <a:ext uri="{FF2B5EF4-FFF2-40B4-BE49-F238E27FC236}">
                <a16:creationId xmlns:a16="http://schemas.microsoft.com/office/drawing/2014/main" id="{A7C3144C-47F3-B7DF-8103-C3D17BDC67A1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59767" y="2438400"/>
            <a:ext cx="1845733" cy="1828800"/>
          </a:xfrm>
        </p:spPr>
      </p:pic>
      <p:pic>
        <p:nvPicPr>
          <p:cNvPr id="33" name="Picture Placeholder 32">
            <a:extLst>
              <a:ext uri="{FF2B5EF4-FFF2-40B4-BE49-F238E27FC236}">
                <a16:creationId xmlns:a16="http://schemas.microsoft.com/office/drawing/2014/main" id="{C9DC6C06-F858-7CCC-AFE1-D4899DBE9CB8}"/>
              </a:ext>
            </a:extLst>
          </p:cNvPr>
          <p:cNvPicPr>
            <a:picLocks noGrp="1" noChangeAspect="1"/>
          </p:cNvPicPr>
          <p:nvPr>
            <p:ph type="pic" sz="quarter" idx="39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419600"/>
            <a:ext cx="1828798" cy="1828800"/>
          </a:xfrm>
        </p:spPr>
      </p:pic>
      <p:pic>
        <p:nvPicPr>
          <p:cNvPr id="31" name="Picture Placeholder 30" descr="A person sitting in a chair looking out a window&#10;&#10;Description automatically generated">
            <a:extLst>
              <a:ext uri="{FF2B5EF4-FFF2-40B4-BE49-F238E27FC236}">
                <a16:creationId xmlns:a16="http://schemas.microsoft.com/office/drawing/2014/main" id="{64E165C8-7241-68BA-625B-3B150EEC2AC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3027" y="4419600"/>
            <a:ext cx="1845733" cy="1828800"/>
          </a:xfrm>
        </p:spPr>
      </p:pic>
      <p:pic>
        <p:nvPicPr>
          <p:cNvPr id="35" name="Picture Placeholder 34" descr="A couple of men sitting on a bench&#10;&#10;Description automatically generated">
            <a:extLst>
              <a:ext uri="{FF2B5EF4-FFF2-40B4-BE49-F238E27FC236}">
                <a16:creationId xmlns:a16="http://schemas.microsoft.com/office/drawing/2014/main" id="{6D5B6894-5FC8-C23E-A15A-1EBBE8D6A6A6}"/>
              </a:ext>
            </a:extLst>
          </p:cNvPr>
          <p:cNvPicPr>
            <a:picLocks noGrp="1" noChangeAspect="1"/>
          </p:cNvPicPr>
          <p:nvPr>
            <p:ph type="pic" sz="quarter" idx="41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767" y="4419600"/>
            <a:ext cx="1845733" cy="1828800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E9911C8-4EB9-5DF5-6744-8990D49764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eader goes her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654EC11-B0D6-9B4C-5578-A4BC17E15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itle of slide goes here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8B9A94E-D594-6DEF-BEC9-CBAEF0F201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EAB519F-1F76-E675-100A-8C91DB4DF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B0F5EF-E8DA-C93F-1985-FB7BF135E0D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CA" dirty="0" err="1"/>
              <a:t>Odi</a:t>
            </a:r>
            <a:r>
              <a:rPr lang="en-CA" dirty="0"/>
              <a:t> con </a:t>
            </a:r>
            <a:r>
              <a:rPr lang="en-CA" dirty="0" err="1"/>
              <a:t>raereris</a:t>
            </a:r>
            <a:r>
              <a:rPr lang="en-CA" dirty="0"/>
              <a:t> </a:t>
            </a:r>
            <a:r>
              <a:rPr lang="en-CA" dirty="0" err="1"/>
              <a:t>ea</a:t>
            </a:r>
            <a:r>
              <a:rPr lang="en-CA" dirty="0"/>
              <a:t> </a:t>
            </a:r>
            <a:r>
              <a:rPr lang="en-CA" dirty="0" err="1"/>
              <a:t>doluptae</a:t>
            </a:r>
            <a:r>
              <a:rPr lang="en-CA" dirty="0"/>
              <a:t> </a:t>
            </a:r>
            <a:r>
              <a:rPr lang="en-CA" dirty="0" err="1"/>
              <a:t>ereste</a:t>
            </a:r>
            <a:r>
              <a:rPr lang="en-CA" dirty="0"/>
              <a:t> dis </a:t>
            </a:r>
            <a:r>
              <a:rPr lang="en-CA" dirty="0" err="1"/>
              <a:t>evenduci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di </a:t>
            </a:r>
            <a:r>
              <a:rPr lang="en-CA" dirty="0" err="1"/>
              <a:t>doluptatem</a:t>
            </a:r>
            <a:r>
              <a:rPr lang="en-CA" dirty="0"/>
              <a:t> in </a:t>
            </a:r>
            <a:r>
              <a:rPr lang="en-CA" dirty="0" err="1"/>
              <a:t>pla</a:t>
            </a:r>
            <a:r>
              <a:rPr lang="en-CA" dirty="0"/>
              <a:t> volent </a:t>
            </a:r>
            <a:r>
              <a:rPr lang="en-CA" dirty="0" err="1"/>
              <a:t>volupitatur</a:t>
            </a:r>
            <a:r>
              <a:rPr lang="en-CA" dirty="0"/>
              <a:t>.</a:t>
            </a:r>
          </a:p>
          <a:p>
            <a:endParaRPr lang="en-US" dirty="0"/>
          </a:p>
        </p:txBody>
      </p:sp>
      <p:graphicFrame>
        <p:nvGraphicFramePr>
          <p:cNvPr id="36" name="Chart 2677">
            <a:extLst>
              <a:ext uri="{FF2B5EF4-FFF2-40B4-BE49-F238E27FC236}">
                <a16:creationId xmlns:a16="http://schemas.microsoft.com/office/drawing/2014/main" id="{D0E96014-A3AF-B229-CB26-07D20D32CE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6458857"/>
              </p:ext>
            </p:extLst>
          </p:nvPr>
        </p:nvGraphicFramePr>
        <p:xfrm>
          <a:off x="6062255" y="2309513"/>
          <a:ext cx="5872570" cy="4380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2909335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erson standing in an office&#10;&#10;Description automatically generated">
            <a:extLst>
              <a:ext uri="{FF2B5EF4-FFF2-40B4-BE49-F238E27FC236}">
                <a16:creationId xmlns:a16="http://schemas.microsoft.com/office/drawing/2014/main" id="{06E5DB85-6977-CAFE-CF91-75373B8EB2A0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3" name="Text Placeholder 1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Header text goes here</a:t>
            </a:r>
          </a:p>
        </p:txBody>
      </p:sp>
      <p:sp>
        <p:nvSpPr>
          <p:cNvPr id="41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0C77E89-EA34-4BE9-A919-D13343F6E1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BCD2567B-6588-4C7E-97F1-E728380D6D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NCR Confidential</a:t>
            </a:r>
          </a:p>
        </p:txBody>
      </p:sp>
      <p:sp>
        <p:nvSpPr>
          <p:cNvPr id="47" name="Content Placeholder 4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sz="1400" dirty="0">
                <a:effectLst/>
                <a:cs typeface="Sora" pitchFamily="2" charset="0"/>
              </a:rPr>
              <a:t>Et la dis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llis</a:t>
            </a:r>
            <a:r>
              <a:rPr lang="en-CA" sz="1400" dirty="0">
                <a:effectLst/>
                <a:cs typeface="Sora" pitchFamily="2" charset="0"/>
              </a:rPr>
              <a:t> di </a:t>
            </a:r>
            <a:r>
              <a:rPr lang="en-CA" sz="1400" dirty="0" err="1">
                <a:effectLst/>
                <a:cs typeface="Sora" pitchFamily="2" charset="0"/>
              </a:rPr>
              <a:t>vidic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ion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aquias</a:t>
            </a:r>
            <a:r>
              <a:rPr lang="en-CA" sz="1400" dirty="0">
                <a:effectLst/>
                <a:cs typeface="Sora" pitchFamily="2" charset="0"/>
              </a:rPr>
              <a:t> rem rerum </a:t>
            </a:r>
            <a:r>
              <a:rPr lang="en-CA" sz="1400" dirty="0" err="1">
                <a:effectLst/>
                <a:cs typeface="Sora" pitchFamily="2" charset="0"/>
              </a:rPr>
              <a:t>dolupide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ud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harum</a:t>
            </a:r>
            <a:r>
              <a:rPr lang="en-CA" sz="1400" dirty="0">
                <a:effectLst/>
                <a:cs typeface="Sora" pitchFamily="2" charset="0"/>
              </a:rPr>
              <a:t>.</a:t>
            </a:r>
          </a:p>
        </p:txBody>
      </p:sp>
      <p:graphicFrame>
        <p:nvGraphicFramePr>
          <p:cNvPr id="29" name="Chart 1568"/>
          <p:cNvGraphicFramePr/>
          <p:nvPr>
            <p:extLst>
              <p:ext uri="{D42A27DB-BD31-4B8C-83A1-F6EECF244321}">
                <p14:modId xmlns:p14="http://schemas.microsoft.com/office/powerpoint/2010/main" val="1291650452"/>
              </p:ext>
            </p:extLst>
          </p:nvPr>
        </p:nvGraphicFramePr>
        <p:xfrm>
          <a:off x="491021" y="2601531"/>
          <a:ext cx="5414479" cy="3829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Shape 1709"/>
          <p:cNvSpPr/>
          <p:nvPr/>
        </p:nvSpPr>
        <p:spPr>
          <a:xfrm rot="5400000">
            <a:off x="9052560" y="3127252"/>
            <a:ext cx="1712975" cy="456590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txBody>
          <a:bodyPr lIns="25400" tIns="25400" rIns="25400" bIns="25400" anchor="ctr"/>
          <a:lstStyle/>
          <a:p>
            <a:pPr defTabSz="457189">
              <a:defRPr sz="32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</a:endParaRPr>
          </a:p>
        </p:txBody>
      </p:sp>
      <p:sp>
        <p:nvSpPr>
          <p:cNvPr id="37" name="Shape 1033"/>
          <p:cNvSpPr/>
          <p:nvPr/>
        </p:nvSpPr>
        <p:spPr>
          <a:xfrm>
            <a:off x="7917180" y="4764613"/>
            <a:ext cx="4000500" cy="11131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sz="5300" kern="0" dirty="0">
                <a:solidFill>
                  <a:schemeClr val="tx2"/>
                </a:solidFill>
                <a:latin typeface="Sora"/>
                <a:ea typeface="Open Sans Extrabold"/>
                <a:cs typeface="Open Sans Extrabold"/>
                <a:sym typeface="Open Sans Bold"/>
              </a:rPr>
              <a:t>95</a:t>
            </a:r>
            <a:r>
              <a:rPr sz="4250" kern="0" dirty="0">
                <a:solidFill>
                  <a:schemeClr val="tx2"/>
                </a:solidFill>
                <a:latin typeface="Sora"/>
                <a:ea typeface="Open Sans Extrabold"/>
                <a:cs typeface="Open Sans Extrabold"/>
                <a:sym typeface="Open Sans Bold"/>
              </a:rPr>
              <a:t>%</a:t>
            </a:r>
          </a:p>
          <a:p>
            <a:pPr algn="ctr" defTabSz="457189"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600" kern="0" dirty="0">
                <a:solidFill>
                  <a:schemeClr val="tx2"/>
                </a:solidFill>
                <a:latin typeface="Sora"/>
                <a:ea typeface="Open Sans Extrabold"/>
                <a:cs typeface="Open Sans Extrabold"/>
                <a:sym typeface="Open Sans Light"/>
              </a:rPr>
              <a:t>Subtitle text goes here</a:t>
            </a:r>
            <a:endParaRPr lang="en-US" sz="1600" kern="0" dirty="0">
              <a:solidFill>
                <a:schemeClr val="tx2"/>
              </a:solidFill>
              <a:latin typeface="Sora"/>
              <a:ea typeface="Open Sans Extrabold"/>
              <a:cs typeface="Open Sans Extrabold"/>
            </a:endParaRPr>
          </a:p>
        </p:txBody>
      </p:sp>
      <p:sp>
        <p:nvSpPr>
          <p:cNvPr id="49" name="Content Placeholder 18"/>
          <p:cNvSpPr txBox="1">
            <a:spLocks/>
          </p:cNvSpPr>
          <p:nvPr/>
        </p:nvSpPr>
        <p:spPr>
          <a:xfrm>
            <a:off x="844552" y="2330350"/>
            <a:ext cx="5134925" cy="36781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67733" bIns="67733" anchor="t" anchorCtr="0">
            <a:noAutofit/>
          </a:bodyPr>
          <a:lstStyle>
            <a:lvl1pPr marL="0" marR="0" indent="0" algn="l" defTabSz="309563" rtl="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400" b="0" i="0" u="none" strike="noStrike" cap="none" spc="0" baseline="0">
                <a:ln>
                  <a:noFill/>
                </a:ln>
                <a:solidFill>
                  <a:schemeClr val="tx2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Open Sans"/>
              </a:defRPr>
            </a:lvl1pPr>
            <a:lvl2pPr marL="171450" marR="0" indent="-171450" algn="l" defTabSz="309563" rtl="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Wingdings" panose="05000000000000000000" pitchFamily="2" charset="2"/>
              <a:buChar char="§"/>
              <a:tabLst/>
              <a:defRPr sz="1400" b="0" i="0" u="none" strike="noStrike" cap="none" spc="0" baseline="0">
                <a:ln>
                  <a:noFill/>
                </a:ln>
                <a:solidFill>
                  <a:schemeClr val="tx2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Open Sans"/>
              </a:defRPr>
            </a:lvl2pPr>
            <a:lvl3pPr marL="342900" marR="0" indent="-171450" algn="l" defTabSz="309563" rtl="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‾"/>
              <a:tabLst/>
              <a:defRPr sz="1400" b="0" i="0" u="none" strike="noStrike" cap="none" spc="0" baseline="0">
                <a:ln>
                  <a:noFill/>
                </a:ln>
                <a:solidFill>
                  <a:schemeClr val="tx2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Open Sans"/>
              </a:defRPr>
            </a:lvl3pPr>
            <a:lvl4pPr marL="514350" marR="0" indent="-171450" algn="l" defTabSz="309563" rtl="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Wingdings" panose="05000000000000000000" pitchFamily="2" charset="2"/>
              <a:buChar char="§"/>
              <a:tabLst/>
              <a:defRPr sz="1200" b="0" i="0" u="none" strike="noStrike" cap="none" spc="0" baseline="0">
                <a:ln>
                  <a:noFill/>
                </a:ln>
                <a:solidFill>
                  <a:schemeClr val="tx2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Open Sans"/>
              </a:defRPr>
            </a:lvl4pPr>
            <a:lvl5pPr marL="628650" marR="0" indent="-114300" algn="l" defTabSz="309563" rtl="0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‾"/>
              <a:tabLst/>
              <a:defRPr sz="1200" b="0" i="0" u="none" strike="noStrike" cap="none" spc="0" baseline="0">
                <a:ln>
                  <a:noFill/>
                </a:ln>
                <a:solidFill>
                  <a:schemeClr val="tx2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Open Sans"/>
              </a:defRPr>
            </a:lvl5pPr>
            <a:lvl6pPr marL="14287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Open Sans"/>
              </a:defRPr>
            </a:lvl6pPr>
            <a:lvl7pPr marL="16668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Open Sans"/>
              </a:defRPr>
            </a:lvl7pPr>
            <a:lvl8pPr marL="19050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Open Sans"/>
              </a:defRPr>
            </a:lvl8pPr>
            <a:lvl9pPr marL="2143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Open Sans"/>
              </a:defRPr>
            </a:lvl9pPr>
          </a:lstStyle>
          <a:p>
            <a:pPr fontAlgn="auto"/>
            <a:endParaRPr lang="en-US" sz="1867" ker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4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A high angle view of women talking&#10;&#10;Description automatically generated">
            <a:extLst>
              <a:ext uri="{FF2B5EF4-FFF2-40B4-BE49-F238E27FC236}">
                <a16:creationId xmlns:a16="http://schemas.microsoft.com/office/drawing/2014/main" id="{AF4CBD4A-5A69-1D29-36B5-854E99B592B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525"/>
            <a:ext cx="5905500" cy="6858000"/>
          </a:xfrm>
        </p:spPr>
      </p:pic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0121ED72-5D04-46BE-9CC5-75DFEB4E62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Header text goes he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3A7824A-D168-4958-AC71-92DA04CBC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E42CD0D0-3049-4B9F-A171-517CC81D7D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>
                <a:sym typeface="Open Sans Bold"/>
              </a:rPr>
              <a:t>Image Title Here</a:t>
            </a:r>
          </a:p>
          <a:p>
            <a:pPr lvl="1"/>
            <a:r>
              <a:rPr lang="en-US">
                <a:sym typeface="Open Sans Light"/>
              </a:rPr>
              <a:t>Body copy text goes here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3F53770-F6FD-475E-B0AB-2DA31BCE2F85}"/>
              </a:ext>
            </a:extLst>
          </p:cNvPr>
          <p:cNvSpPr/>
          <p:nvPr/>
        </p:nvSpPr>
        <p:spPr>
          <a:xfrm>
            <a:off x="3410083" y="447675"/>
            <a:ext cx="2495417" cy="64008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377"/>
            <a:endParaRPr lang="en-US">
              <a:solidFill>
                <a:prstClr val="white"/>
              </a:solidFill>
              <a:latin typeface="Calibri" panose="020F0502020204030204"/>
              <a:ea typeface="Open Sans"/>
            </a:endParaRPr>
          </a:p>
        </p:txBody>
      </p:sp>
      <p:sp>
        <p:nvSpPr>
          <p:cNvPr id="30" name="Shape 1038">
            <a:extLst>
              <a:ext uri="{FF2B5EF4-FFF2-40B4-BE49-F238E27FC236}">
                <a16:creationId xmlns:a16="http://schemas.microsoft.com/office/drawing/2014/main" id="{258B3699-8C36-4FE1-930A-28D869CC938F}"/>
              </a:ext>
            </a:extLst>
          </p:cNvPr>
          <p:cNvSpPr/>
          <p:nvPr/>
        </p:nvSpPr>
        <p:spPr>
          <a:xfrm>
            <a:off x="3409407" y="1108373"/>
            <a:ext cx="2529274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2</a:t>
            </a:r>
            <a:r>
              <a:rPr sz="4800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%</a:t>
            </a:r>
          </a:p>
          <a:p>
            <a:pPr algn="ctr" defTabSz="457189"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  <p:sp>
        <p:nvSpPr>
          <p:cNvPr id="31" name="Shape 1038">
            <a:extLst>
              <a:ext uri="{FF2B5EF4-FFF2-40B4-BE49-F238E27FC236}">
                <a16:creationId xmlns:a16="http://schemas.microsoft.com/office/drawing/2014/main" id="{105CFCDA-4AD6-4F42-87D5-31FDB7A1D3C8}"/>
              </a:ext>
            </a:extLst>
          </p:cNvPr>
          <p:cNvSpPr/>
          <p:nvPr/>
        </p:nvSpPr>
        <p:spPr>
          <a:xfrm>
            <a:off x="3422469" y="3113002"/>
            <a:ext cx="2516211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0</a:t>
            </a:r>
            <a:r>
              <a:rPr sz="4800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%</a:t>
            </a:r>
          </a:p>
          <a:p>
            <a:pPr algn="ctr" defTabSz="457189"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  <p:sp>
        <p:nvSpPr>
          <p:cNvPr id="32" name="Shape 1038">
            <a:extLst>
              <a:ext uri="{FF2B5EF4-FFF2-40B4-BE49-F238E27FC236}">
                <a16:creationId xmlns:a16="http://schemas.microsoft.com/office/drawing/2014/main" id="{22C9972B-0959-488D-A919-8CD8EE7F3619}"/>
              </a:ext>
            </a:extLst>
          </p:cNvPr>
          <p:cNvSpPr/>
          <p:nvPr/>
        </p:nvSpPr>
        <p:spPr>
          <a:xfrm>
            <a:off x="3396343" y="5085882"/>
            <a:ext cx="2542337" cy="995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457189">
              <a:defRPr sz="6000">
                <a:solidFill>
                  <a:srgbClr val="FFFFF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4800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2</a:t>
            </a:r>
            <a:r>
              <a:rPr sz="4800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Bold"/>
              </a:rPr>
              <a:t>5%</a:t>
            </a:r>
          </a:p>
          <a:p>
            <a:pPr algn="ctr" defTabSz="457189">
              <a:defRPr sz="18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333" kern="0" dirty="0">
                <a:solidFill>
                  <a:schemeClr val="bg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  <a:sym typeface="Open Sans Light"/>
              </a:rPr>
              <a:t>Subtitle text goes here</a:t>
            </a:r>
          </a:p>
        </p:txBody>
      </p:sp>
      <p:graphicFrame>
        <p:nvGraphicFramePr>
          <p:cNvPr id="25" name="Chart Placeholder 9">
            <a:extLst>
              <a:ext uri="{FF2B5EF4-FFF2-40B4-BE49-F238E27FC236}">
                <a16:creationId xmlns:a16="http://schemas.microsoft.com/office/drawing/2014/main" id="{C5EE1DF0-63E1-47DA-9BA9-15188AA990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8908411"/>
              </p:ext>
            </p:extLst>
          </p:nvPr>
        </p:nvGraphicFramePr>
        <p:xfrm>
          <a:off x="6253323" y="2627565"/>
          <a:ext cx="5662452" cy="3970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4AA4576-C069-140C-82B3-F71F1B2282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C4E39433-A44F-6315-D207-F7236A63A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7247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3624815338"/>
              </p:ext>
            </p:extLst>
          </p:nvPr>
        </p:nvGraphicFramePr>
        <p:xfrm>
          <a:off x="1" y="2417233"/>
          <a:ext cx="3593975" cy="2863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9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9B3CE9-96FF-438B-BC9B-7B1647A2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Header text goes here</a:t>
            </a:r>
          </a:p>
          <a:p>
            <a:endParaRPr lang="en-US" dirty="0"/>
          </a:p>
        </p:txBody>
      </p:sp>
      <p:sp>
        <p:nvSpPr>
          <p:cNvPr id="50" name="Content Placehold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sym typeface="Open Sans Light"/>
              </a:rPr>
              <a:t>Body copy text goes here.</a:t>
            </a:r>
          </a:p>
        </p:txBody>
      </p:sp>
      <p:sp>
        <p:nvSpPr>
          <p:cNvPr id="2556" name="Shape 2556"/>
          <p:cNvSpPr/>
          <p:nvPr/>
        </p:nvSpPr>
        <p:spPr>
          <a:xfrm>
            <a:off x="631771" y="5300475"/>
            <a:ext cx="2290388" cy="4629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noAutofit/>
          </a:bodyPr>
          <a:lstStyle/>
          <a:p>
            <a:pPr algn="ctr" defTabSz="457189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53585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1200" b="1" kern="0">
                <a:solidFill>
                  <a:schemeClr val="tx2"/>
                </a:solidFill>
                <a:latin typeface="+mn-lt"/>
                <a:ea typeface="Open Sans Bold"/>
                <a:cs typeface="Arial" panose="020B0604020202020204" pitchFamily="34" charset="0"/>
                <a:sym typeface="Open Sans Bold"/>
              </a:rPr>
              <a:t>Header text goes here</a:t>
            </a:r>
          </a:p>
          <a:p>
            <a:pPr algn="ctr" defTabSz="457189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53585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067" kern="0">
                <a:solidFill>
                  <a:schemeClr val="tx2"/>
                </a:solidFill>
                <a:latin typeface="+mn-lt"/>
                <a:ea typeface="Open Sans Light"/>
                <a:cs typeface="Arial" panose="020B0604020202020204" pitchFamily="34" charset="0"/>
                <a:sym typeface="Open Sans Light"/>
              </a:rPr>
              <a:t>Supporting text goes here.</a:t>
            </a:r>
            <a:endParaRPr sz="1067" kern="0">
              <a:solidFill>
                <a:schemeClr val="tx2"/>
              </a:solidFill>
              <a:latin typeface="+mn-lt"/>
              <a:ea typeface="Open Sans Light"/>
              <a:cs typeface="Arial" panose="020B0604020202020204" pitchFamily="34" charset="0"/>
              <a:sym typeface="Open Sans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2229C9-87FE-4DEF-8F9C-B7FD93486C28}"/>
              </a:ext>
            </a:extLst>
          </p:cNvPr>
          <p:cNvSpPr txBox="1"/>
          <p:nvPr/>
        </p:nvSpPr>
        <p:spPr>
          <a:xfrm>
            <a:off x="1118169" y="3499607"/>
            <a:ext cx="1342034" cy="907941"/>
          </a:xfrm>
          <a:prstGeom prst="rect">
            <a:avLst/>
          </a:prstGeom>
          <a:noFill/>
        </p:spPr>
        <p:txBody>
          <a:bodyPr wrap="none" tIns="12192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800" b="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55</a:t>
            </a:r>
            <a:r>
              <a:rPr lang="en-US" sz="3200" b="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%</a:t>
            </a:r>
            <a:endParaRPr lang="en-US" sz="5333" b="1">
              <a:solidFill>
                <a:schemeClr val="tx2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B1506F2C-9C4D-45C6-80BA-55A7FFAF58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2726792"/>
              </p:ext>
            </p:extLst>
          </p:nvPr>
        </p:nvGraphicFramePr>
        <p:xfrm>
          <a:off x="2901839" y="2417233"/>
          <a:ext cx="3748219" cy="2863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3" name="Shape 2556">
            <a:extLst>
              <a:ext uri="{FF2B5EF4-FFF2-40B4-BE49-F238E27FC236}">
                <a16:creationId xmlns:a16="http://schemas.microsoft.com/office/drawing/2014/main" id="{ED819321-34B9-45FD-A4AB-5A9A417576CA}"/>
              </a:ext>
            </a:extLst>
          </p:cNvPr>
          <p:cNvSpPr/>
          <p:nvPr/>
        </p:nvSpPr>
        <p:spPr>
          <a:xfrm>
            <a:off x="3589556" y="5300475"/>
            <a:ext cx="2388685" cy="4629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noAutofit/>
          </a:bodyPr>
          <a:lstStyle/>
          <a:p>
            <a:pPr algn="ctr" defTabSz="457189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53585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1200" b="1" kern="0">
                <a:solidFill>
                  <a:schemeClr val="tx2"/>
                </a:solidFill>
                <a:latin typeface="+mn-lt"/>
                <a:ea typeface="Open Sans Bold"/>
                <a:cs typeface="Arial" panose="020B0604020202020204" pitchFamily="34" charset="0"/>
                <a:sym typeface="Open Sans Bold"/>
              </a:rPr>
              <a:t>Header text goes here</a:t>
            </a:r>
          </a:p>
          <a:p>
            <a:pPr algn="ctr" defTabSz="457189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53585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200" kern="0">
                <a:solidFill>
                  <a:schemeClr val="tx2"/>
                </a:solidFill>
                <a:latin typeface="+mn-lt"/>
                <a:ea typeface="Open Sans Light"/>
                <a:cs typeface="Arial" panose="020B0604020202020204" pitchFamily="34" charset="0"/>
                <a:sym typeface="Open Sans Light"/>
              </a:rPr>
              <a:t>Supporting text goes here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7C70FFF-5DEE-4CE9-9E88-ADC513E682A5}"/>
              </a:ext>
            </a:extLst>
          </p:cNvPr>
          <p:cNvSpPr txBox="1"/>
          <p:nvPr/>
        </p:nvSpPr>
        <p:spPr>
          <a:xfrm>
            <a:off x="4115983" y="3499607"/>
            <a:ext cx="1415903" cy="907941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800" b="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55</a:t>
            </a:r>
            <a:r>
              <a:rPr lang="en-US" sz="3200" b="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%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F70DCF03-8186-4A5C-9573-843852B391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8391630"/>
              </p:ext>
            </p:extLst>
          </p:nvPr>
        </p:nvGraphicFramePr>
        <p:xfrm>
          <a:off x="5955611" y="2417233"/>
          <a:ext cx="3593975" cy="2863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Shape 2556">
            <a:extLst>
              <a:ext uri="{FF2B5EF4-FFF2-40B4-BE49-F238E27FC236}">
                <a16:creationId xmlns:a16="http://schemas.microsoft.com/office/drawing/2014/main" id="{274DA925-BE1A-4A20-AAB7-6694CE6B8522}"/>
              </a:ext>
            </a:extLst>
          </p:cNvPr>
          <p:cNvSpPr/>
          <p:nvPr/>
        </p:nvSpPr>
        <p:spPr>
          <a:xfrm>
            <a:off x="6587382" y="5300475"/>
            <a:ext cx="2290388" cy="4629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noAutofit/>
          </a:bodyPr>
          <a:lstStyle/>
          <a:p>
            <a:pPr algn="ctr" defTabSz="457189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53585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1200" b="1" kern="0">
                <a:solidFill>
                  <a:schemeClr val="tx2"/>
                </a:solidFill>
                <a:latin typeface="+mn-lt"/>
                <a:ea typeface="Open Sans Bold"/>
                <a:cs typeface="Arial" panose="020B0604020202020204" pitchFamily="34" charset="0"/>
                <a:sym typeface="Open Sans Bold"/>
              </a:rPr>
              <a:t>Header text goes here</a:t>
            </a:r>
          </a:p>
          <a:p>
            <a:pPr algn="ctr" defTabSz="457189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53585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200" kern="0">
                <a:solidFill>
                  <a:schemeClr val="tx2"/>
                </a:solidFill>
                <a:latin typeface="+mn-lt"/>
                <a:ea typeface="Open Sans Light"/>
                <a:cs typeface="Arial" panose="020B0604020202020204" pitchFamily="34" charset="0"/>
                <a:sym typeface="Open Sans Light"/>
              </a:rPr>
              <a:t>Supporting text goes here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722D9B2-30F4-47AF-9F2A-23DA510E353B}"/>
              </a:ext>
            </a:extLst>
          </p:cNvPr>
          <p:cNvSpPr txBox="1"/>
          <p:nvPr/>
        </p:nvSpPr>
        <p:spPr>
          <a:xfrm>
            <a:off x="7073779" y="3499607"/>
            <a:ext cx="1342034" cy="907941"/>
          </a:xfrm>
          <a:prstGeom prst="rect">
            <a:avLst/>
          </a:prstGeom>
          <a:noFill/>
        </p:spPr>
        <p:txBody>
          <a:bodyPr wrap="none" tIns="12192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800" b="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55</a:t>
            </a:r>
            <a:r>
              <a:rPr lang="en-US" sz="3200" b="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%</a:t>
            </a:r>
          </a:p>
        </p:txBody>
      </p: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910E6374-EF52-48F8-BAAF-8570C9B942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481046"/>
              </p:ext>
            </p:extLst>
          </p:nvPr>
        </p:nvGraphicFramePr>
        <p:xfrm>
          <a:off x="8857449" y="2417233"/>
          <a:ext cx="3748219" cy="2863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8" name="Shape 2556">
            <a:extLst>
              <a:ext uri="{FF2B5EF4-FFF2-40B4-BE49-F238E27FC236}">
                <a16:creationId xmlns:a16="http://schemas.microsoft.com/office/drawing/2014/main" id="{270BE471-43F6-444A-A5DE-09F716ED997E}"/>
              </a:ext>
            </a:extLst>
          </p:cNvPr>
          <p:cNvSpPr/>
          <p:nvPr/>
        </p:nvSpPr>
        <p:spPr>
          <a:xfrm>
            <a:off x="9545167" y="5300475"/>
            <a:ext cx="2388685" cy="4629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noAutofit/>
          </a:bodyPr>
          <a:lstStyle/>
          <a:p>
            <a:pPr algn="ctr" defTabSz="457189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53585F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US" sz="1200" b="1" kern="0">
                <a:solidFill>
                  <a:schemeClr val="tx2"/>
                </a:solidFill>
                <a:latin typeface="+mn-lt"/>
                <a:ea typeface="Open Sans Bold"/>
                <a:cs typeface="Arial" panose="020B0604020202020204" pitchFamily="34" charset="0"/>
                <a:sym typeface="Open Sans Bold"/>
              </a:rPr>
              <a:t>Header text goes here</a:t>
            </a:r>
          </a:p>
          <a:p>
            <a:pPr algn="ctr" defTabSz="457189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rgbClr val="53585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r>
              <a:rPr lang="en-US" sz="1200" kern="0">
                <a:solidFill>
                  <a:schemeClr val="tx2"/>
                </a:solidFill>
                <a:latin typeface="+mn-lt"/>
                <a:ea typeface="Open Sans Light"/>
                <a:cs typeface="Arial" panose="020B0604020202020204" pitchFamily="34" charset="0"/>
                <a:sym typeface="Open Sans Light"/>
              </a:rPr>
              <a:t>Supporting text goes here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BC98D09-5F16-4F42-B1F9-4A1B4A9F77E7}"/>
              </a:ext>
            </a:extLst>
          </p:cNvPr>
          <p:cNvSpPr txBox="1"/>
          <p:nvPr/>
        </p:nvSpPr>
        <p:spPr>
          <a:xfrm>
            <a:off x="10071594" y="3499607"/>
            <a:ext cx="1415903" cy="907941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800" b="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55</a:t>
            </a:r>
            <a:r>
              <a:rPr lang="en-US" sz="3200" b="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%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CE7C86AB-981E-9518-54E2-3744406A2C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452694F-E0E4-C80F-EA76-BDD3B6DF95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1193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D958B6-DF96-E464-3744-4A875CED0A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6 mill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645202-7424-C63B-A3E4-CDC0EBDDA5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8 million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A3CA7D-518B-7835-F22B-573EF48081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20,000+</a:t>
            </a:r>
          </a:p>
        </p:txBody>
      </p:sp>
      <p:pic>
        <p:nvPicPr>
          <p:cNvPr id="15" name="Picture Placeholder 14" descr="A person in a white coat working on a computer&#10;&#10;Description automatically generated">
            <a:extLst>
              <a:ext uri="{FF2B5EF4-FFF2-40B4-BE49-F238E27FC236}">
                <a16:creationId xmlns:a16="http://schemas.microsoft.com/office/drawing/2014/main" id="{E2428B08-290B-26F2-7160-F670CB25D9B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3806952"/>
            <a:ext cx="3358704" cy="2441448"/>
          </a:xfrm>
        </p:spPr>
      </p:pic>
      <p:pic>
        <p:nvPicPr>
          <p:cNvPr id="17" name="Picture Placeholder 16" descr="A person using a touch screen device&#10;&#10;Description automatically generated">
            <a:extLst>
              <a:ext uri="{FF2B5EF4-FFF2-40B4-BE49-F238E27FC236}">
                <a16:creationId xmlns:a16="http://schemas.microsoft.com/office/drawing/2014/main" id="{3371A288-7A21-6F25-D59C-CFD95026A5DE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9470DDA1-5AB9-DC52-3A6A-2FA6F90EA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goes he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4C9745-8B72-A632-B90C-644DCC8D5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2FCC91C-8376-FCB4-CE83-96E6FF745A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58BFB0-2BAB-EF99-27CE-393D0DC816D0}"/>
              </a:ext>
            </a:extLst>
          </p:cNvPr>
          <p:cNvSpPr txBox="1"/>
          <p:nvPr/>
        </p:nvSpPr>
        <p:spPr>
          <a:xfrm>
            <a:off x="609600" y="2348891"/>
            <a:ext cx="3358705" cy="1080109"/>
          </a:xfrm>
          <a:prstGeom prst="rect">
            <a:avLst/>
          </a:prstGeom>
          <a:noFill/>
        </p:spPr>
        <p:txBody>
          <a:bodyPr wrap="square" lIns="182880" tIns="0" rIns="182880" bIns="0" rtlCol="0" anchor="t" anchorCtr="0">
            <a:noAutofit/>
          </a:bodyPr>
          <a:lstStyle/>
          <a:p>
            <a:r>
              <a:rPr lang="en-US" sz="1800" dirty="0" err="1"/>
              <a:t>Volutpat</a:t>
            </a:r>
            <a:r>
              <a:rPr lang="en-US" sz="1800" dirty="0"/>
              <a:t> sed </a:t>
            </a:r>
            <a:r>
              <a:rPr lang="en-US" sz="1800" dirty="0" err="1"/>
              <a:t>cras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 err="1"/>
              <a:t>ornare</a:t>
            </a:r>
            <a:r>
              <a:rPr lang="en-US" sz="1800" dirty="0"/>
              <a:t> </a:t>
            </a:r>
            <a:r>
              <a:rPr lang="en-US" sz="1800" dirty="0" err="1"/>
              <a:t>arcu</a:t>
            </a:r>
            <a:r>
              <a:rPr lang="en-US" sz="1800" dirty="0"/>
              <a:t> dui </a:t>
            </a:r>
            <a:r>
              <a:rPr lang="en-US" sz="1800" dirty="0" err="1"/>
              <a:t>vivamus</a:t>
            </a:r>
            <a:r>
              <a:rPr lang="en-US" sz="1800" dirty="0"/>
              <a:t> </a:t>
            </a:r>
            <a:r>
              <a:rPr lang="en-US" sz="1800" b="1" dirty="0" err="1"/>
              <a:t>arcu</a:t>
            </a:r>
            <a:r>
              <a:rPr lang="en-US" sz="1800" b="1" dirty="0"/>
              <a:t> </a:t>
            </a:r>
            <a:r>
              <a:rPr lang="en-US" sz="1800" b="1" dirty="0" err="1"/>
              <a:t>felis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5A3BA4-5965-99A0-3C8E-7082D4DF4065}"/>
              </a:ext>
            </a:extLst>
          </p:cNvPr>
          <p:cNvSpPr txBox="1"/>
          <p:nvPr/>
        </p:nvSpPr>
        <p:spPr>
          <a:xfrm>
            <a:off x="4429530" y="2348891"/>
            <a:ext cx="3167772" cy="387305"/>
          </a:xfrm>
          <a:prstGeom prst="rect">
            <a:avLst/>
          </a:prstGeom>
          <a:noFill/>
        </p:spPr>
        <p:txBody>
          <a:bodyPr wrap="square" lIns="182880" tIns="0" rIns="182880" bIns="0" rtlCol="0" anchor="t" anchorCtr="0">
            <a:noAutofit/>
          </a:bodyPr>
          <a:lstStyle/>
          <a:p>
            <a:r>
              <a:rPr lang="en-US" sz="1800" dirty="0" err="1"/>
              <a:t>Volutpat</a:t>
            </a:r>
            <a:r>
              <a:rPr lang="en-US" sz="1800" dirty="0"/>
              <a:t> sed </a:t>
            </a:r>
            <a:r>
              <a:rPr lang="en-US" sz="1800" dirty="0" err="1"/>
              <a:t>cras</a:t>
            </a:r>
            <a:r>
              <a:rPr lang="en-US" sz="1800" dirty="0"/>
              <a:t> </a:t>
            </a:r>
            <a:r>
              <a:rPr lang="en-US" sz="1800" dirty="0" err="1"/>
              <a:t>ornare</a:t>
            </a:r>
            <a:r>
              <a:rPr lang="en-US" sz="1800" dirty="0"/>
              <a:t> </a:t>
            </a:r>
            <a:r>
              <a:rPr lang="en-US" sz="1800" dirty="0" err="1"/>
              <a:t>arcu</a:t>
            </a:r>
            <a:r>
              <a:rPr lang="en-US" sz="1800" dirty="0"/>
              <a:t> </a:t>
            </a:r>
            <a:r>
              <a:rPr lang="en-US" sz="1800" b="1" dirty="0"/>
              <a:t>dui </a:t>
            </a:r>
            <a:r>
              <a:rPr lang="en-US" sz="1800" b="1" dirty="0" err="1"/>
              <a:t>vivamus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1C94E3-D75E-4B16-F88C-B33AD979559A}"/>
              </a:ext>
            </a:extLst>
          </p:cNvPr>
          <p:cNvSpPr txBox="1"/>
          <p:nvPr/>
        </p:nvSpPr>
        <p:spPr>
          <a:xfrm>
            <a:off x="8218651" y="2348891"/>
            <a:ext cx="3345793" cy="387305"/>
          </a:xfrm>
          <a:prstGeom prst="rect">
            <a:avLst/>
          </a:prstGeom>
          <a:noFill/>
        </p:spPr>
        <p:txBody>
          <a:bodyPr wrap="square" lIns="182880" tIns="0" rIns="182880" bIns="0" rtlCol="0" anchor="t" anchorCtr="0">
            <a:noAutofit/>
          </a:bodyPr>
          <a:lstStyle/>
          <a:p>
            <a:r>
              <a:rPr lang="en-US" sz="1800" dirty="0" err="1"/>
              <a:t>Volutpat</a:t>
            </a:r>
            <a:r>
              <a:rPr lang="en-US" sz="1800" dirty="0"/>
              <a:t> sed </a:t>
            </a:r>
            <a:r>
              <a:rPr lang="en-US" sz="1800" dirty="0" err="1"/>
              <a:t>cras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 err="1"/>
              <a:t>ornare</a:t>
            </a:r>
            <a:r>
              <a:rPr lang="en-US" sz="1800" dirty="0"/>
              <a:t> </a:t>
            </a:r>
            <a:r>
              <a:rPr lang="en-US" sz="1800" dirty="0" err="1"/>
              <a:t>arcu</a:t>
            </a:r>
            <a:r>
              <a:rPr lang="en-US" sz="1800" dirty="0"/>
              <a:t> dui </a:t>
            </a:r>
            <a:r>
              <a:rPr lang="en-US" sz="1800" dirty="0" err="1"/>
              <a:t>vivamus</a:t>
            </a:r>
            <a:r>
              <a:rPr lang="en-US" sz="1800" dirty="0"/>
              <a:t> </a:t>
            </a:r>
            <a:r>
              <a:rPr lang="en-US" sz="1800" b="1" dirty="0" err="1"/>
              <a:t>arcu</a:t>
            </a:r>
            <a:r>
              <a:rPr lang="en-US" sz="1800" b="1" dirty="0"/>
              <a:t> </a:t>
            </a:r>
            <a:r>
              <a:rPr lang="en-US" sz="1800" b="1" dirty="0" err="1"/>
              <a:t>felis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23" name="Picture Placeholder 22" descr="A group of people working on computers&#10;&#10;Description automatically generated">
            <a:extLst>
              <a:ext uri="{FF2B5EF4-FFF2-40B4-BE49-F238E27FC236}">
                <a16:creationId xmlns:a16="http://schemas.microsoft.com/office/drawing/2014/main" id="{71494D43-97BC-4B2B-0C92-F98A523E16CF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6676" y="3806952"/>
            <a:ext cx="3358647" cy="2459736"/>
          </a:xfrm>
        </p:spPr>
      </p:pic>
    </p:spTree>
    <p:extLst>
      <p:ext uri="{BB962C8B-B14F-4D97-AF65-F5344CB8AC3E}">
        <p14:creationId xmlns:p14="http://schemas.microsoft.com/office/powerpoint/2010/main" val="376426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861A0-A1AC-5603-EA99-2F697747B0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59D42-CCEE-5B7B-C675-A71B6099CC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itle of presentation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E2609F-C32C-E95F-74F8-B86FA82CC9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esenter’s name goes her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C99B393-7230-ED8B-2358-07E854F4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4F5D434-2704-6F09-390D-DFA96E43D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174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98FC3C-6AB1-4E85-A783-A917D8C03194}"/>
              </a:ext>
            </a:extLst>
          </p:cNvPr>
          <p:cNvGrpSpPr/>
          <p:nvPr/>
        </p:nvGrpSpPr>
        <p:grpSpPr>
          <a:xfrm>
            <a:off x="4522681" y="486063"/>
            <a:ext cx="8254382" cy="4983081"/>
            <a:chOff x="4566289" y="486063"/>
            <a:chExt cx="8254382" cy="4983081"/>
          </a:xfrm>
        </p:grpSpPr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4A689F3E-E8EB-4DC0-B357-FB40F37F42C4}"/>
                </a:ext>
              </a:extLst>
            </p:cNvPr>
            <p:cNvGrpSpPr/>
            <p:nvPr/>
          </p:nvGrpSpPr>
          <p:grpSpPr>
            <a:xfrm>
              <a:off x="4566289" y="486063"/>
              <a:ext cx="8254382" cy="4983081"/>
              <a:chOff x="2721955" y="2414881"/>
              <a:chExt cx="3406444" cy="2056432"/>
            </a:xfrm>
          </p:grpSpPr>
          <p:pic>
            <p:nvPicPr>
              <p:cNvPr id="132" name="Picture 131">
                <a:extLst>
                  <a:ext uri="{FF2B5EF4-FFF2-40B4-BE49-F238E27FC236}">
                    <a16:creationId xmlns:a16="http://schemas.microsoft.com/office/drawing/2014/main" id="{9FADF008-DF2C-4140-8DF1-B7B3883705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2721955" y="2414881"/>
                <a:ext cx="3406444" cy="2056432"/>
              </a:xfrm>
              <a:prstGeom prst="rect">
                <a:avLst/>
              </a:prstGeom>
            </p:spPr>
          </p:pic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FC2E4F24-EE19-475E-ABA2-48AB62FDECAC}"/>
                  </a:ext>
                </a:extLst>
              </p:cNvPr>
              <p:cNvSpPr/>
              <p:nvPr/>
            </p:nvSpPr>
            <p:spPr>
              <a:xfrm>
                <a:off x="3154686" y="2552882"/>
                <a:ext cx="2538889" cy="160273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3C064075-3F06-485F-9348-73FEE66A8498}"/>
                </a:ext>
              </a:extLst>
            </p:cNvPr>
            <p:cNvSpPr/>
            <p:nvPr/>
          </p:nvSpPr>
          <p:spPr>
            <a:xfrm>
              <a:off x="5590049" y="796533"/>
              <a:ext cx="6184742" cy="3907631"/>
            </a:xfrm>
            <a:prstGeom prst="roundRect">
              <a:avLst>
                <a:gd name="adj" fmla="val 105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25" name="Title 24">
            <a:extLst>
              <a:ext uri="{FF2B5EF4-FFF2-40B4-BE49-F238E27FC236}">
                <a16:creationId xmlns:a16="http://schemas.microsoft.com/office/drawing/2014/main" id="{73FB1BFE-7394-47BC-AE4F-F5A45CD2A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goes here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E82A4F23-7BC6-44B0-9D77-19F7C2DE84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371600"/>
            <a:ext cx="3645724" cy="487680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sz="1400" dirty="0" err="1"/>
              <a:t>Volutpat</a:t>
            </a:r>
            <a:r>
              <a:rPr lang="en-US" sz="1400" dirty="0"/>
              <a:t> sed </a:t>
            </a:r>
            <a:r>
              <a:rPr lang="en-US" sz="1400" dirty="0" err="1"/>
              <a:t>cra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 </a:t>
            </a:r>
            <a:r>
              <a:rPr lang="en-US" sz="1400" dirty="0" err="1"/>
              <a:t>arcu</a:t>
            </a:r>
            <a:r>
              <a:rPr lang="en-US" sz="1400" dirty="0"/>
              <a:t> dui </a:t>
            </a:r>
            <a:r>
              <a:rPr lang="en-US" sz="1400" dirty="0" err="1"/>
              <a:t>vivamus</a:t>
            </a:r>
            <a:r>
              <a:rPr lang="en-US" sz="1400" dirty="0"/>
              <a:t>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feli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 </a:t>
            </a:r>
            <a:r>
              <a:rPr lang="en-US" sz="1400" dirty="0" err="1"/>
              <a:t>Tristique</a:t>
            </a:r>
            <a:r>
              <a:rPr lang="en-US" sz="1400" dirty="0"/>
              <a:t> </a:t>
            </a:r>
            <a:r>
              <a:rPr lang="en-US" sz="1400" dirty="0" err="1"/>
              <a:t>nulla</a:t>
            </a:r>
            <a:r>
              <a:rPr lang="en-US" sz="1400" dirty="0"/>
              <a:t> </a:t>
            </a:r>
            <a:r>
              <a:rPr lang="en-US" sz="1400" dirty="0" err="1"/>
              <a:t>aliquet</a:t>
            </a:r>
            <a:r>
              <a:rPr lang="en-US" sz="1400" dirty="0"/>
              <a:t> </a:t>
            </a:r>
            <a:r>
              <a:rPr lang="en-US" sz="1400" dirty="0" err="1"/>
              <a:t>enim</a:t>
            </a:r>
            <a:r>
              <a:rPr lang="en-US" sz="1400" dirty="0"/>
              <a:t> </a:t>
            </a:r>
            <a:r>
              <a:rPr lang="en-US" sz="1400" dirty="0" err="1"/>
              <a:t>tortor</a:t>
            </a:r>
            <a:r>
              <a:rPr lang="en-US" sz="1400" dirty="0"/>
              <a:t> at auctor </a:t>
            </a:r>
            <a:r>
              <a:rPr lang="en-US" sz="1400" dirty="0" err="1"/>
              <a:t>urna</a:t>
            </a:r>
            <a:r>
              <a:rPr lang="en-US" sz="1400" dirty="0"/>
              <a:t> </a:t>
            </a:r>
            <a:r>
              <a:rPr lang="en-US" sz="1400" dirty="0" err="1"/>
              <a:t>nunc</a:t>
            </a:r>
            <a:r>
              <a:rPr lang="en-US" sz="1400" dirty="0"/>
              <a:t>. </a:t>
            </a:r>
            <a:r>
              <a:rPr lang="en-US" sz="1400" dirty="0" err="1"/>
              <a:t>Ame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</a:t>
            </a:r>
            <a:r>
              <a:rPr lang="en-US" sz="1400" dirty="0" err="1"/>
              <a:t>donec</a:t>
            </a:r>
            <a:r>
              <a:rPr lang="en-US" sz="1400" dirty="0"/>
              <a:t> </a:t>
            </a:r>
            <a:r>
              <a:rPr lang="en-US" sz="1400" dirty="0" err="1"/>
              <a:t>enim</a:t>
            </a:r>
            <a:r>
              <a:rPr lang="en-US" sz="1400" dirty="0"/>
              <a:t> diam </a:t>
            </a:r>
            <a:r>
              <a:rPr lang="en-US" sz="1400" dirty="0" err="1"/>
              <a:t>vulputate</a:t>
            </a:r>
            <a:r>
              <a:rPr lang="en-US" sz="1400" dirty="0"/>
              <a:t> </a:t>
            </a:r>
            <a:r>
              <a:rPr lang="en-US" sz="1400" dirty="0" err="1"/>
              <a:t>morbi</a:t>
            </a:r>
            <a:r>
              <a:rPr lang="en-US" sz="1400" dirty="0"/>
              <a:t> </a:t>
            </a:r>
            <a:r>
              <a:rPr lang="en-US" sz="1400" dirty="0" err="1"/>
              <a:t>enim</a:t>
            </a:r>
            <a:r>
              <a:rPr lang="en-US" sz="1400" dirty="0"/>
              <a:t> </a:t>
            </a:r>
            <a:r>
              <a:rPr lang="en-US" sz="1400" dirty="0" err="1"/>
              <a:t>nunc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987843-8581-FA72-9291-C67176DDA074}"/>
              </a:ext>
            </a:extLst>
          </p:cNvPr>
          <p:cNvGrpSpPr/>
          <p:nvPr/>
        </p:nvGrpSpPr>
        <p:grpSpPr>
          <a:xfrm>
            <a:off x="617201" y="3905794"/>
            <a:ext cx="4120478" cy="1780396"/>
            <a:chOff x="800083" y="3905794"/>
            <a:chExt cx="4120478" cy="1780396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41CB15F-A4F0-4D13-8D80-8E67A22EBD3F}"/>
                </a:ext>
              </a:extLst>
            </p:cNvPr>
            <p:cNvSpPr txBox="1"/>
            <p:nvPr/>
          </p:nvSpPr>
          <p:spPr>
            <a:xfrm>
              <a:off x="1598912" y="3981129"/>
              <a:ext cx="1009515" cy="30196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400" b="1">
                  <a:solidFill>
                    <a:schemeClr val="tx2"/>
                  </a:solidFill>
                </a:rPr>
                <a:t>1+ Million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2DD9CAB-FA89-412D-809B-A4AD0823A4FD}"/>
                </a:ext>
              </a:extLst>
            </p:cNvPr>
            <p:cNvSpPr txBox="1"/>
            <p:nvPr/>
          </p:nvSpPr>
          <p:spPr>
            <a:xfrm>
              <a:off x="1598912" y="4225444"/>
              <a:ext cx="1224515" cy="30196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100"/>
                <a:t>Download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7AB01C91-0BC6-45DA-82A9-302EC8ACFDC7}"/>
                </a:ext>
              </a:extLst>
            </p:cNvPr>
            <p:cNvSpPr txBox="1"/>
            <p:nvPr/>
          </p:nvSpPr>
          <p:spPr>
            <a:xfrm>
              <a:off x="1598914" y="5095513"/>
              <a:ext cx="1009515" cy="30196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400" b="1">
                  <a:solidFill>
                    <a:schemeClr val="tx2"/>
                  </a:solidFill>
                </a:rPr>
                <a:t>2380K+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9E3F8B9-595E-411B-B4C9-90AAFF68C8D4}"/>
                </a:ext>
              </a:extLst>
            </p:cNvPr>
            <p:cNvSpPr txBox="1"/>
            <p:nvPr/>
          </p:nvSpPr>
          <p:spPr>
            <a:xfrm>
              <a:off x="1598914" y="5350460"/>
              <a:ext cx="1224513" cy="30196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100"/>
                <a:t>User Active</a:t>
              </a:r>
            </a:p>
          </p:txBody>
        </p:sp>
        <p:sp>
          <p:nvSpPr>
            <p:cNvPr id="121" name="Rounded Rectangle 24">
              <a:extLst>
                <a:ext uri="{FF2B5EF4-FFF2-40B4-BE49-F238E27FC236}">
                  <a16:creationId xmlns:a16="http://schemas.microsoft.com/office/drawing/2014/main" id="{6B059882-56A8-4205-B4A8-9CDF9CBBF7E5}"/>
                </a:ext>
              </a:extLst>
            </p:cNvPr>
            <p:cNvSpPr/>
            <p:nvPr/>
          </p:nvSpPr>
          <p:spPr>
            <a:xfrm>
              <a:off x="807630" y="3905794"/>
              <a:ext cx="608269" cy="617887"/>
            </a:xfrm>
            <a:prstGeom prst="roundRect">
              <a:avLst>
                <a:gd name="adj" fmla="val 13221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25" name="Rounded Rectangle 24">
              <a:extLst>
                <a:ext uri="{FF2B5EF4-FFF2-40B4-BE49-F238E27FC236}">
                  <a16:creationId xmlns:a16="http://schemas.microsoft.com/office/drawing/2014/main" id="{2A6DE7CB-1304-4626-9C98-8A0C93812986}"/>
                </a:ext>
              </a:extLst>
            </p:cNvPr>
            <p:cNvSpPr/>
            <p:nvPr/>
          </p:nvSpPr>
          <p:spPr>
            <a:xfrm>
              <a:off x="807630" y="5067299"/>
              <a:ext cx="608269" cy="617887"/>
            </a:xfrm>
            <a:prstGeom prst="roundRect">
              <a:avLst>
                <a:gd name="adj" fmla="val 13221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2621DDF6-E8C1-446C-B10A-B0C3F6328CE6}"/>
                </a:ext>
              </a:extLst>
            </p:cNvPr>
            <p:cNvGrpSpPr/>
            <p:nvPr/>
          </p:nvGrpSpPr>
          <p:grpSpPr>
            <a:xfrm>
              <a:off x="800083" y="4001895"/>
              <a:ext cx="554631" cy="439271"/>
              <a:chOff x="4089695" y="1333213"/>
              <a:chExt cx="317364" cy="260112"/>
            </a:xfrm>
            <a:solidFill>
              <a:schemeClr val="tx2"/>
            </a:solidFill>
          </p:grpSpPr>
          <p:sp>
            <p:nvSpPr>
              <p:cNvPr id="143" name="Freeform 42">
                <a:extLst>
                  <a:ext uri="{FF2B5EF4-FFF2-40B4-BE49-F238E27FC236}">
                    <a16:creationId xmlns:a16="http://schemas.microsoft.com/office/drawing/2014/main" id="{C39A9F4A-160E-46D1-AF11-3FD6C7DD6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09" y="1333213"/>
                <a:ext cx="278050" cy="179387"/>
              </a:xfrm>
              <a:custGeom>
                <a:avLst/>
                <a:gdLst>
                  <a:gd name="T0" fmla="*/ 180 w 224"/>
                  <a:gd name="T1" fmla="*/ 144 h 144"/>
                  <a:gd name="T2" fmla="*/ 136 w 224"/>
                  <a:gd name="T3" fmla="*/ 144 h 144"/>
                  <a:gd name="T4" fmla="*/ 136 w 224"/>
                  <a:gd name="T5" fmla="*/ 136 h 144"/>
                  <a:gd name="T6" fmla="*/ 180 w 224"/>
                  <a:gd name="T7" fmla="*/ 136 h 144"/>
                  <a:gd name="T8" fmla="*/ 216 w 224"/>
                  <a:gd name="T9" fmla="*/ 100 h 144"/>
                  <a:gd name="T10" fmla="*/ 193 w 224"/>
                  <a:gd name="T11" fmla="*/ 67 h 144"/>
                  <a:gd name="T12" fmla="*/ 191 w 224"/>
                  <a:gd name="T13" fmla="*/ 62 h 144"/>
                  <a:gd name="T14" fmla="*/ 192 w 224"/>
                  <a:gd name="T15" fmla="*/ 56 h 144"/>
                  <a:gd name="T16" fmla="*/ 144 w 224"/>
                  <a:gd name="T17" fmla="*/ 8 h 144"/>
                  <a:gd name="T18" fmla="*/ 96 w 224"/>
                  <a:gd name="T19" fmla="*/ 47 h 144"/>
                  <a:gd name="T20" fmla="*/ 94 w 224"/>
                  <a:gd name="T21" fmla="*/ 50 h 144"/>
                  <a:gd name="T22" fmla="*/ 90 w 224"/>
                  <a:gd name="T23" fmla="*/ 50 h 144"/>
                  <a:gd name="T24" fmla="*/ 72 w 224"/>
                  <a:gd name="T25" fmla="*/ 44 h 144"/>
                  <a:gd name="T26" fmla="*/ 40 w 224"/>
                  <a:gd name="T27" fmla="*/ 76 h 144"/>
                  <a:gd name="T28" fmla="*/ 40 w 224"/>
                  <a:gd name="T29" fmla="*/ 83 h 144"/>
                  <a:gd name="T30" fmla="*/ 39 w 224"/>
                  <a:gd name="T31" fmla="*/ 87 h 144"/>
                  <a:gd name="T32" fmla="*/ 36 w 224"/>
                  <a:gd name="T33" fmla="*/ 88 h 144"/>
                  <a:gd name="T34" fmla="*/ 32 w 224"/>
                  <a:gd name="T35" fmla="*/ 88 h 144"/>
                  <a:gd name="T36" fmla="*/ 8 w 224"/>
                  <a:gd name="T37" fmla="*/ 112 h 144"/>
                  <a:gd name="T38" fmla="*/ 32 w 224"/>
                  <a:gd name="T39" fmla="*/ 136 h 144"/>
                  <a:gd name="T40" fmla="*/ 88 w 224"/>
                  <a:gd name="T41" fmla="*/ 136 h 144"/>
                  <a:gd name="T42" fmla="*/ 88 w 224"/>
                  <a:gd name="T43" fmla="*/ 144 h 144"/>
                  <a:gd name="T44" fmla="*/ 32 w 224"/>
                  <a:gd name="T45" fmla="*/ 144 h 144"/>
                  <a:gd name="T46" fmla="*/ 0 w 224"/>
                  <a:gd name="T47" fmla="*/ 112 h 144"/>
                  <a:gd name="T48" fmla="*/ 32 w 224"/>
                  <a:gd name="T49" fmla="*/ 80 h 144"/>
                  <a:gd name="T50" fmla="*/ 32 w 224"/>
                  <a:gd name="T51" fmla="*/ 80 h 144"/>
                  <a:gd name="T52" fmla="*/ 32 w 224"/>
                  <a:gd name="T53" fmla="*/ 76 h 144"/>
                  <a:gd name="T54" fmla="*/ 72 w 224"/>
                  <a:gd name="T55" fmla="*/ 36 h 144"/>
                  <a:gd name="T56" fmla="*/ 90 w 224"/>
                  <a:gd name="T57" fmla="*/ 40 h 144"/>
                  <a:gd name="T58" fmla="*/ 144 w 224"/>
                  <a:gd name="T59" fmla="*/ 0 h 144"/>
                  <a:gd name="T60" fmla="*/ 200 w 224"/>
                  <a:gd name="T61" fmla="*/ 56 h 144"/>
                  <a:gd name="T62" fmla="*/ 199 w 224"/>
                  <a:gd name="T63" fmla="*/ 61 h 144"/>
                  <a:gd name="T64" fmla="*/ 224 w 224"/>
                  <a:gd name="T65" fmla="*/ 100 h 144"/>
                  <a:gd name="T66" fmla="*/ 180 w 224"/>
                  <a:gd name="T67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4" h="144">
                    <a:moveTo>
                      <a:pt x="180" y="144"/>
                    </a:moveTo>
                    <a:cubicBezTo>
                      <a:pt x="136" y="144"/>
                      <a:pt x="136" y="144"/>
                      <a:pt x="136" y="144"/>
                    </a:cubicBezTo>
                    <a:cubicBezTo>
                      <a:pt x="136" y="136"/>
                      <a:pt x="136" y="136"/>
                      <a:pt x="136" y="136"/>
                    </a:cubicBezTo>
                    <a:cubicBezTo>
                      <a:pt x="180" y="136"/>
                      <a:pt x="180" y="136"/>
                      <a:pt x="180" y="136"/>
                    </a:cubicBezTo>
                    <a:cubicBezTo>
                      <a:pt x="199" y="136"/>
                      <a:pt x="216" y="120"/>
                      <a:pt x="216" y="100"/>
                    </a:cubicBezTo>
                    <a:cubicBezTo>
                      <a:pt x="216" y="85"/>
                      <a:pt x="207" y="72"/>
                      <a:pt x="193" y="67"/>
                    </a:cubicBezTo>
                    <a:cubicBezTo>
                      <a:pt x="192" y="66"/>
                      <a:pt x="191" y="64"/>
                      <a:pt x="191" y="62"/>
                    </a:cubicBezTo>
                    <a:cubicBezTo>
                      <a:pt x="191" y="60"/>
                      <a:pt x="192" y="58"/>
                      <a:pt x="192" y="56"/>
                    </a:cubicBezTo>
                    <a:cubicBezTo>
                      <a:pt x="192" y="29"/>
                      <a:pt x="170" y="8"/>
                      <a:pt x="144" y="8"/>
                    </a:cubicBezTo>
                    <a:cubicBezTo>
                      <a:pt x="120" y="8"/>
                      <a:pt x="100" y="24"/>
                      <a:pt x="96" y="47"/>
                    </a:cubicBezTo>
                    <a:cubicBezTo>
                      <a:pt x="96" y="49"/>
                      <a:pt x="95" y="50"/>
                      <a:pt x="94" y="50"/>
                    </a:cubicBezTo>
                    <a:cubicBezTo>
                      <a:pt x="93" y="51"/>
                      <a:pt x="91" y="51"/>
                      <a:pt x="90" y="50"/>
                    </a:cubicBezTo>
                    <a:cubicBezTo>
                      <a:pt x="85" y="46"/>
                      <a:pt x="78" y="44"/>
                      <a:pt x="72" y="44"/>
                    </a:cubicBezTo>
                    <a:cubicBezTo>
                      <a:pt x="54" y="44"/>
                      <a:pt x="40" y="58"/>
                      <a:pt x="40" y="76"/>
                    </a:cubicBezTo>
                    <a:cubicBezTo>
                      <a:pt x="40" y="78"/>
                      <a:pt x="40" y="81"/>
                      <a:pt x="40" y="83"/>
                    </a:cubicBezTo>
                    <a:cubicBezTo>
                      <a:pt x="41" y="85"/>
                      <a:pt x="40" y="86"/>
                      <a:pt x="39" y="87"/>
                    </a:cubicBezTo>
                    <a:cubicBezTo>
                      <a:pt x="39" y="88"/>
                      <a:pt x="37" y="88"/>
                      <a:pt x="36" y="88"/>
                    </a:cubicBezTo>
                    <a:cubicBezTo>
                      <a:pt x="34" y="88"/>
                      <a:pt x="33" y="88"/>
                      <a:pt x="32" y="88"/>
                    </a:cubicBezTo>
                    <a:cubicBezTo>
                      <a:pt x="18" y="88"/>
                      <a:pt x="8" y="99"/>
                      <a:pt x="8" y="112"/>
                    </a:cubicBezTo>
                    <a:cubicBezTo>
                      <a:pt x="8" y="125"/>
                      <a:pt x="18" y="136"/>
                      <a:pt x="32" y="136"/>
                    </a:cubicBezTo>
                    <a:cubicBezTo>
                      <a:pt x="88" y="136"/>
                      <a:pt x="88" y="136"/>
                      <a:pt x="88" y="136"/>
                    </a:cubicBezTo>
                    <a:cubicBezTo>
                      <a:pt x="88" y="144"/>
                      <a:pt x="88" y="144"/>
                      <a:pt x="88" y="144"/>
                    </a:cubicBezTo>
                    <a:cubicBezTo>
                      <a:pt x="32" y="144"/>
                      <a:pt x="32" y="144"/>
                      <a:pt x="32" y="144"/>
                    </a:cubicBezTo>
                    <a:cubicBezTo>
                      <a:pt x="14" y="144"/>
                      <a:pt x="0" y="129"/>
                      <a:pt x="0" y="112"/>
                    </a:cubicBezTo>
                    <a:cubicBezTo>
                      <a:pt x="0" y="94"/>
                      <a:pt x="14" y="80"/>
                      <a:pt x="32" y="80"/>
                    </a:cubicBezTo>
                    <a:cubicBezTo>
                      <a:pt x="32" y="80"/>
                      <a:pt x="32" y="80"/>
                      <a:pt x="32" y="80"/>
                    </a:cubicBezTo>
                    <a:cubicBezTo>
                      <a:pt x="32" y="78"/>
                      <a:pt x="32" y="77"/>
                      <a:pt x="32" y="76"/>
                    </a:cubicBezTo>
                    <a:cubicBezTo>
                      <a:pt x="32" y="54"/>
                      <a:pt x="49" y="36"/>
                      <a:pt x="72" y="36"/>
                    </a:cubicBezTo>
                    <a:cubicBezTo>
                      <a:pt x="78" y="36"/>
                      <a:pt x="84" y="37"/>
                      <a:pt x="90" y="40"/>
                    </a:cubicBezTo>
                    <a:cubicBezTo>
                      <a:pt x="97" y="17"/>
                      <a:pt x="118" y="0"/>
                      <a:pt x="144" y="0"/>
                    </a:cubicBezTo>
                    <a:cubicBezTo>
                      <a:pt x="174" y="0"/>
                      <a:pt x="200" y="25"/>
                      <a:pt x="200" y="56"/>
                    </a:cubicBezTo>
                    <a:cubicBezTo>
                      <a:pt x="200" y="57"/>
                      <a:pt x="199" y="59"/>
                      <a:pt x="199" y="61"/>
                    </a:cubicBezTo>
                    <a:cubicBezTo>
                      <a:pt x="214" y="68"/>
                      <a:pt x="224" y="83"/>
                      <a:pt x="224" y="100"/>
                    </a:cubicBezTo>
                    <a:cubicBezTo>
                      <a:pt x="224" y="124"/>
                      <a:pt x="204" y="144"/>
                      <a:pt x="180" y="1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" name="Line 43">
                <a:extLst>
                  <a:ext uri="{FF2B5EF4-FFF2-40B4-BE49-F238E27FC236}">
                    <a16:creationId xmlns:a16="http://schemas.microsoft.com/office/drawing/2014/main" id="{F6359E1F-E74E-4BCC-B324-C00916990E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89695" y="1557447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" name="Line 44">
                <a:extLst>
                  <a:ext uri="{FF2B5EF4-FFF2-40B4-BE49-F238E27FC236}">
                    <a16:creationId xmlns:a16="http://schemas.microsoft.com/office/drawing/2014/main" id="{58F1C795-3F2C-4BC4-BD1D-038157681E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89695" y="1557447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6" name="Freeform 45">
                <a:extLst>
                  <a:ext uri="{FF2B5EF4-FFF2-40B4-BE49-F238E27FC236}">
                    <a16:creationId xmlns:a16="http://schemas.microsoft.com/office/drawing/2014/main" id="{0ACB2C9B-DD86-4385-9E83-7E7704894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8038" y="1472238"/>
                <a:ext cx="8969" cy="121086"/>
              </a:xfrm>
              <a:custGeom>
                <a:avLst/>
                <a:gdLst>
                  <a:gd name="T0" fmla="*/ 4 w 8"/>
                  <a:gd name="T1" fmla="*/ 96 h 96"/>
                  <a:gd name="T2" fmla="*/ 0 w 8"/>
                  <a:gd name="T3" fmla="*/ 92 h 96"/>
                  <a:gd name="T4" fmla="*/ 0 w 8"/>
                  <a:gd name="T5" fmla="*/ 4 h 96"/>
                  <a:gd name="T6" fmla="*/ 4 w 8"/>
                  <a:gd name="T7" fmla="*/ 0 h 96"/>
                  <a:gd name="T8" fmla="*/ 8 w 8"/>
                  <a:gd name="T9" fmla="*/ 4 h 96"/>
                  <a:gd name="T10" fmla="*/ 8 w 8"/>
                  <a:gd name="T11" fmla="*/ 92 h 96"/>
                  <a:gd name="T12" fmla="*/ 4 w 8"/>
                  <a:gd name="T1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96">
                    <a:moveTo>
                      <a:pt x="4" y="96"/>
                    </a:moveTo>
                    <a:cubicBezTo>
                      <a:pt x="1" y="96"/>
                      <a:pt x="0" y="94"/>
                      <a:pt x="0" y="9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4"/>
                      <a:pt x="6" y="96"/>
                      <a:pt x="4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" name="Freeform 46">
                <a:extLst>
                  <a:ext uri="{FF2B5EF4-FFF2-40B4-BE49-F238E27FC236}">
                    <a16:creationId xmlns:a16="http://schemas.microsoft.com/office/drawing/2014/main" id="{BFBF0B97-6303-4E83-AB82-9782F7C74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7857" y="1561932"/>
                <a:ext cx="49332" cy="31393"/>
              </a:xfrm>
              <a:custGeom>
                <a:avLst/>
                <a:gdLst>
                  <a:gd name="T0" fmla="*/ 21 w 41"/>
                  <a:gd name="T1" fmla="*/ 25 h 25"/>
                  <a:gd name="T2" fmla="*/ 18 w 41"/>
                  <a:gd name="T3" fmla="*/ 24 h 25"/>
                  <a:gd name="T4" fmla="*/ 2 w 41"/>
                  <a:gd name="T5" fmla="*/ 8 h 25"/>
                  <a:gd name="T6" fmla="*/ 2 w 41"/>
                  <a:gd name="T7" fmla="*/ 2 h 25"/>
                  <a:gd name="T8" fmla="*/ 7 w 41"/>
                  <a:gd name="T9" fmla="*/ 2 h 25"/>
                  <a:gd name="T10" fmla="*/ 21 w 41"/>
                  <a:gd name="T11" fmla="*/ 15 h 25"/>
                  <a:gd name="T12" fmla="*/ 34 w 41"/>
                  <a:gd name="T13" fmla="*/ 2 h 25"/>
                  <a:gd name="T14" fmla="*/ 39 w 41"/>
                  <a:gd name="T15" fmla="*/ 2 h 25"/>
                  <a:gd name="T16" fmla="*/ 39 w 41"/>
                  <a:gd name="T17" fmla="*/ 8 h 25"/>
                  <a:gd name="T18" fmla="*/ 23 w 41"/>
                  <a:gd name="T19" fmla="*/ 24 h 25"/>
                  <a:gd name="T20" fmla="*/ 21 w 41"/>
                  <a:gd name="T2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" h="25">
                    <a:moveTo>
                      <a:pt x="21" y="25"/>
                    </a:moveTo>
                    <a:cubicBezTo>
                      <a:pt x="20" y="25"/>
                      <a:pt x="18" y="24"/>
                      <a:pt x="18" y="24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6"/>
                      <a:pt x="0" y="4"/>
                      <a:pt x="2" y="2"/>
                    </a:cubicBezTo>
                    <a:cubicBezTo>
                      <a:pt x="3" y="0"/>
                      <a:pt x="6" y="0"/>
                      <a:pt x="7" y="2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5" y="0"/>
                      <a:pt x="38" y="0"/>
                      <a:pt x="39" y="2"/>
                    </a:cubicBezTo>
                    <a:cubicBezTo>
                      <a:pt x="41" y="4"/>
                      <a:pt x="41" y="6"/>
                      <a:pt x="39" y="8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" name="Freeform 47">
                <a:extLst>
                  <a:ext uri="{FF2B5EF4-FFF2-40B4-BE49-F238E27FC236}">
                    <a16:creationId xmlns:a16="http://schemas.microsoft.com/office/drawing/2014/main" id="{3821BE33-69B9-45D5-BB13-384162935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550" y="1521570"/>
                <a:ext cx="29150" cy="51574"/>
              </a:xfrm>
              <a:custGeom>
                <a:avLst/>
                <a:gdLst>
                  <a:gd name="T0" fmla="*/ 5 w 25"/>
                  <a:gd name="T1" fmla="*/ 41 h 41"/>
                  <a:gd name="T2" fmla="*/ 2 w 25"/>
                  <a:gd name="T3" fmla="*/ 40 h 41"/>
                  <a:gd name="T4" fmla="*/ 2 w 25"/>
                  <a:gd name="T5" fmla="*/ 34 h 41"/>
                  <a:gd name="T6" fmla="*/ 15 w 25"/>
                  <a:gd name="T7" fmla="*/ 21 h 41"/>
                  <a:gd name="T8" fmla="*/ 2 w 25"/>
                  <a:gd name="T9" fmla="*/ 8 h 41"/>
                  <a:gd name="T10" fmla="*/ 2 w 25"/>
                  <a:gd name="T11" fmla="*/ 2 h 41"/>
                  <a:gd name="T12" fmla="*/ 7 w 25"/>
                  <a:gd name="T13" fmla="*/ 2 h 41"/>
                  <a:gd name="T14" fmla="*/ 23 w 25"/>
                  <a:gd name="T15" fmla="*/ 18 h 41"/>
                  <a:gd name="T16" fmla="*/ 23 w 25"/>
                  <a:gd name="T17" fmla="*/ 24 h 41"/>
                  <a:gd name="T18" fmla="*/ 7 w 25"/>
                  <a:gd name="T19" fmla="*/ 40 h 41"/>
                  <a:gd name="T20" fmla="*/ 5 w 25"/>
                  <a:gd name="T21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41">
                    <a:moveTo>
                      <a:pt x="5" y="41"/>
                    </a:moveTo>
                    <a:cubicBezTo>
                      <a:pt x="4" y="41"/>
                      <a:pt x="2" y="40"/>
                      <a:pt x="2" y="40"/>
                    </a:cubicBezTo>
                    <a:cubicBezTo>
                      <a:pt x="0" y="38"/>
                      <a:pt x="0" y="36"/>
                      <a:pt x="2" y="34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6"/>
                      <a:pt x="0" y="4"/>
                      <a:pt x="2" y="2"/>
                    </a:cubicBezTo>
                    <a:cubicBezTo>
                      <a:pt x="3" y="0"/>
                      <a:pt x="6" y="0"/>
                      <a:pt x="7" y="2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5" y="20"/>
                      <a:pt x="25" y="22"/>
                      <a:pt x="23" y="24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7" y="40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" name="Freeform 48">
                <a:extLst>
                  <a:ext uri="{FF2B5EF4-FFF2-40B4-BE49-F238E27FC236}">
                    <a16:creationId xmlns:a16="http://schemas.microsoft.com/office/drawing/2014/main" id="{B81BE6B8-53E2-4E66-99C1-252F5262A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8344" y="1521570"/>
                <a:ext cx="29150" cy="51574"/>
              </a:xfrm>
              <a:custGeom>
                <a:avLst/>
                <a:gdLst>
                  <a:gd name="T0" fmla="*/ 21 w 25"/>
                  <a:gd name="T1" fmla="*/ 41 h 41"/>
                  <a:gd name="T2" fmla="*/ 18 w 25"/>
                  <a:gd name="T3" fmla="*/ 40 h 41"/>
                  <a:gd name="T4" fmla="*/ 2 w 25"/>
                  <a:gd name="T5" fmla="*/ 24 h 41"/>
                  <a:gd name="T6" fmla="*/ 2 w 25"/>
                  <a:gd name="T7" fmla="*/ 18 h 41"/>
                  <a:gd name="T8" fmla="*/ 18 w 25"/>
                  <a:gd name="T9" fmla="*/ 2 h 41"/>
                  <a:gd name="T10" fmla="*/ 23 w 25"/>
                  <a:gd name="T11" fmla="*/ 2 h 41"/>
                  <a:gd name="T12" fmla="*/ 23 w 25"/>
                  <a:gd name="T13" fmla="*/ 8 h 41"/>
                  <a:gd name="T14" fmla="*/ 10 w 25"/>
                  <a:gd name="T15" fmla="*/ 21 h 41"/>
                  <a:gd name="T16" fmla="*/ 23 w 25"/>
                  <a:gd name="T17" fmla="*/ 34 h 41"/>
                  <a:gd name="T18" fmla="*/ 23 w 25"/>
                  <a:gd name="T19" fmla="*/ 40 h 41"/>
                  <a:gd name="T20" fmla="*/ 21 w 25"/>
                  <a:gd name="T21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41">
                    <a:moveTo>
                      <a:pt x="21" y="41"/>
                    </a:moveTo>
                    <a:cubicBezTo>
                      <a:pt x="20" y="41"/>
                      <a:pt x="18" y="40"/>
                      <a:pt x="18" y="40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0" y="22"/>
                      <a:pt x="0" y="20"/>
                      <a:pt x="2" y="18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0"/>
                      <a:pt x="22" y="0"/>
                      <a:pt x="23" y="2"/>
                    </a:cubicBezTo>
                    <a:cubicBezTo>
                      <a:pt x="25" y="4"/>
                      <a:pt x="25" y="6"/>
                      <a:pt x="23" y="8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5" y="36"/>
                      <a:pt x="25" y="38"/>
                      <a:pt x="23" y="40"/>
                    </a:cubicBezTo>
                    <a:cubicBezTo>
                      <a:pt x="23" y="40"/>
                      <a:pt x="22" y="41"/>
                      <a:pt x="21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" name="Freeform 49">
                <a:extLst>
                  <a:ext uri="{FF2B5EF4-FFF2-40B4-BE49-F238E27FC236}">
                    <a16:creationId xmlns:a16="http://schemas.microsoft.com/office/drawing/2014/main" id="{E21C1F96-6305-4CD9-BBBB-5156407CA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8344" y="1472238"/>
                <a:ext cx="69513" cy="80724"/>
              </a:xfrm>
              <a:custGeom>
                <a:avLst/>
                <a:gdLst>
                  <a:gd name="T0" fmla="*/ 40 w 56"/>
                  <a:gd name="T1" fmla="*/ 64 h 64"/>
                  <a:gd name="T2" fmla="*/ 4 w 56"/>
                  <a:gd name="T3" fmla="*/ 64 h 64"/>
                  <a:gd name="T4" fmla="*/ 0 w 56"/>
                  <a:gd name="T5" fmla="*/ 60 h 64"/>
                  <a:gd name="T6" fmla="*/ 4 w 56"/>
                  <a:gd name="T7" fmla="*/ 56 h 64"/>
                  <a:gd name="T8" fmla="*/ 40 w 56"/>
                  <a:gd name="T9" fmla="*/ 56 h 64"/>
                  <a:gd name="T10" fmla="*/ 48 w 56"/>
                  <a:gd name="T11" fmla="*/ 48 h 64"/>
                  <a:gd name="T12" fmla="*/ 48 w 56"/>
                  <a:gd name="T13" fmla="*/ 4 h 64"/>
                  <a:gd name="T14" fmla="*/ 52 w 56"/>
                  <a:gd name="T15" fmla="*/ 0 h 64"/>
                  <a:gd name="T16" fmla="*/ 56 w 56"/>
                  <a:gd name="T17" fmla="*/ 4 h 64"/>
                  <a:gd name="T18" fmla="*/ 56 w 56"/>
                  <a:gd name="T19" fmla="*/ 48 h 64"/>
                  <a:gd name="T20" fmla="*/ 40 w 56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64">
                    <a:moveTo>
                      <a:pt x="40" y="64"/>
                    </a:moveTo>
                    <a:cubicBezTo>
                      <a:pt x="4" y="64"/>
                      <a:pt x="4" y="64"/>
                      <a:pt x="4" y="64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1" y="56"/>
                      <a:pt x="4" y="56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44" y="56"/>
                      <a:pt x="48" y="52"/>
                      <a:pt x="48" y="48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48" y="2"/>
                      <a:pt x="49" y="0"/>
                      <a:pt x="52" y="0"/>
                    </a:cubicBezTo>
                    <a:cubicBezTo>
                      <a:pt x="54" y="0"/>
                      <a:pt x="56" y="2"/>
                      <a:pt x="56" y="4"/>
                    </a:cubicBezTo>
                    <a:cubicBezTo>
                      <a:pt x="56" y="48"/>
                      <a:pt x="56" y="48"/>
                      <a:pt x="56" y="48"/>
                    </a:cubicBezTo>
                    <a:cubicBezTo>
                      <a:pt x="56" y="57"/>
                      <a:pt x="48" y="64"/>
                      <a:pt x="40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1" name="Freeform 50">
                <a:extLst>
                  <a:ext uri="{FF2B5EF4-FFF2-40B4-BE49-F238E27FC236}">
                    <a16:creationId xmlns:a16="http://schemas.microsoft.com/office/drawing/2014/main" id="{B6B860E0-69F1-40B4-BED7-1FD5BA309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4013" y="1472238"/>
                <a:ext cx="69513" cy="80724"/>
              </a:xfrm>
              <a:custGeom>
                <a:avLst/>
                <a:gdLst>
                  <a:gd name="T0" fmla="*/ 52 w 56"/>
                  <a:gd name="T1" fmla="*/ 64 h 64"/>
                  <a:gd name="T2" fmla="*/ 16 w 56"/>
                  <a:gd name="T3" fmla="*/ 64 h 64"/>
                  <a:gd name="T4" fmla="*/ 0 w 56"/>
                  <a:gd name="T5" fmla="*/ 48 h 64"/>
                  <a:gd name="T6" fmla="*/ 0 w 56"/>
                  <a:gd name="T7" fmla="*/ 4 h 64"/>
                  <a:gd name="T8" fmla="*/ 4 w 56"/>
                  <a:gd name="T9" fmla="*/ 0 h 64"/>
                  <a:gd name="T10" fmla="*/ 8 w 56"/>
                  <a:gd name="T11" fmla="*/ 4 h 64"/>
                  <a:gd name="T12" fmla="*/ 8 w 56"/>
                  <a:gd name="T13" fmla="*/ 48 h 64"/>
                  <a:gd name="T14" fmla="*/ 16 w 56"/>
                  <a:gd name="T15" fmla="*/ 56 h 64"/>
                  <a:gd name="T16" fmla="*/ 52 w 56"/>
                  <a:gd name="T17" fmla="*/ 56 h 64"/>
                  <a:gd name="T18" fmla="*/ 56 w 56"/>
                  <a:gd name="T19" fmla="*/ 60 h 64"/>
                  <a:gd name="T20" fmla="*/ 52 w 56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64">
                    <a:moveTo>
                      <a:pt x="52" y="64"/>
                    </a:moveTo>
                    <a:cubicBezTo>
                      <a:pt x="16" y="64"/>
                      <a:pt x="16" y="64"/>
                      <a:pt x="16" y="64"/>
                    </a:cubicBezTo>
                    <a:cubicBezTo>
                      <a:pt x="7" y="64"/>
                      <a:pt x="0" y="57"/>
                      <a:pt x="0" y="48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" y="52"/>
                      <a:pt x="11" y="56"/>
                      <a:pt x="16" y="56"/>
                    </a:cubicBezTo>
                    <a:cubicBezTo>
                      <a:pt x="52" y="56"/>
                      <a:pt x="52" y="56"/>
                      <a:pt x="52" y="56"/>
                    </a:cubicBezTo>
                    <a:cubicBezTo>
                      <a:pt x="54" y="56"/>
                      <a:pt x="56" y="58"/>
                      <a:pt x="56" y="60"/>
                    </a:cubicBezTo>
                    <a:cubicBezTo>
                      <a:pt x="56" y="62"/>
                      <a:pt x="54" y="64"/>
                      <a:pt x="52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78C1D3D4-E29A-45F4-B140-E0437A2FD5DE}"/>
                </a:ext>
              </a:extLst>
            </p:cNvPr>
            <p:cNvGrpSpPr/>
            <p:nvPr/>
          </p:nvGrpSpPr>
          <p:grpSpPr>
            <a:xfrm>
              <a:off x="871337" y="5149783"/>
              <a:ext cx="475437" cy="426082"/>
              <a:chOff x="4131512" y="2167364"/>
              <a:chExt cx="278050" cy="257869"/>
            </a:xfrm>
            <a:solidFill>
              <a:schemeClr val="tx2"/>
            </a:solidFill>
          </p:grpSpPr>
          <p:sp>
            <p:nvSpPr>
              <p:cNvPr id="153" name="Freeform 32">
                <a:extLst>
                  <a:ext uri="{FF2B5EF4-FFF2-40B4-BE49-F238E27FC236}">
                    <a16:creationId xmlns:a16="http://schemas.microsoft.com/office/drawing/2014/main" id="{6E0DEB9F-8780-411D-85CD-421094B173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2055" y="2266027"/>
                <a:ext cx="49332" cy="49332"/>
              </a:xfrm>
              <a:custGeom>
                <a:avLst/>
                <a:gdLst>
                  <a:gd name="T0" fmla="*/ 20 w 40"/>
                  <a:gd name="T1" fmla="*/ 40 h 40"/>
                  <a:gd name="T2" fmla="*/ 0 w 40"/>
                  <a:gd name="T3" fmla="*/ 20 h 40"/>
                  <a:gd name="T4" fmla="*/ 20 w 40"/>
                  <a:gd name="T5" fmla="*/ 0 h 40"/>
                  <a:gd name="T6" fmla="*/ 40 w 40"/>
                  <a:gd name="T7" fmla="*/ 20 h 40"/>
                  <a:gd name="T8" fmla="*/ 20 w 40"/>
                  <a:gd name="T9" fmla="*/ 40 h 40"/>
                  <a:gd name="T10" fmla="*/ 20 w 40"/>
                  <a:gd name="T11" fmla="*/ 8 h 40"/>
                  <a:gd name="T12" fmla="*/ 8 w 40"/>
                  <a:gd name="T13" fmla="*/ 20 h 40"/>
                  <a:gd name="T14" fmla="*/ 20 w 40"/>
                  <a:gd name="T15" fmla="*/ 32 h 40"/>
                  <a:gd name="T16" fmla="*/ 32 w 40"/>
                  <a:gd name="T17" fmla="*/ 20 h 40"/>
                  <a:gd name="T18" fmla="*/ 20 w 40"/>
                  <a:gd name="T19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8"/>
                    </a:moveTo>
                    <a:cubicBezTo>
                      <a:pt x="13" y="8"/>
                      <a:pt x="8" y="14"/>
                      <a:pt x="8" y="20"/>
                    </a:cubicBezTo>
                    <a:cubicBezTo>
                      <a:pt x="8" y="27"/>
                      <a:pt x="13" y="32"/>
                      <a:pt x="20" y="32"/>
                    </a:cubicBezTo>
                    <a:cubicBezTo>
                      <a:pt x="26" y="32"/>
                      <a:pt x="32" y="27"/>
                      <a:pt x="32" y="20"/>
                    </a:cubicBezTo>
                    <a:cubicBezTo>
                      <a:pt x="32" y="14"/>
                      <a:pt x="26" y="8"/>
                      <a:pt x="2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4" name="Freeform 33">
                <a:extLst>
                  <a:ext uri="{FF2B5EF4-FFF2-40B4-BE49-F238E27FC236}">
                    <a16:creationId xmlns:a16="http://schemas.microsoft.com/office/drawing/2014/main" id="{37EDC6D6-E28C-4213-A8C1-08E348C1EE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80843" y="2306389"/>
                <a:ext cx="69513" cy="118844"/>
              </a:xfrm>
              <a:custGeom>
                <a:avLst/>
                <a:gdLst>
                  <a:gd name="T0" fmla="*/ 36 w 56"/>
                  <a:gd name="T1" fmla="*/ 96 h 96"/>
                  <a:gd name="T2" fmla="*/ 20 w 56"/>
                  <a:gd name="T3" fmla="*/ 96 h 96"/>
                  <a:gd name="T4" fmla="*/ 8 w 56"/>
                  <a:gd name="T5" fmla="*/ 84 h 96"/>
                  <a:gd name="T6" fmla="*/ 8 w 56"/>
                  <a:gd name="T7" fmla="*/ 56 h 96"/>
                  <a:gd name="T8" fmla="*/ 0 w 56"/>
                  <a:gd name="T9" fmla="*/ 44 h 96"/>
                  <a:gd name="T10" fmla="*/ 0 w 56"/>
                  <a:gd name="T11" fmla="*/ 19 h 96"/>
                  <a:gd name="T12" fmla="*/ 9 w 56"/>
                  <a:gd name="T13" fmla="*/ 5 h 96"/>
                  <a:gd name="T14" fmla="*/ 28 w 56"/>
                  <a:gd name="T15" fmla="*/ 0 h 96"/>
                  <a:gd name="T16" fmla="*/ 46 w 56"/>
                  <a:gd name="T17" fmla="*/ 5 h 96"/>
                  <a:gd name="T18" fmla="*/ 56 w 56"/>
                  <a:gd name="T19" fmla="*/ 19 h 96"/>
                  <a:gd name="T20" fmla="*/ 56 w 56"/>
                  <a:gd name="T21" fmla="*/ 44 h 96"/>
                  <a:gd name="T22" fmla="*/ 48 w 56"/>
                  <a:gd name="T23" fmla="*/ 56 h 96"/>
                  <a:gd name="T24" fmla="*/ 48 w 56"/>
                  <a:gd name="T25" fmla="*/ 84 h 96"/>
                  <a:gd name="T26" fmla="*/ 36 w 56"/>
                  <a:gd name="T27" fmla="*/ 96 h 96"/>
                  <a:gd name="T28" fmla="*/ 28 w 56"/>
                  <a:gd name="T29" fmla="*/ 8 h 96"/>
                  <a:gd name="T30" fmla="*/ 12 w 56"/>
                  <a:gd name="T31" fmla="*/ 12 h 96"/>
                  <a:gd name="T32" fmla="*/ 8 w 56"/>
                  <a:gd name="T33" fmla="*/ 19 h 96"/>
                  <a:gd name="T34" fmla="*/ 8 w 56"/>
                  <a:gd name="T35" fmla="*/ 44 h 96"/>
                  <a:gd name="T36" fmla="*/ 12 w 56"/>
                  <a:gd name="T37" fmla="*/ 48 h 96"/>
                  <a:gd name="T38" fmla="*/ 16 w 56"/>
                  <a:gd name="T39" fmla="*/ 52 h 96"/>
                  <a:gd name="T40" fmla="*/ 16 w 56"/>
                  <a:gd name="T41" fmla="*/ 84 h 96"/>
                  <a:gd name="T42" fmla="*/ 20 w 56"/>
                  <a:gd name="T43" fmla="*/ 88 h 96"/>
                  <a:gd name="T44" fmla="*/ 36 w 56"/>
                  <a:gd name="T45" fmla="*/ 88 h 96"/>
                  <a:gd name="T46" fmla="*/ 40 w 56"/>
                  <a:gd name="T47" fmla="*/ 84 h 96"/>
                  <a:gd name="T48" fmla="*/ 40 w 56"/>
                  <a:gd name="T49" fmla="*/ 52 h 96"/>
                  <a:gd name="T50" fmla="*/ 44 w 56"/>
                  <a:gd name="T51" fmla="*/ 48 h 96"/>
                  <a:gd name="T52" fmla="*/ 48 w 56"/>
                  <a:gd name="T53" fmla="*/ 44 h 96"/>
                  <a:gd name="T54" fmla="*/ 48 w 56"/>
                  <a:gd name="T55" fmla="*/ 19 h 96"/>
                  <a:gd name="T56" fmla="*/ 43 w 56"/>
                  <a:gd name="T57" fmla="*/ 12 h 96"/>
                  <a:gd name="T58" fmla="*/ 28 w 56"/>
                  <a:gd name="T59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6" h="96">
                    <a:moveTo>
                      <a:pt x="36" y="96"/>
                    </a:moveTo>
                    <a:cubicBezTo>
                      <a:pt x="20" y="96"/>
                      <a:pt x="20" y="96"/>
                      <a:pt x="20" y="96"/>
                    </a:cubicBezTo>
                    <a:cubicBezTo>
                      <a:pt x="13" y="96"/>
                      <a:pt x="8" y="91"/>
                      <a:pt x="8" y="84"/>
                    </a:cubicBezTo>
                    <a:cubicBezTo>
                      <a:pt x="8" y="56"/>
                      <a:pt x="8" y="56"/>
                      <a:pt x="8" y="56"/>
                    </a:cubicBezTo>
                    <a:cubicBezTo>
                      <a:pt x="3" y="54"/>
                      <a:pt x="0" y="49"/>
                      <a:pt x="0" y="4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3" y="7"/>
                      <a:pt x="9" y="5"/>
                    </a:cubicBezTo>
                    <a:cubicBezTo>
                      <a:pt x="13" y="3"/>
                      <a:pt x="20" y="0"/>
                      <a:pt x="28" y="0"/>
                    </a:cubicBezTo>
                    <a:cubicBezTo>
                      <a:pt x="35" y="0"/>
                      <a:pt x="42" y="3"/>
                      <a:pt x="46" y="5"/>
                    </a:cubicBezTo>
                    <a:cubicBezTo>
                      <a:pt x="52" y="7"/>
                      <a:pt x="56" y="13"/>
                      <a:pt x="56" y="19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6" y="49"/>
                      <a:pt x="52" y="54"/>
                      <a:pt x="48" y="56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8" y="91"/>
                      <a:pt x="42" y="96"/>
                      <a:pt x="36" y="96"/>
                    </a:cubicBezTo>
                    <a:close/>
                    <a:moveTo>
                      <a:pt x="28" y="8"/>
                    </a:moveTo>
                    <a:cubicBezTo>
                      <a:pt x="21" y="8"/>
                      <a:pt x="16" y="10"/>
                      <a:pt x="12" y="12"/>
                    </a:cubicBezTo>
                    <a:cubicBezTo>
                      <a:pt x="9" y="13"/>
                      <a:pt x="8" y="16"/>
                      <a:pt x="8" y="19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6"/>
                      <a:pt x="9" y="48"/>
                      <a:pt x="12" y="48"/>
                    </a:cubicBezTo>
                    <a:cubicBezTo>
                      <a:pt x="14" y="48"/>
                      <a:pt x="16" y="50"/>
                      <a:pt x="16" y="52"/>
                    </a:cubicBezTo>
                    <a:cubicBezTo>
                      <a:pt x="16" y="84"/>
                      <a:pt x="16" y="84"/>
                      <a:pt x="16" y="84"/>
                    </a:cubicBezTo>
                    <a:cubicBezTo>
                      <a:pt x="16" y="86"/>
                      <a:pt x="17" y="88"/>
                      <a:pt x="20" y="88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8" y="88"/>
                      <a:pt x="40" y="86"/>
                      <a:pt x="40" y="84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0" y="50"/>
                      <a:pt x="41" y="48"/>
                      <a:pt x="44" y="48"/>
                    </a:cubicBezTo>
                    <a:cubicBezTo>
                      <a:pt x="46" y="48"/>
                      <a:pt x="48" y="46"/>
                      <a:pt x="48" y="44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8" y="16"/>
                      <a:pt x="46" y="13"/>
                      <a:pt x="43" y="12"/>
                    </a:cubicBezTo>
                    <a:cubicBezTo>
                      <a:pt x="39" y="10"/>
                      <a:pt x="34" y="8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5" name="Freeform 34">
                <a:extLst>
                  <a:ext uri="{FF2B5EF4-FFF2-40B4-BE49-F238E27FC236}">
                    <a16:creationId xmlns:a16="http://schemas.microsoft.com/office/drawing/2014/main" id="{D475614A-9B78-4CDD-9C5D-CF75F1AF5E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50356" y="2266027"/>
                <a:ext cx="49332" cy="49332"/>
              </a:xfrm>
              <a:custGeom>
                <a:avLst/>
                <a:gdLst>
                  <a:gd name="T0" fmla="*/ 20 w 40"/>
                  <a:gd name="T1" fmla="*/ 40 h 40"/>
                  <a:gd name="T2" fmla="*/ 0 w 40"/>
                  <a:gd name="T3" fmla="*/ 20 h 40"/>
                  <a:gd name="T4" fmla="*/ 20 w 40"/>
                  <a:gd name="T5" fmla="*/ 0 h 40"/>
                  <a:gd name="T6" fmla="*/ 40 w 40"/>
                  <a:gd name="T7" fmla="*/ 20 h 40"/>
                  <a:gd name="T8" fmla="*/ 20 w 40"/>
                  <a:gd name="T9" fmla="*/ 40 h 40"/>
                  <a:gd name="T10" fmla="*/ 20 w 40"/>
                  <a:gd name="T11" fmla="*/ 8 h 40"/>
                  <a:gd name="T12" fmla="*/ 8 w 40"/>
                  <a:gd name="T13" fmla="*/ 20 h 40"/>
                  <a:gd name="T14" fmla="*/ 20 w 40"/>
                  <a:gd name="T15" fmla="*/ 32 h 40"/>
                  <a:gd name="T16" fmla="*/ 32 w 40"/>
                  <a:gd name="T17" fmla="*/ 20 h 40"/>
                  <a:gd name="T18" fmla="*/ 20 w 40"/>
                  <a:gd name="T19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8"/>
                    </a:moveTo>
                    <a:cubicBezTo>
                      <a:pt x="13" y="8"/>
                      <a:pt x="8" y="14"/>
                      <a:pt x="8" y="20"/>
                    </a:cubicBezTo>
                    <a:cubicBezTo>
                      <a:pt x="8" y="27"/>
                      <a:pt x="13" y="32"/>
                      <a:pt x="20" y="32"/>
                    </a:cubicBezTo>
                    <a:cubicBezTo>
                      <a:pt x="26" y="32"/>
                      <a:pt x="32" y="27"/>
                      <a:pt x="32" y="20"/>
                    </a:cubicBezTo>
                    <a:cubicBezTo>
                      <a:pt x="32" y="14"/>
                      <a:pt x="26" y="8"/>
                      <a:pt x="2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6" name="Freeform 35">
                <a:extLst>
                  <a:ext uri="{FF2B5EF4-FFF2-40B4-BE49-F238E27FC236}">
                    <a16:creationId xmlns:a16="http://schemas.microsoft.com/office/drawing/2014/main" id="{0379B875-6F7F-41B7-B8DC-5A0CB5B51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1386" y="2306389"/>
                <a:ext cx="69513" cy="118844"/>
              </a:xfrm>
              <a:custGeom>
                <a:avLst/>
                <a:gdLst>
                  <a:gd name="T0" fmla="*/ 36 w 56"/>
                  <a:gd name="T1" fmla="*/ 96 h 96"/>
                  <a:gd name="T2" fmla="*/ 20 w 56"/>
                  <a:gd name="T3" fmla="*/ 96 h 96"/>
                  <a:gd name="T4" fmla="*/ 8 w 56"/>
                  <a:gd name="T5" fmla="*/ 84 h 96"/>
                  <a:gd name="T6" fmla="*/ 8 w 56"/>
                  <a:gd name="T7" fmla="*/ 56 h 96"/>
                  <a:gd name="T8" fmla="*/ 0 w 56"/>
                  <a:gd name="T9" fmla="*/ 44 h 96"/>
                  <a:gd name="T10" fmla="*/ 0 w 56"/>
                  <a:gd name="T11" fmla="*/ 19 h 96"/>
                  <a:gd name="T12" fmla="*/ 9 w 56"/>
                  <a:gd name="T13" fmla="*/ 5 h 96"/>
                  <a:gd name="T14" fmla="*/ 28 w 56"/>
                  <a:gd name="T15" fmla="*/ 0 h 96"/>
                  <a:gd name="T16" fmla="*/ 46 w 56"/>
                  <a:gd name="T17" fmla="*/ 5 h 96"/>
                  <a:gd name="T18" fmla="*/ 56 w 56"/>
                  <a:gd name="T19" fmla="*/ 19 h 96"/>
                  <a:gd name="T20" fmla="*/ 56 w 56"/>
                  <a:gd name="T21" fmla="*/ 44 h 96"/>
                  <a:gd name="T22" fmla="*/ 48 w 56"/>
                  <a:gd name="T23" fmla="*/ 56 h 96"/>
                  <a:gd name="T24" fmla="*/ 48 w 56"/>
                  <a:gd name="T25" fmla="*/ 84 h 96"/>
                  <a:gd name="T26" fmla="*/ 36 w 56"/>
                  <a:gd name="T27" fmla="*/ 96 h 96"/>
                  <a:gd name="T28" fmla="*/ 28 w 56"/>
                  <a:gd name="T29" fmla="*/ 8 h 96"/>
                  <a:gd name="T30" fmla="*/ 12 w 56"/>
                  <a:gd name="T31" fmla="*/ 12 h 96"/>
                  <a:gd name="T32" fmla="*/ 8 w 56"/>
                  <a:gd name="T33" fmla="*/ 19 h 96"/>
                  <a:gd name="T34" fmla="*/ 8 w 56"/>
                  <a:gd name="T35" fmla="*/ 44 h 96"/>
                  <a:gd name="T36" fmla="*/ 12 w 56"/>
                  <a:gd name="T37" fmla="*/ 48 h 96"/>
                  <a:gd name="T38" fmla="*/ 16 w 56"/>
                  <a:gd name="T39" fmla="*/ 52 h 96"/>
                  <a:gd name="T40" fmla="*/ 16 w 56"/>
                  <a:gd name="T41" fmla="*/ 84 h 96"/>
                  <a:gd name="T42" fmla="*/ 20 w 56"/>
                  <a:gd name="T43" fmla="*/ 88 h 96"/>
                  <a:gd name="T44" fmla="*/ 36 w 56"/>
                  <a:gd name="T45" fmla="*/ 88 h 96"/>
                  <a:gd name="T46" fmla="*/ 40 w 56"/>
                  <a:gd name="T47" fmla="*/ 84 h 96"/>
                  <a:gd name="T48" fmla="*/ 40 w 56"/>
                  <a:gd name="T49" fmla="*/ 52 h 96"/>
                  <a:gd name="T50" fmla="*/ 44 w 56"/>
                  <a:gd name="T51" fmla="*/ 48 h 96"/>
                  <a:gd name="T52" fmla="*/ 48 w 56"/>
                  <a:gd name="T53" fmla="*/ 44 h 96"/>
                  <a:gd name="T54" fmla="*/ 48 w 56"/>
                  <a:gd name="T55" fmla="*/ 19 h 96"/>
                  <a:gd name="T56" fmla="*/ 43 w 56"/>
                  <a:gd name="T57" fmla="*/ 12 h 96"/>
                  <a:gd name="T58" fmla="*/ 28 w 56"/>
                  <a:gd name="T59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6" h="96">
                    <a:moveTo>
                      <a:pt x="36" y="96"/>
                    </a:moveTo>
                    <a:cubicBezTo>
                      <a:pt x="20" y="96"/>
                      <a:pt x="20" y="96"/>
                      <a:pt x="20" y="96"/>
                    </a:cubicBezTo>
                    <a:cubicBezTo>
                      <a:pt x="13" y="96"/>
                      <a:pt x="8" y="91"/>
                      <a:pt x="8" y="84"/>
                    </a:cubicBezTo>
                    <a:cubicBezTo>
                      <a:pt x="8" y="56"/>
                      <a:pt x="8" y="56"/>
                      <a:pt x="8" y="56"/>
                    </a:cubicBezTo>
                    <a:cubicBezTo>
                      <a:pt x="3" y="54"/>
                      <a:pt x="0" y="49"/>
                      <a:pt x="0" y="4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3" y="7"/>
                      <a:pt x="9" y="5"/>
                    </a:cubicBezTo>
                    <a:cubicBezTo>
                      <a:pt x="13" y="3"/>
                      <a:pt x="20" y="0"/>
                      <a:pt x="28" y="0"/>
                    </a:cubicBezTo>
                    <a:cubicBezTo>
                      <a:pt x="35" y="0"/>
                      <a:pt x="42" y="3"/>
                      <a:pt x="46" y="5"/>
                    </a:cubicBezTo>
                    <a:cubicBezTo>
                      <a:pt x="52" y="7"/>
                      <a:pt x="56" y="13"/>
                      <a:pt x="56" y="19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6" y="49"/>
                      <a:pt x="52" y="54"/>
                      <a:pt x="48" y="56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8" y="91"/>
                      <a:pt x="42" y="96"/>
                      <a:pt x="36" y="96"/>
                    </a:cubicBezTo>
                    <a:close/>
                    <a:moveTo>
                      <a:pt x="28" y="8"/>
                    </a:moveTo>
                    <a:cubicBezTo>
                      <a:pt x="21" y="8"/>
                      <a:pt x="16" y="10"/>
                      <a:pt x="12" y="12"/>
                    </a:cubicBezTo>
                    <a:cubicBezTo>
                      <a:pt x="9" y="13"/>
                      <a:pt x="8" y="16"/>
                      <a:pt x="8" y="19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6"/>
                      <a:pt x="9" y="48"/>
                      <a:pt x="12" y="48"/>
                    </a:cubicBezTo>
                    <a:cubicBezTo>
                      <a:pt x="14" y="48"/>
                      <a:pt x="16" y="50"/>
                      <a:pt x="16" y="52"/>
                    </a:cubicBezTo>
                    <a:cubicBezTo>
                      <a:pt x="16" y="84"/>
                      <a:pt x="16" y="84"/>
                      <a:pt x="16" y="84"/>
                    </a:cubicBezTo>
                    <a:cubicBezTo>
                      <a:pt x="16" y="86"/>
                      <a:pt x="17" y="88"/>
                      <a:pt x="20" y="88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8" y="88"/>
                      <a:pt x="40" y="86"/>
                      <a:pt x="40" y="84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0" y="50"/>
                      <a:pt x="41" y="48"/>
                      <a:pt x="44" y="48"/>
                    </a:cubicBezTo>
                    <a:cubicBezTo>
                      <a:pt x="46" y="48"/>
                      <a:pt x="48" y="46"/>
                      <a:pt x="48" y="44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8" y="16"/>
                      <a:pt x="46" y="13"/>
                      <a:pt x="43" y="12"/>
                    </a:cubicBezTo>
                    <a:cubicBezTo>
                      <a:pt x="39" y="10"/>
                      <a:pt x="34" y="8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7" name="Freeform 36">
                <a:extLst>
                  <a:ext uri="{FF2B5EF4-FFF2-40B4-BE49-F238E27FC236}">
                    <a16:creationId xmlns:a16="http://schemas.microsoft.com/office/drawing/2014/main" id="{455D5B8D-BD3F-4097-820B-87070C1E81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10899" y="2266027"/>
                <a:ext cx="49332" cy="49332"/>
              </a:xfrm>
              <a:custGeom>
                <a:avLst/>
                <a:gdLst>
                  <a:gd name="T0" fmla="*/ 20 w 40"/>
                  <a:gd name="T1" fmla="*/ 40 h 40"/>
                  <a:gd name="T2" fmla="*/ 0 w 40"/>
                  <a:gd name="T3" fmla="*/ 20 h 40"/>
                  <a:gd name="T4" fmla="*/ 20 w 40"/>
                  <a:gd name="T5" fmla="*/ 0 h 40"/>
                  <a:gd name="T6" fmla="*/ 40 w 40"/>
                  <a:gd name="T7" fmla="*/ 20 h 40"/>
                  <a:gd name="T8" fmla="*/ 20 w 40"/>
                  <a:gd name="T9" fmla="*/ 40 h 40"/>
                  <a:gd name="T10" fmla="*/ 20 w 40"/>
                  <a:gd name="T11" fmla="*/ 8 h 40"/>
                  <a:gd name="T12" fmla="*/ 8 w 40"/>
                  <a:gd name="T13" fmla="*/ 20 h 40"/>
                  <a:gd name="T14" fmla="*/ 20 w 40"/>
                  <a:gd name="T15" fmla="*/ 32 h 40"/>
                  <a:gd name="T16" fmla="*/ 32 w 40"/>
                  <a:gd name="T17" fmla="*/ 20 h 40"/>
                  <a:gd name="T18" fmla="*/ 20 w 40"/>
                  <a:gd name="T19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8"/>
                    </a:moveTo>
                    <a:cubicBezTo>
                      <a:pt x="13" y="8"/>
                      <a:pt x="8" y="14"/>
                      <a:pt x="8" y="20"/>
                    </a:cubicBezTo>
                    <a:cubicBezTo>
                      <a:pt x="8" y="27"/>
                      <a:pt x="13" y="32"/>
                      <a:pt x="20" y="32"/>
                    </a:cubicBezTo>
                    <a:cubicBezTo>
                      <a:pt x="26" y="32"/>
                      <a:pt x="32" y="27"/>
                      <a:pt x="32" y="20"/>
                    </a:cubicBezTo>
                    <a:cubicBezTo>
                      <a:pt x="32" y="14"/>
                      <a:pt x="26" y="8"/>
                      <a:pt x="2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8" name="Freeform 37">
                <a:extLst>
                  <a:ext uri="{FF2B5EF4-FFF2-40B4-BE49-F238E27FC236}">
                    <a16:creationId xmlns:a16="http://schemas.microsoft.com/office/drawing/2014/main" id="{CB8F5A88-9CE4-4150-A75E-8789DBBDD5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99688" y="2306389"/>
                <a:ext cx="69513" cy="118844"/>
              </a:xfrm>
              <a:custGeom>
                <a:avLst/>
                <a:gdLst>
                  <a:gd name="T0" fmla="*/ 36 w 56"/>
                  <a:gd name="T1" fmla="*/ 96 h 96"/>
                  <a:gd name="T2" fmla="*/ 20 w 56"/>
                  <a:gd name="T3" fmla="*/ 96 h 96"/>
                  <a:gd name="T4" fmla="*/ 8 w 56"/>
                  <a:gd name="T5" fmla="*/ 84 h 96"/>
                  <a:gd name="T6" fmla="*/ 8 w 56"/>
                  <a:gd name="T7" fmla="*/ 56 h 96"/>
                  <a:gd name="T8" fmla="*/ 0 w 56"/>
                  <a:gd name="T9" fmla="*/ 44 h 96"/>
                  <a:gd name="T10" fmla="*/ 0 w 56"/>
                  <a:gd name="T11" fmla="*/ 19 h 96"/>
                  <a:gd name="T12" fmla="*/ 9 w 56"/>
                  <a:gd name="T13" fmla="*/ 5 h 96"/>
                  <a:gd name="T14" fmla="*/ 28 w 56"/>
                  <a:gd name="T15" fmla="*/ 0 h 96"/>
                  <a:gd name="T16" fmla="*/ 46 w 56"/>
                  <a:gd name="T17" fmla="*/ 5 h 96"/>
                  <a:gd name="T18" fmla="*/ 56 w 56"/>
                  <a:gd name="T19" fmla="*/ 19 h 96"/>
                  <a:gd name="T20" fmla="*/ 56 w 56"/>
                  <a:gd name="T21" fmla="*/ 44 h 96"/>
                  <a:gd name="T22" fmla="*/ 48 w 56"/>
                  <a:gd name="T23" fmla="*/ 56 h 96"/>
                  <a:gd name="T24" fmla="*/ 48 w 56"/>
                  <a:gd name="T25" fmla="*/ 84 h 96"/>
                  <a:gd name="T26" fmla="*/ 36 w 56"/>
                  <a:gd name="T27" fmla="*/ 96 h 96"/>
                  <a:gd name="T28" fmla="*/ 28 w 56"/>
                  <a:gd name="T29" fmla="*/ 8 h 96"/>
                  <a:gd name="T30" fmla="*/ 12 w 56"/>
                  <a:gd name="T31" fmla="*/ 12 h 96"/>
                  <a:gd name="T32" fmla="*/ 8 w 56"/>
                  <a:gd name="T33" fmla="*/ 19 h 96"/>
                  <a:gd name="T34" fmla="*/ 8 w 56"/>
                  <a:gd name="T35" fmla="*/ 44 h 96"/>
                  <a:gd name="T36" fmla="*/ 12 w 56"/>
                  <a:gd name="T37" fmla="*/ 48 h 96"/>
                  <a:gd name="T38" fmla="*/ 16 w 56"/>
                  <a:gd name="T39" fmla="*/ 52 h 96"/>
                  <a:gd name="T40" fmla="*/ 16 w 56"/>
                  <a:gd name="T41" fmla="*/ 84 h 96"/>
                  <a:gd name="T42" fmla="*/ 20 w 56"/>
                  <a:gd name="T43" fmla="*/ 88 h 96"/>
                  <a:gd name="T44" fmla="*/ 36 w 56"/>
                  <a:gd name="T45" fmla="*/ 88 h 96"/>
                  <a:gd name="T46" fmla="*/ 40 w 56"/>
                  <a:gd name="T47" fmla="*/ 84 h 96"/>
                  <a:gd name="T48" fmla="*/ 40 w 56"/>
                  <a:gd name="T49" fmla="*/ 52 h 96"/>
                  <a:gd name="T50" fmla="*/ 44 w 56"/>
                  <a:gd name="T51" fmla="*/ 48 h 96"/>
                  <a:gd name="T52" fmla="*/ 48 w 56"/>
                  <a:gd name="T53" fmla="*/ 44 h 96"/>
                  <a:gd name="T54" fmla="*/ 48 w 56"/>
                  <a:gd name="T55" fmla="*/ 19 h 96"/>
                  <a:gd name="T56" fmla="*/ 43 w 56"/>
                  <a:gd name="T57" fmla="*/ 12 h 96"/>
                  <a:gd name="T58" fmla="*/ 28 w 56"/>
                  <a:gd name="T59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6" h="96">
                    <a:moveTo>
                      <a:pt x="36" y="96"/>
                    </a:moveTo>
                    <a:cubicBezTo>
                      <a:pt x="20" y="96"/>
                      <a:pt x="20" y="96"/>
                      <a:pt x="20" y="96"/>
                    </a:cubicBezTo>
                    <a:cubicBezTo>
                      <a:pt x="13" y="96"/>
                      <a:pt x="8" y="91"/>
                      <a:pt x="8" y="84"/>
                    </a:cubicBezTo>
                    <a:cubicBezTo>
                      <a:pt x="8" y="56"/>
                      <a:pt x="8" y="56"/>
                      <a:pt x="8" y="56"/>
                    </a:cubicBezTo>
                    <a:cubicBezTo>
                      <a:pt x="3" y="54"/>
                      <a:pt x="0" y="49"/>
                      <a:pt x="0" y="4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3" y="7"/>
                      <a:pt x="9" y="5"/>
                    </a:cubicBezTo>
                    <a:cubicBezTo>
                      <a:pt x="13" y="3"/>
                      <a:pt x="20" y="0"/>
                      <a:pt x="28" y="0"/>
                    </a:cubicBezTo>
                    <a:cubicBezTo>
                      <a:pt x="35" y="0"/>
                      <a:pt x="42" y="3"/>
                      <a:pt x="46" y="5"/>
                    </a:cubicBezTo>
                    <a:cubicBezTo>
                      <a:pt x="52" y="7"/>
                      <a:pt x="56" y="13"/>
                      <a:pt x="56" y="19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6" y="49"/>
                      <a:pt x="52" y="54"/>
                      <a:pt x="48" y="56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8" y="91"/>
                      <a:pt x="42" y="96"/>
                      <a:pt x="36" y="96"/>
                    </a:cubicBezTo>
                    <a:close/>
                    <a:moveTo>
                      <a:pt x="28" y="8"/>
                    </a:moveTo>
                    <a:cubicBezTo>
                      <a:pt x="21" y="8"/>
                      <a:pt x="16" y="10"/>
                      <a:pt x="12" y="12"/>
                    </a:cubicBezTo>
                    <a:cubicBezTo>
                      <a:pt x="9" y="13"/>
                      <a:pt x="8" y="16"/>
                      <a:pt x="8" y="19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6"/>
                      <a:pt x="9" y="48"/>
                      <a:pt x="12" y="48"/>
                    </a:cubicBezTo>
                    <a:cubicBezTo>
                      <a:pt x="14" y="48"/>
                      <a:pt x="16" y="50"/>
                      <a:pt x="16" y="52"/>
                    </a:cubicBezTo>
                    <a:cubicBezTo>
                      <a:pt x="16" y="84"/>
                      <a:pt x="16" y="84"/>
                      <a:pt x="16" y="84"/>
                    </a:cubicBezTo>
                    <a:cubicBezTo>
                      <a:pt x="16" y="86"/>
                      <a:pt x="17" y="88"/>
                      <a:pt x="20" y="88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8" y="88"/>
                      <a:pt x="40" y="86"/>
                      <a:pt x="40" y="84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0" y="50"/>
                      <a:pt x="41" y="48"/>
                      <a:pt x="44" y="48"/>
                    </a:cubicBezTo>
                    <a:cubicBezTo>
                      <a:pt x="46" y="48"/>
                      <a:pt x="48" y="46"/>
                      <a:pt x="48" y="44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8" y="16"/>
                      <a:pt x="46" y="13"/>
                      <a:pt x="43" y="12"/>
                    </a:cubicBezTo>
                    <a:cubicBezTo>
                      <a:pt x="39" y="10"/>
                      <a:pt x="34" y="8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9" name="Freeform 38">
                <a:extLst>
                  <a:ext uri="{FF2B5EF4-FFF2-40B4-BE49-F238E27FC236}">
                    <a16:creationId xmlns:a16="http://schemas.microsoft.com/office/drawing/2014/main" id="{6E922114-FA9A-4AC8-B49B-87777F7BD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1512" y="2167364"/>
                <a:ext cx="278050" cy="179387"/>
              </a:xfrm>
              <a:custGeom>
                <a:avLst/>
                <a:gdLst>
                  <a:gd name="T0" fmla="*/ 44 w 224"/>
                  <a:gd name="T1" fmla="*/ 144 h 144"/>
                  <a:gd name="T2" fmla="*/ 32 w 224"/>
                  <a:gd name="T3" fmla="*/ 144 h 144"/>
                  <a:gd name="T4" fmla="*/ 0 w 224"/>
                  <a:gd name="T5" fmla="*/ 112 h 144"/>
                  <a:gd name="T6" fmla="*/ 32 w 224"/>
                  <a:gd name="T7" fmla="*/ 80 h 144"/>
                  <a:gd name="T8" fmla="*/ 32 w 224"/>
                  <a:gd name="T9" fmla="*/ 80 h 144"/>
                  <a:gd name="T10" fmla="*/ 32 w 224"/>
                  <a:gd name="T11" fmla="*/ 76 h 144"/>
                  <a:gd name="T12" fmla="*/ 72 w 224"/>
                  <a:gd name="T13" fmla="*/ 36 h 144"/>
                  <a:gd name="T14" fmla="*/ 90 w 224"/>
                  <a:gd name="T15" fmla="*/ 41 h 144"/>
                  <a:gd name="T16" fmla="*/ 144 w 224"/>
                  <a:gd name="T17" fmla="*/ 0 h 144"/>
                  <a:gd name="T18" fmla="*/ 200 w 224"/>
                  <a:gd name="T19" fmla="*/ 56 h 144"/>
                  <a:gd name="T20" fmla="*/ 199 w 224"/>
                  <a:gd name="T21" fmla="*/ 61 h 144"/>
                  <a:gd name="T22" fmla="*/ 224 w 224"/>
                  <a:gd name="T23" fmla="*/ 100 h 144"/>
                  <a:gd name="T24" fmla="*/ 188 w 224"/>
                  <a:gd name="T25" fmla="*/ 143 h 144"/>
                  <a:gd name="T26" fmla="*/ 187 w 224"/>
                  <a:gd name="T27" fmla="*/ 135 h 144"/>
                  <a:gd name="T28" fmla="*/ 216 w 224"/>
                  <a:gd name="T29" fmla="*/ 100 h 144"/>
                  <a:gd name="T30" fmla="*/ 193 w 224"/>
                  <a:gd name="T31" fmla="*/ 67 h 144"/>
                  <a:gd name="T32" fmla="*/ 191 w 224"/>
                  <a:gd name="T33" fmla="*/ 63 h 144"/>
                  <a:gd name="T34" fmla="*/ 192 w 224"/>
                  <a:gd name="T35" fmla="*/ 56 h 144"/>
                  <a:gd name="T36" fmla="*/ 144 w 224"/>
                  <a:gd name="T37" fmla="*/ 8 h 144"/>
                  <a:gd name="T38" fmla="*/ 96 w 224"/>
                  <a:gd name="T39" fmla="*/ 48 h 144"/>
                  <a:gd name="T40" fmla="*/ 94 w 224"/>
                  <a:gd name="T41" fmla="*/ 51 h 144"/>
                  <a:gd name="T42" fmla="*/ 90 w 224"/>
                  <a:gd name="T43" fmla="*/ 50 h 144"/>
                  <a:gd name="T44" fmla="*/ 72 w 224"/>
                  <a:gd name="T45" fmla="*/ 44 h 144"/>
                  <a:gd name="T46" fmla="*/ 40 w 224"/>
                  <a:gd name="T47" fmla="*/ 76 h 144"/>
                  <a:gd name="T48" fmla="*/ 40 w 224"/>
                  <a:gd name="T49" fmla="*/ 84 h 144"/>
                  <a:gd name="T50" fmla="*/ 39 w 224"/>
                  <a:gd name="T51" fmla="*/ 87 h 144"/>
                  <a:gd name="T52" fmla="*/ 36 w 224"/>
                  <a:gd name="T53" fmla="*/ 89 h 144"/>
                  <a:gd name="T54" fmla="*/ 32 w 224"/>
                  <a:gd name="T55" fmla="*/ 88 h 144"/>
                  <a:gd name="T56" fmla="*/ 8 w 224"/>
                  <a:gd name="T57" fmla="*/ 112 h 144"/>
                  <a:gd name="T58" fmla="*/ 32 w 224"/>
                  <a:gd name="T59" fmla="*/ 136 h 144"/>
                  <a:gd name="T60" fmla="*/ 44 w 224"/>
                  <a:gd name="T61" fmla="*/ 136 h 144"/>
                  <a:gd name="T62" fmla="*/ 44 w 224"/>
                  <a:gd name="T6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4" h="144">
                    <a:moveTo>
                      <a:pt x="44" y="144"/>
                    </a:moveTo>
                    <a:cubicBezTo>
                      <a:pt x="32" y="144"/>
                      <a:pt x="32" y="144"/>
                      <a:pt x="32" y="144"/>
                    </a:cubicBezTo>
                    <a:cubicBezTo>
                      <a:pt x="14" y="144"/>
                      <a:pt x="0" y="130"/>
                      <a:pt x="0" y="112"/>
                    </a:cubicBezTo>
                    <a:cubicBezTo>
                      <a:pt x="0" y="95"/>
                      <a:pt x="14" y="80"/>
                      <a:pt x="32" y="80"/>
                    </a:cubicBezTo>
                    <a:cubicBezTo>
                      <a:pt x="32" y="80"/>
                      <a:pt x="32" y="80"/>
                      <a:pt x="32" y="80"/>
                    </a:cubicBezTo>
                    <a:cubicBezTo>
                      <a:pt x="32" y="79"/>
                      <a:pt x="32" y="78"/>
                      <a:pt x="32" y="76"/>
                    </a:cubicBezTo>
                    <a:cubicBezTo>
                      <a:pt x="32" y="54"/>
                      <a:pt x="49" y="36"/>
                      <a:pt x="72" y="36"/>
                    </a:cubicBezTo>
                    <a:cubicBezTo>
                      <a:pt x="78" y="36"/>
                      <a:pt x="84" y="38"/>
                      <a:pt x="90" y="41"/>
                    </a:cubicBezTo>
                    <a:cubicBezTo>
                      <a:pt x="97" y="17"/>
                      <a:pt x="118" y="0"/>
                      <a:pt x="144" y="0"/>
                    </a:cubicBezTo>
                    <a:cubicBezTo>
                      <a:pt x="174" y="0"/>
                      <a:pt x="200" y="25"/>
                      <a:pt x="200" y="56"/>
                    </a:cubicBezTo>
                    <a:cubicBezTo>
                      <a:pt x="200" y="58"/>
                      <a:pt x="199" y="59"/>
                      <a:pt x="199" y="61"/>
                    </a:cubicBezTo>
                    <a:cubicBezTo>
                      <a:pt x="214" y="68"/>
                      <a:pt x="224" y="83"/>
                      <a:pt x="224" y="100"/>
                    </a:cubicBezTo>
                    <a:cubicBezTo>
                      <a:pt x="224" y="121"/>
                      <a:pt x="209" y="139"/>
                      <a:pt x="188" y="143"/>
                    </a:cubicBezTo>
                    <a:cubicBezTo>
                      <a:pt x="187" y="135"/>
                      <a:pt x="187" y="135"/>
                      <a:pt x="187" y="135"/>
                    </a:cubicBezTo>
                    <a:cubicBezTo>
                      <a:pt x="203" y="132"/>
                      <a:pt x="216" y="117"/>
                      <a:pt x="216" y="100"/>
                    </a:cubicBezTo>
                    <a:cubicBezTo>
                      <a:pt x="216" y="86"/>
                      <a:pt x="207" y="73"/>
                      <a:pt x="193" y="67"/>
                    </a:cubicBezTo>
                    <a:cubicBezTo>
                      <a:pt x="192" y="66"/>
                      <a:pt x="191" y="65"/>
                      <a:pt x="191" y="63"/>
                    </a:cubicBezTo>
                    <a:cubicBezTo>
                      <a:pt x="191" y="60"/>
                      <a:pt x="192" y="58"/>
                      <a:pt x="192" y="56"/>
                    </a:cubicBezTo>
                    <a:cubicBezTo>
                      <a:pt x="192" y="30"/>
                      <a:pt x="170" y="8"/>
                      <a:pt x="144" y="8"/>
                    </a:cubicBezTo>
                    <a:cubicBezTo>
                      <a:pt x="120" y="8"/>
                      <a:pt x="100" y="25"/>
                      <a:pt x="96" y="48"/>
                    </a:cubicBezTo>
                    <a:cubicBezTo>
                      <a:pt x="96" y="49"/>
                      <a:pt x="95" y="50"/>
                      <a:pt x="94" y="51"/>
                    </a:cubicBezTo>
                    <a:cubicBezTo>
                      <a:pt x="93" y="51"/>
                      <a:pt x="91" y="51"/>
                      <a:pt x="90" y="50"/>
                    </a:cubicBezTo>
                    <a:cubicBezTo>
                      <a:pt x="85" y="46"/>
                      <a:pt x="78" y="44"/>
                      <a:pt x="72" y="44"/>
                    </a:cubicBezTo>
                    <a:cubicBezTo>
                      <a:pt x="54" y="44"/>
                      <a:pt x="40" y="59"/>
                      <a:pt x="40" y="76"/>
                    </a:cubicBezTo>
                    <a:cubicBezTo>
                      <a:pt x="40" y="79"/>
                      <a:pt x="40" y="81"/>
                      <a:pt x="40" y="84"/>
                    </a:cubicBezTo>
                    <a:cubicBezTo>
                      <a:pt x="41" y="85"/>
                      <a:pt x="40" y="86"/>
                      <a:pt x="39" y="87"/>
                    </a:cubicBezTo>
                    <a:cubicBezTo>
                      <a:pt x="39" y="88"/>
                      <a:pt x="37" y="89"/>
                      <a:pt x="36" y="89"/>
                    </a:cubicBezTo>
                    <a:cubicBezTo>
                      <a:pt x="34" y="88"/>
                      <a:pt x="33" y="88"/>
                      <a:pt x="32" y="88"/>
                    </a:cubicBezTo>
                    <a:cubicBezTo>
                      <a:pt x="18" y="88"/>
                      <a:pt x="8" y="99"/>
                      <a:pt x="8" y="112"/>
                    </a:cubicBezTo>
                    <a:cubicBezTo>
                      <a:pt x="8" y="125"/>
                      <a:pt x="18" y="136"/>
                      <a:pt x="32" y="136"/>
                    </a:cubicBezTo>
                    <a:cubicBezTo>
                      <a:pt x="44" y="136"/>
                      <a:pt x="44" y="136"/>
                      <a:pt x="44" y="136"/>
                    </a:cubicBezTo>
                    <a:lnTo>
                      <a:pt x="44" y="1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CA0E0E7-C593-4D55-B668-09F3F9B6E4BC}"/>
                </a:ext>
              </a:extLst>
            </p:cNvPr>
            <p:cNvSpPr txBox="1"/>
            <p:nvPr/>
          </p:nvSpPr>
          <p:spPr>
            <a:xfrm>
              <a:off x="3696048" y="3981129"/>
              <a:ext cx="1009515" cy="30196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400" b="1">
                  <a:solidFill>
                    <a:schemeClr val="tx2"/>
                  </a:solidFill>
                </a:rPr>
                <a:t>90K+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D3379AD-77FC-4F5D-A1DC-2A08D7BAE86F}"/>
                </a:ext>
              </a:extLst>
            </p:cNvPr>
            <p:cNvSpPr txBox="1"/>
            <p:nvPr/>
          </p:nvSpPr>
          <p:spPr>
            <a:xfrm>
              <a:off x="3696048" y="4225444"/>
              <a:ext cx="1224513" cy="30196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100"/>
                <a:t>Ratings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5817098-EDAB-4583-A4CF-C650AC386B0D}"/>
                </a:ext>
              </a:extLst>
            </p:cNvPr>
            <p:cNvSpPr txBox="1"/>
            <p:nvPr/>
          </p:nvSpPr>
          <p:spPr>
            <a:xfrm>
              <a:off x="3696048" y="5095514"/>
              <a:ext cx="1009515" cy="30196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400" b="1">
                  <a:solidFill>
                    <a:schemeClr val="tx2"/>
                  </a:solidFill>
                </a:rPr>
                <a:t>500K+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4FF50BA-792F-4137-B62C-AE5CD22598C6}"/>
                </a:ext>
              </a:extLst>
            </p:cNvPr>
            <p:cNvSpPr txBox="1"/>
            <p:nvPr/>
          </p:nvSpPr>
          <p:spPr>
            <a:xfrm>
              <a:off x="3696048" y="5351597"/>
              <a:ext cx="1224513" cy="33459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100"/>
                <a:t>User Retention</a:t>
              </a:r>
            </a:p>
          </p:txBody>
        </p:sp>
        <p:sp>
          <p:nvSpPr>
            <p:cNvPr id="122" name="Rounded Rectangle 24">
              <a:extLst>
                <a:ext uri="{FF2B5EF4-FFF2-40B4-BE49-F238E27FC236}">
                  <a16:creationId xmlns:a16="http://schemas.microsoft.com/office/drawing/2014/main" id="{1BC77ECA-1E2E-41BF-B7A0-A21F173CAD64}"/>
                </a:ext>
              </a:extLst>
            </p:cNvPr>
            <p:cNvSpPr/>
            <p:nvPr/>
          </p:nvSpPr>
          <p:spPr>
            <a:xfrm>
              <a:off x="2890253" y="3905794"/>
              <a:ext cx="608269" cy="617887"/>
            </a:xfrm>
            <a:prstGeom prst="roundRect">
              <a:avLst>
                <a:gd name="adj" fmla="val 13221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26" name="Rounded Rectangle 24">
              <a:extLst>
                <a:ext uri="{FF2B5EF4-FFF2-40B4-BE49-F238E27FC236}">
                  <a16:creationId xmlns:a16="http://schemas.microsoft.com/office/drawing/2014/main" id="{913632CB-4806-4616-8E0E-AD7284E05B7F}"/>
                </a:ext>
              </a:extLst>
            </p:cNvPr>
            <p:cNvSpPr/>
            <p:nvPr/>
          </p:nvSpPr>
          <p:spPr>
            <a:xfrm>
              <a:off x="2890253" y="5067300"/>
              <a:ext cx="608269" cy="617887"/>
            </a:xfrm>
            <a:prstGeom prst="roundRect">
              <a:avLst>
                <a:gd name="adj" fmla="val 13221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FD11F32A-8EEB-4F08-B29F-360F69149891}"/>
                </a:ext>
              </a:extLst>
            </p:cNvPr>
            <p:cNvGrpSpPr/>
            <p:nvPr/>
          </p:nvGrpSpPr>
          <p:grpSpPr>
            <a:xfrm>
              <a:off x="2992445" y="3970080"/>
              <a:ext cx="419627" cy="435817"/>
              <a:chOff x="7063039" y="4376071"/>
              <a:chExt cx="239930" cy="257870"/>
            </a:xfrm>
            <a:solidFill>
              <a:schemeClr val="tx2"/>
            </a:solidFill>
          </p:grpSpPr>
          <p:sp>
            <p:nvSpPr>
              <p:cNvPr id="181" name="Freeform 638">
                <a:extLst>
                  <a:ext uri="{FF2B5EF4-FFF2-40B4-BE49-F238E27FC236}">
                    <a16:creationId xmlns:a16="http://schemas.microsoft.com/office/drawing/2014/main" id="{D2C66B02-E89B-476D-92FC-58971E8F2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3039" y="4474734"/>
                <a:ext cx="60544" cy="150238"/>
              </a:xfrm>
              <a:custGeom>
                <a:avLst/>
                <a:gdLst>
                  <a:gd name="T0" fmla="*/ 44 w 48"/>
                  <a:gd name="T1" fmla="*/ 120 h 120"/>
                  <a:gd name="T2" fmla="*/ 4 w 48"/>
                  <a:gd name="T3" fmla="*/ 120 h 120"/>
                  <a:gd name="T4" fmla="*/ 0 w 48"/>
                  <a:gd name="T5" fmla="*/ 116 h 120"/>
                  <a:gd name="T6" fmla="*/ 4 w 48"/>
                  <a:gd name="T7" fmla="*/ 112 h 120"/>
                  <a:gd name="T8" fmla="*/ 40 w 48"/>
                  <a:gd name="T9" fmla="*/ 112 h 120"/>
                  <a:gd name="T10" fmla="*/ 40 w 48"/>
                  <a:gd name="T11" fmla="*/ 8 h 120"/>
                  <a:gd name="T12" fmla="*/ 4 w 48"/>
                  <a:gd name="T13" fmla="*/ 8 h 120"/>
                  <a:gd name="T14" fmla="*/ 0 w 48"/>
                  <a:gd name="T15" fmla="*/ 4 h 120"/>
                  <a:gd name="T16" fmla="*/ 4 w 48"/>
                  <a:gd name="T17" fmla="*/ 0 h 120"/>
                  <a:gd name="T18" fmla="*/ 44 w 48"/>
                  <a:gd name="T19" fmla="*/ 0 h 120"/>
                  <a:gd name="T20" fmla="*/ 48 w 48"/>
                  <a:gd name="T21" fmla="*/ 4 h 120"/>
                  <a:gd name="T22" fmla="*/ 48 w 48"/>
                  <a:gd name="T23" fmla="*/ 116 h 120"/>
                  <a:gd name="T24" fmla="*/ 44 w 48"/>
                  <a:gd name="T25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8" h="120">
                    <a:moveTo>
                      <a:pt x="44" y="120"/>
                    </a:moveTo>
                    <a:cubicBezTo>
                      <a:pt x="4" y="120"/>
                      <a:pt x="4" y="120"/>
                      <a:pt x="4" y="120"/>
                    </a:cubicBezTo>
                    <a:cubicBezTo>
                      <a:pt x="2" y="120"/>
                      <a:pt x="0" y="118"/>
                      <a:pt x="0" y="116"/>
                    </a:cubicBezTo>
                    <a:cubicBezTo>
                      <a:pt x="0" y="114"/>
                      <a:pt x="2" y="112"/>
                      <a:pt x="4" y="112"/>
                    </a:cubicBezTo>
                    <a:cubicBezTo>
                      <a:pt x="40" y="112"/>
                      <a:pt x="40" y="112"/>
                      <a:pt x="40" y="112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6" y="0"/>
                      <a:pt x="48" y="2"/>
                      <a:pt x="48" y="4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48" y="118"/>
                      <a:pt x="46" y="120"/>
                      <a:pt x="44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2" name="Oval 639">
                <a:extLst>
                  <a:ext uri="{FF2B5EF4-FFF2-40B4-BE49-F238E27FC236}">
                    <a16:creationId xmlns:a16="http://schemas.microsoft.com/office/drawing/2014/main" id="{87E039C5-73FE-4DBA-8C5A-0B52D3569E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83220" y="4575640"/>
                <a:ext cx="20182" cy="2018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3" name="Freeform 640">
                <a:extLst>
                  <a:ext uri="{FF2B5EF4-FFF2-40B4-BE49-F238E27FC236}">
                    <a16:creationId xmlns:a16="http://schemas.microsoft.com/office/drawing/2014/main" id="{D8CD89C4-F129-4016-AF76-526B11FF76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2371" y="4584609"/>
                <a:ext cx="159207" cy="49332"/>
              </a:xfrm>
              <a:custGeom>
                <a:avLst/>
                <a:gdLst>
                  <a:gd name="T0" fmla="*/ 108 w 128"/>
                  <a:gd name="T1" fmla="*/ 40 h 40"/>
                  <a:gd name="T2" fmla="*/ 20 w 128"/>
                  <a:gd name="T3" fmla="*/ 40 h 40"/>
                  <a:gd name="T4" fmla="*/ 0 w 128"/>
                  <a:gd name="T5" fmla="*/ 20 h 40"/>
                  <a:gd name="T6" fmla="*/ 8 w 128"/>
                  <a:gd name="T7" fmla="*/ 20 h 40"/>
                  <a:gd name="T8" fmla="*/ 20 w 128"/>
                  <a:gd name="T9" fmla="*/ 32 h 40"/>
                  <a:gd name="T10" fmla="*/ 68 w 128"/>
                  <a:gd name="T11" fmla="*/ 32 h 40"/>
                  <a:gd name="T12" fmla="*/ 64 w 128"/>
                  <a:gd name="T13" fmla="*/ 20 h 40"/>
                  <a:gd name="T14" fmla="*/ 84 w 128"/>
                  <a:gd name="T15" fmla="*/ 0 h 40"/>
                  <a:gd name="T16" fmla="*/ 108 w 128"/>
                  <a:gd name="T17" fmla="*/ 0 h 40"/>
                  <a:gd name="T18" fmla="*/ 128 w 128"/>
                  <a:gd name="T19" fmla="*/ 20 h 40"/>
                  <a:gd name="T20" fmla="*/ 108 w 128"/>
                  <a:gd name="T21" fmla="*/ 40 h 40"/>
                  <a:gd name="T22" fmla="*/ 84 w 128"/>
                  <a:gd name="T23" fmla="*/ 32 h 40"/>
                  <a:gd name="T24" fmla="*/ 108 w 128"/>
                  <a:gd name="T25" fmla="*/ 32 h 40"/>
                  <a:gd name="T26" fmla="*/ 120 w 128"/>
                  <a:gd name="T27" fmla="*/ 20 h 40"/>
                  <a:gd name="T28" fmla="*/ 108 w 128"/>
                  <a:gd name="T29" fmla="*/ 8 h 40"/>
                  <a:gd name="T30" fmla="*/ 84 w 128"/>
                  <a:gd name="T31" fmla="*/ 8 h 40"/>
                  <a:gd name="T32" fmla="*/ 72 w 128"/>
                  <a:gd name="T33" fmla="*/ 20 h 40"/>
                  <a:gd name="T34" fmla="*/ 84 w 128"/>
                  <a:gd name="T35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8" h="40">
                    <a:moveTo>
                      <a:pt x="108" y="40"/>
                    </a:moveTo>
                    <a:cubicBezTo>
                      <a:pt x="20" y="40"/>
                      <a:pt x="20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7"/>
                      <a:pt x="14" y="32"/>
                      <a:pt x="20" y="32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66" y="29"/>
                      <a:pt x="64" y="25"/>
                      <a:pt x="64" y="20"/>
                    </a:cubicBezTo>
                    <a:cubicBezTo>
                      <a:pt x="64" y="9"/>
                      <a:pt x="73" y="0"/>
                      <a:pt x="84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19" y="0"/>
                      <a:pt x="128" y="9"/>
                      <a:pt x="128" y="20"/>
                    </a:cubicBezTo>
                    <a:cubicBezTo>
                      <a:pt x="128" y="31"/>
                      <a:pt x="119" y="40"/>
                      <a:pt x="108" y="40"/>
                    </a:cubicBezTo>
                    <a:close/>
                    <a:moveTo>
                      <a:pt x="84" y="32"/>
                    </a:moveTo>
                    <a:cubicBezTo>
                      <a:pt x="108" y="32"/>
                      <a:pt x="108" y="32"/>
                      <a:pt x="108" y="32"/>
                    </a:cubicBezTo>
                    <a:cubicBezTo>
                      <a:pt x="115" y="32"/>
                      <a:pt x="120" y="27"/>
                      <a:pt x="120" y="20"/>
                    </a:cubicBezTo>
                    <a:cubicBezTo>
                      <a:pt x="120" y="13"/>
                      <a:pt x="115" y="8"/>
                      <a:pt x="108" y="8"/>
                    </a:cubicBezTo>
                    <a:cubicBezTo>
                      <a:pt x="84" y="8"/>
                      <a:pt x="84" y="8"/>
                      <a:pt x="84" y="8"/>
                    </a:cubicBezTo>
                    <a:cubicBezTo>
                      <a:pt x="78" y="8"/>
                      <a:pt x="72" y="13"/>
                      <a:pt x="72" y="20"/>
                    </a:cubicBezTo>
                    <a:cubicBezTo>
                      <a:pt x="72" y="27"/>
                      <a:pt x="78" y="32"/>
                      <a:pt x="84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4" name="Freeform 641">
                <a:extLst>
                  <a:ext uri="{FF2B5EF4-FFF2-40B4-BE49-F238E27FC236}">
                    <a16:creationId xmlns:a16="http://schemas.microsoft.com/office/drawing/2014/main" id="{EB72247F-5A20-43F3-9026-DE9F85AA32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7580" y="4544247"/>
                <a:ext cx="94178" cy="51575"/>
              </a:xfrm>
              <a:custGeom>
                <a:avLst/>
                <a:gdLst>
                  <a:gd name="T0" fmla="*/ 56 w 76"/>
                  <a:gd name="T1" fmla="*/ 40 h 40"/>
                  <a:gd name="T2" fmla="*/ 40 w 76"/>
                  <a:gd name="T3" fmla="*/ 40 h 40"/>
                  <a:gd name="T4" fmla="*/ 40 w 76"/>
                  <a:gd name="T5" fmla="*/ 32 h 40"/>
                  <a:gd name="T6" fmla="*/ 56 w 76"/>
                  <a:gd name="T7" fmla="*/ 32 h 40"/>
                  <a:gd name="T8" fmla="*/ 68 w 76"/>
                  <a:gd name="T9" fmla="*/ 20 h 40"/>
                  <a:gd name="T10" fmla="*/ 56 w 76"/>
                  <a:gd name="T11" fmla="*/ 8 h 40"/>
                  <a:gd name="T12" fmla="*/ 20 w 76"/>
                  <a:gd name="T13" fmla="*/ 8 h 40"/>
                  <a:gd name="T14" fmla="*/ 8 w 76"/>
                  <a:gd name="T15" fmla="*/ 20 h 40"/>
                  <a:gd name="T16" fmla="*/ 20 w 76"/>
                  <a:gd name="T17" fmla="*/ 32 h 40"/>
                  <a:gd name="T18" fmla="*/ 20 w 76"/>
                  <a:gd name="T19" fmla="*/ 40 h 40"/>
                  <a:gd name="T20" fmla="*/ 0 w 76"/>
                  <a:gd name="T21" fmla="*/ 20 h 40"/>
                  <a:gd name="T22" fmla="*/ 20 w 76"/>
                  <a:gd name="T23" fmla="*/ 0 h 40"/>
                  <a:gd name="T24" fmla="*/ 56 w 76"/>
                  <a:gd name="T25" fmla="*/ 0 h 40"/>
                  <a:gd name="T26" fmla="*/ 76 w 76"/>
                  <a:gd name="T27" fmla="*/ 20 h 40"/>
                  <a:gd name="T28" fmla="*/ 56 w 76"/>
                  <a:gd name="T2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40">
                    <a:moveTo>
                      <a:pt x="56" y="40"/>
                    </a:moveTo>
                    <a:cubicBezTo>
                      <a:pt x="40" y="40"/>
                      <a:pt x="40" y="40"/>
                      <a:pt x="40" y="40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63" y="32"/>
                      <a:pt x="68" y="27"/>
                      <a:pt x="68" y="20"/>
                    </a:cubicBezTo>
                    <a:cubicBezTo>
                      <a:pt x="68" y="13"/>
                      <a:pt x="63" y="8"/>
                      <a:pt x="56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8"/>
                      <a:pt x="8" y="13"/>
                      <a:pt x="8" y="20"/>
                    </a:cubicBezTo>
                    <a:cubicBezTo>
                      <a:pt x="8" y="27"/>
                      <a:pt x="14" y="32"/>
                      <a:pt x="20" y="32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67" y="0"/>
                      <a:pt x="76" y="9"/>
                      <a:pt x="76" y="20"/>
                    </a:cubicBezTo>
                    <a:cubicBezTo>
                      <a:pt x="76" y="31"/>
                      <a:pt x="67" y="40"/>
                      <a:pt x="56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5" name="Freeform 642">
                <a:extLst>
                  <a:ext uri="{FF2B5EF4-FFF2-40B4-BE49-F238E27FC236}">
                    <a16:creationId xmlns:a16="http://schemas.microsoft.com/office/drawing/2014/main" id="{B56C868C-BE0A-41EA-A7FD-B77B220C1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2065" y="4506127"/>
                <a:ext cx="35877" cy="49332"/>
              </a:xfrm>
              <a:custGeom>
                <a:avLst/>
                <a:gdLst>
                  <a:gd name="T0" fmla="*/ 20 w 28"/>
                  <a:gd name="T1" fmla="*/ 40 h 40"/>
                  <a:gd name="T2" fmla="*/ 0 w 28"/>
                  <a:gd name="T3" fmla="*/ 20 h 40"/>
                  <a:gd name="T4" fmla="*/ 20 w 28"/>
                  <a:gd name="T5" fmla="*/ 0 h 40"/>
                  <a:gd name="T6" fmla="*/ 28 w 28"/>
                  <a:gd name="T7" fmla="*/ 0 h 40"/>
                  <a:gd name="T8" fmla="*/ 28 w 28"/>
                  <a:gd name="T9" fmla="*/ 8 h 40"/>
                  <a:gd name="T10" fmla="*/ 20 w 28"/>
                  <a:gd name="T11" fmla="*/ 8 h 40"/>
                  <a:gd name="T12" fmla="*/ 8 w 28"/>
                  <a:gd name="T13" fmla="*/ 20 h 40"/>
                  <a:gd name="T14" fmla="*/ 20 w 28"/>
                  <a:gd name="T15" fmla="*/ 32 h 40"/>
                  <a:gd name="T16" fmla="*/ 20 w 28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8"/>
                      <a:pt x="8" y="13"/>
                      <a:pt x="8" y="20"/>
                    </a:cubicBezTo>
                    <a:cubicBezTo>
                      <a:pt x="8" y="27"/>
                      <a:pt x="14" y="32"/>
                      <a:pt x="20" y="32"/>
                    </a:cubicBezTo>
                    <a:lnTo>
                      <a:pt x="20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6" name="Freeform 643">
                <a:extLst>
                  <a:ext uri="{FF2B5EF4-FFF2-40B4-BE49-F238E27FC236}">
                    <a16:creationId xmlns:a16="http://schemas.microsoft.com/office/drawing/2014/main" id="{0CA06241-0DD8-41F8-92DB-568928328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7092" y="4506127"/>
                <a:ext cx="35877" cy="49332"/>
              </a:xfrm>
              <a:custGeom>
                <a:avLst/>
                <a:gdLst>
                  <a:gd name="T0" fmla="*/ 8 w 28"/>
                  <a:gd name="T1" fmla="*/ 40 h 40"/>
                  <a:gd name="T2" fmla="*/ 0 w 28"/>
                  <a:gd name="T3" fmla="*/ 40 h 40"/>
                  <a:gd name="T4" fmla="*/ 0 w 28"/>
                  <a:gd name="T5" fmla="*/ 32 h 40"/>
                  <a:gd name="T6" fmla="*/ 8 w 28"/>
                  <a:gd name="T7" fmla="*/ 32 h 40"/>
                  <a:gd name="T8" fmla="*/ 20 w 28"/>
                  <a:gd name="T9" fmla="*/ 20 h 40"/>
                  <a:gd name="T10" fmla="*/ 8 w 28"/>
                  <a:gd name="T11" fmla="*/ 8 h 40"/>
                  <a:gd name="T12" fmla="*/ 8 w 28"/>
                  <a:gd name="T13" fmla="*/ 0 h 40"/>
                  <a:gd name="T14" fmla="*/ 28 w 28"/>
                  <a:gd name="T15" fmla="*/ 20 h 40"/>
                  <a:gd name="T16" fmla="*/ 8 w 28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40">
                    <a:moveTo>
                      <a:pt x="8" y="40"/>
                    </a:moveTo>
                    <a:cubicBezTo>
                      <a:pt x="0" y="40"/>
                      <a:pt x="0" y="40"/>
                      <a:pt x="0" y="40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5" y="32"/>
                      <a:pt x="20" y="27"/>
                      <a:pt x="20" y="20"/>
                    </a:cubicBezTo>
                    <a:cubicBezTo>
                      <a:pt x="20" y="13"/>
                      <a:pt x="15" y="8"/>
                      <a:pt x="8" y="8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9" y="0"/>
                      <a:pt x="28" y="9"/>
                      <a:pt x="28" y="20"/>
                    </a:cubicBezTo>
                    <a:cubicBezTo>
                      <a:pt x="28" y="31"/>
                      <a:pt x="19" y="40"/>
                      <a:pt x="8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7" name="Freeform 644">
                <a:extLst>
                  <a:ext uri="{FF2B5EF4-FFF2-40B4-BE49-F238E27FC236}">
                    <a16:creationId xmlns:a16="http://schemas.microsoft.com/office/drawing/2014/main" id="{A16C8E04-F686-451F-8F34-B70180DC08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4612" y="4376071"/>
                <a:ext cx="188357" cy="139025"/>
              </a:xfrm>
              <a:custGeom>
                <a:avLst/>
                <a:gdLst>
                  <a:gd name="T0" fmla="*/ 131 w 151"/>
                  <a:gd name="T1" fmla="*/ 112 h 112"/>
                  <a:gd name="T2" fmla="*/ 99 w 151"/>
                  <a:gd name="T3" fmla="*/ 112 h 112"/>
                  <a:gd name="T4" fmla="*/ 79 w 151"/>
                  <a:gd name="T5" fmla="*/ 92 h 112"/>
                  <a:gd name="T6" fmla="*/ 83 w 151"/>
                  <a:gd name="T7" fmla="*/ 80 h 112"/>
                  <a:gd name="T8" fmla="*/ 67 w 151"/>
                  <a:gd name="T9" fmla="*/ 80 h 112"/>
                  <a:gd name="T10" fmla="*/ 63 w 151"/>
                  <a:gd name="T11" fmla="*/ 76 h 112"/>
                  <a:gd name="T12" fmla="*/ 63 w 151"/>
                  <a:gd name="T13" fmla="*/ 28 h 112"/>
                  <a:gd name="T14" fmla="*/ 43 w 151"/>
                  <a:gd name="T15" fmla="*/ 8 h 112"/>
                  <a:gd name="T16" fmla="*/ 39 w 151"/>
                  <a:gd name="T17" fmla="*/ 8 h 112"/>
                  <a:gd name="T18" fmla="*/ 39 w 151"/>
                  <a:gd name="T19" fmla="*/ 40 h 112"/>
                  <a:gd name="T20" fmla="*/ 39 w 151"/>
                  <a:gd name="T21" fmla="*/ 42 h 112"/>
                  <a:gd name="T22" fmla="*/ 7 w 151"/>
                  <a:gd name="T23" fmla="*/ 94 h 112"/>
                  <a:gd name="T24" fmla="*/ 0 w 151"/>
                  <a:gd name="T25" fmla="*/ 90 h 112"/>
                  <a:gd name="T26" fmla="*/ 31 w 151"/>
                  <a:gd name="T27" fmla="*/ 39 h 112"/>
                  <a:gd name="T28" fmla="*/ 31 w 151"/>
                  <a:gd name="T29" fmla="*/ 4 h 112"/>
                  <a:gd name="T30" fmla="*/ 35 w 151"/>
                  <a:gd name="T31" fmla="*/ 0 h 112"/>
                  <a:gd name="T32" fmla="*/ 43 w 151"/>
                  <a:gd name="T33" fmla="*/ 0 h 112"/>
                  <a:gd name="T34" fmla="*/ 71 w 151"/>
                  <a:gd name="T35" fmla="*/ 28 h 112"/>
                  <a:gd name="T36" fmla="*/ 71 w 151"/>
                  <a:gd name="T37" fmla="*/ 72 h 112"/>
                  <a:gd name="T38" fmla="*/ 131 w 151"/>
                  <a:gd name="T39" fmla="*/ 72 h 112"/>
                  <a:gd name="T40" fmla="*/ 151 w 151"/>
                  <a:gd name="T41" fmla="*/ 92 h 112"/>
                  <a:gd name="T42" fmla="*/ 131 w 151"/>
                  <a:gd name="T43" fmla="*/ 112 h 112"/>
                  <a:gd name="T44" fmla="*/ 99 w 151"/>
                  <a:gd name="T45" fmla="*/ 80 h 112"/>
                  <a:gd name="T46" fmla="*/ 87 w 151"/>
                  <a:gd name="T47" fmla="*/ 92 h 112"/>
                  <a:gd name="T48" fmla="*/ 99 w 151"/>
                  <a:gd name="T49" fmla="*/ 104 h 112"/>
                  <a:gd name="T50" fmla="*/ 131 w 151"/>
                  <a:gd name="T51" fmla="*/ 104 h 112"/>
                  <a:gd name="T52" fmla="*/ 143 w 151"/>
                  <a:gd name="T53" fmla="*/ 92 h 112"/>
                  <a:gd name="T54" fmla="*/ 131 w 151"/>
                  <a:gd name="T55" fmla="*/ 80 h 112"/>
                  <a:gd name="T56" fmla="*/ 99 w 151"/>
                  <a:gd name="T57" fmla="*/ 8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1" h="112">
                    <a:moveTo>
                      <a:pt x="131" y="112"/>
                    </a:moveTo>
                    <a:cubicBezTo>
                      <a:pt x="99" y="112"/>
                      <a:pt x="99" y="112"/>
                      <a:pt x="99" y="112"/>
                    </a:cubicBezTo>
                    <a:cubicBezTo>
                      <a:pt x="88" y="112"/>
                      <a:pt x="79" y="103"/>
                      <a:pt x="79" y="92"/>
                    </a:cubicBezTo>
                    <a:cubicBezTo>
                      <a:pt x="79" y="88"/>
                      <a:pt x="81" y="83"/>
                      <a:pt x="83" y="80"/>
                    </a:cubicBezTo>
                    <a:cubicBezTo>
                      <a:pt x="67" y="80"/>
                      <a:pt x="67" y="80"/>
                      <a:pt x="67" y="80"/>
                    </a:cubicBezTo>
                    <a:cubicBezTo>
                      <a:pt x="65" y="80"/>
                      <a:pt x="63" y="78"/>
                      <a:pt x="63" y="76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3" y="17"/>
                      <a:pt x="54" y="8"/>
                      <a:pt x="43" y="8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9" y="41"/>
                      <a:pt x="39" y="41"/>
                      <a:pt x="39" y="42"/>
                    </a:cubicBezTo>
                    <a:cubicBezTo>
                      <a:pt x="7" y="94"/>
                      <a:pt x="7" y="94"/>
                      <a:pt x="7" y="94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1" y="2"/>
                      <a:pt x="33" y="0"/>
                      <a:pt x="35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59" y="0"/>
                      <a:pt x="71" y="13"/>
                      <a:pt x="71" y="28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131" y="72"/>
                      <a:pt x="131" y="72"/>
                      <a:pt x="131" y="72"/>
                    </a:cubicBezTo>
                    <a:cubicBezTo>
                      <a:pt x="142" y="72"/>
                      <a:pt x="151" y="81"/>
                      <a:pt x="151" y="92"/>
                    </a:cubicBezTo>
                    <a:cubicBezTo>
                      <a:pt x="151" y="103"/>
                      <a:pt x="142" y="112"/>
                      <a:pt x="131" y="112"/>
                    </a:cubicBezTo>
                    <a:close/>
                    <a:moveTo>
                      <a:pt x="99" y="80"/>
                    </a:moveTo>
                    <a:cubicBezTo>
                      <a:pt x="93" y="80"/>
                      <a:pt x="87" y="85"/>
                      <a:pt x="87" y="92"/>
                    </a:cubicBezTo>
                    <a:cubicBezTo>
                      <a:pt x="87" y="99"/>
                      <a:pt x="93" y="104"/>
                      <a:pt x="99" y="104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8" y="104"/>
                      <a:pt x="143" y="99"/>
                      <a:pt x="143" y="92"/>
                    </a:cubicBezTo>
                    <a:cubicBezTo>
                      <a:pt x="143" y="85"/>
                      <a:pt x="138" y="80"/>
                      <a:pt x="131" y="80"/>
                    </a:cubicBezTo>
                    <a:lnTo>
                      <a:pt x="99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pic>
          <p:nvPicPr>
            <p:cNvPr id="88" name="Graphic 18">
              <a:extLst>
                <a:ext uri="{FF2B5EF4-FFF2-40B4-BE49-F238E27FC236}">
                  <a16:creationId xmlns:a16="http://schemas.microsoft.com/office/drawing/2014/main" id="{0AC6FB13-56BA-42C3-8908-4B493A13EA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957566" y="5152335"/>
              <a:ext cx="472791" cy="458493"/>
            </a:xfrm>
            <a:prstGeom prst="rect">
              <a:avLst/>
            </a:prstGeom>
            <a:effectLst>
              <a:outerShdw blurRad="63500" dist="63500" dir="3600000" algn="ctr" rotWithShape="0">
                <a:srgbClr val="000000">
                  <a:alpha val="10000"/>
                </a:srgbClr>
              </a:outerShdw>
            </a:effectLst>
          </p:spPr>
        </p:pic>
      </p:grpSp>
      <p:pic>
        <p:nvPicPr>
          <p:cNvPr id="137" name="Picture 136">
            <a:extLst>
              <a:ext uri="{FF2B5EF4-FFF2-40B4-BE49-F238E27FC236}">
                <a16:creationId xmlns:a16="http://schemas.microsoft.com/office/drawing/2014/main" id="{B56406DC-763A-4574-AD6A-BEA6E1D3778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512257" y="1398446"/>
            <a:ext cx="4001573" cy="6090379"/>
          </a:xfrm>
          <a:prstGeom prst="rect">
            <a:avLst/>
          </a:prstGeom>
        </p:spPr>
      </p:pic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81F2AEC7-32C4-43D3-9123-221130DFEACB}"/>
              </a:ext>
            </a:extLst>
          </p:cNvPr>
          <p:cNvSpPr/>
          <p:nvPr/>
        </p:nvSpPr>
        <p:spPr>
          <a:xfrm>
            <a:off x="6019027" y="1947489"/>
            <a:ext cx="2929294" cy="3913324"/>
          </a:xfrm>
          <a:prstGeom prst="roundRect">
            <a:avLst>
              <a:gd name="adj" fmla="val 105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F20A737D-A3B1-2969-0C7D-E45179D19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B414862-BA12-BAEF-F16D-F519AA81F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475D7AB-98F8-4B9A-A841-401FF47FA842}"/>
              </a:ext>
            </a:extLst>
          </p:cNvPr>
          <p:cNvGrpSpPr/>
          <p:nvPr/>
        </p:nvGrpSpPr>
        <p:grpSpPr>
          <a:xfrm>
            <a:off x="9528343" y="2368007"/>
            <a:ext cx="1849814" cy="3693459"/>
            <a:chOff x="7997841" y="2593398"/>
            <a:chExt cx="1849814" cy="3693459"/>
          </a:xfrm>
        </p:grpSpPr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1AF8E1A5-B84C-4692-96AE-2C471FB71A8D}"/>
                </a:ext>
              </a:extLst>
            </p:cNvPr>
            <p:cNvSpPr/>
            <p:nvPr/>
          </p:nvSpPr>
          <p:spPr>
            <a:xfrm>
              <a:off x="8087801" y="2672990"/>
              <a:ext cx="1696506" cy="3535621"/>
            </a:xfrm>
            <a:prstGeom prst="roundRect">
              <a:avLst>
                <a:gd name="adj" fmla="val 1004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87" name="Google Shape;859;p43">
              <a:extLst>
                <a:ext uri="{FF2B5EF4-FFF2-40B4-BE49-F238E27FC236}">
                  <a16:creationId xmlns:a16="http://schemas.microsoft.com/office/drawing/2014/main" id="{654E0F4F-24EE-4641-8981-34DB425CDB14}"/>
                </a:ext>
              </a:extLst>
            </p:cNvPr>
            <p:cNvPicPr preferRelativeResize="0"/>
            <p:nvPr/>
          </p:nvPicPr>
          <p:blipFill rotWithShape="1">
            <a:blip r:embed="rId6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97841" y="2593398"/>
              <a:ext cx="1849814" cy="3693459"/>
            </a:xfrm>
            <a:prstGeom prst="rect">
              <a:avLst/>
            </a:prstGeom>
            <a:noFill/>
            <a:ln>
              <a:noFill/>
            </a:ln>
            <a:effectLst>
              <a:reflection blurRad="6350" stA="21000" endPos="10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93835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D6361D6-1644-D114-CC2A-6EC2A0054421}"/>
              </a:ext>
            </a:extLst>
          </p:cNvPr>
          <p:cNvSpPr/>
          <p:nvPr/>
        </p:nvSpPr>
        <p:spPr>
          <a:xfrm>
            <a:off x="8273143" y="3870960"/>
            <a:ext cx="3931920" cy="237744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1447430-E490-5BE1-DCFF-7F3A68EE37FE}"/>
              </a:ext>
            </a:extLst>
          </p:cNvPr>
          <p:cNvSpPr/>
          <p:nvPr/>
        </p:nvSpPr>
        <p:spPr>
          <a:xfrm>
            <a:off x="0" y="3870960"/>
            <a:ext cx="3931920" cy="239268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568692-48DA-7B7C-6F66-F2DB15133BA8}"/>
              </a:ext>
            </a:extLst>
          </p:cNvPr>
          <p:cNvSpPr/>
          <p:nvPr/>
        </p:nvSpPr>
        <p:spPr>
          <a:xfrm>
            <a:off x="4134395" y="3870960"/>
            <a:ext cx="3931920" cy="239268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AEB25C-A970-0926-D9A3-E52EF9DE1442}"/>
              </a:ext>
            </a:extLst>
          </p:cNvPr>
          <p:cNvSpPr/>
          <p:nvPr/>
        </p:nvSpPr>
        <p:spPr>
          <a:xfrm>
            <a:off x="8268789" y="1323124"/>
            <a:ext cx="3931920" cy="237744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85DA2A-5A1A-BC6D-1250-C6F33BCCB3DB}"/>
              </a:ext>
            </a:extLst>
          </p:cNvPr>
          <p:cNvSpPr/>
          <p:nvPr/>
        </p:nvSpPr>
        <p:spPr>
          <a:xfrm>
            <a:off x="4134395" y="1323124"/>
            <a:ext cx="3931920" cy="237744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1B8834-17EC-A007-90E1-CD2E4DE403D5}"/>
              </a:ext>
            </a:extLst>
          </p:cNvPr>
          <p:cNvSpPr/>
          <p:nvPr/>
        </p:nvSpPr>
        <p:spPr>
          <a:xfrm>
            <a:off x="0" y="1323124"/>
            <a:ext cx="3931920" cy="237744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bject 52"/>
          <p:cNvSpPr txBox="1"/>
          <p:nvPr/>
        </p:nvSpPr>
        <p:spPr>
          <a:xfrm>
            <a:off x="1720970" y="4329200"/>
            <a:ext cx="609473" cy="56938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defTabSz="457178">
              <a:spcBef>
                <a:spcPts val="120"/>
              </a:spcBef>
              <a:defRPr/>
            </a:pPr>
            <a:r>
              <a:rPr lang="en-US" sz="3600" spc="5">
                <a:solidFill>
                  <a:schemeClr val="tx2"/>
                </a:solidFill>
                <a:latin typeface="+mj-lt"/>
              </a:rPr>
              <a:t>#1</a:t>
            </a:r>
          </a:p>
        </p:txBody>
      </p:sp>
      <p:sp>
        <p:nvSpPr>
          <p:cNvPr id="78" name="object 53"/>
          <p:cNvSpPr txBox="1"/>
          <p:nvPr/>
        </p:nvSpPr>
        <p:spPr>
          <a:xfrm>
            <a:off x="1737629" y="4790407"/>
            <a:ext cx="1803239" cy="1001557"/>
          </a:xfrm>
          <a:prstGeom prst="rect">
            <a:avLst/>
          </a:prstGeom>
        </p:spPr>
        <p:txBody>
          <a:bodyPr vert="horz" wrap="square" lIns="0" tIns="16511" rIns="0" bIns="0" rtlCol="0">
            <a:spAutoFit/>
          </a:bodyPr>
          <a:lstStyle/>
          <a:p>
            <a:pPr marL="12700" defTabSz="457178">
              <a:spcBef>
                <a:spcPts val="131"/>
              </a:spcBef>
              <a:defRPr/>
            </a:pP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Volutpat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sed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cras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ornare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arcu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dui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vivamus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arcu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felis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</a:p>
        </p:txBody>
      </p:sp>
      <p:sp>
        <p:nvSpPr>
          <p:cNvPr id="94" name="object 52"/>
          <p:cNvSpPr txBox="1"/>
          <p:nvPr/>
        </p:nvSpPr>
        <p:spPr>
          <a:xfrm>
            <a:off x="1685448" y="1694022"/>
            <a:ext cx="710049" cy="56938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defTabSz="457178">
              <a:spcBef>
                <a:spcPts val="120"/>
              </a:spcBef>
              <a:defRPr/>
            </a:pPr>
            <a:r>
              <a:rPr sz="3600" spc="5" dirty="0">
                <a:solidFill>
                  <a:schemeClr val="tx2"/>
                </a:solidFill>
                <a:latin typeface="+mj-lt"/>
                <a:cs typeface="Raleway Black"/>
              </a:rPr>
              <a:t>#</a:t>
            </a:r>
            <a:r>
              <a:rPr sz="3600" spc="11" dirty="0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1</a:t>
            </a:r>
            <a:endParaRPr sz="3600" dirty="0">
              <a:solidFill>
                <a:schemeClr val="tx2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95" name="object 53"/>
          <p:cNvSpPr txBox="1"/>
          <p:nvPr/>
        </p:nvSpPr>
        <p:spPr>
          <a:xfrm>
            <a:off x="1744952" y="2215361"/>
            <a:ext cx="2080175" cy="768160"/>
          </a:xfrm>
          <a:prstGeom prst="rect">
            <a:avLst/>
          </a:prstGeom>
        </p:spPr>
        <p:txBody>
          <a:bodyPr vert="horz" wrap="square" lIns="0" tIns="16511" rIns="0" bIns="0" rtlCol="0">
            <a:spAutoFit/>
          </a:bodyPr>
          <a:lstStyle/>
          <a:p>
            <a:pPr marL="12700" defTabSz="457178">
              <a:spcBef>
                <a:spcPts val="131"/>
              </a:spcBef>
              <a:defRPr/>
            </a:pP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Volutpat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sed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cras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ornare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arcu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dui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vivamus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arcu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felis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1F36E6A0-B1BD-48E4-97E5-25361C428E02}"/>
              </a:ext>
            </a:extLst>
          </p:cNvPr>
          <p:cNvGrpSpPr/>
          <p:nvPr/>
        </p:nvGrpSpPr>
        <p:grpSpPr>
          <a:xfrm>
            <a:off x="5814056" y="4258493"/>
            <a:ext cx="2141224" cy="1555573"/>
            <a:chOff x="3608389" y="2901658"/>
            <a:chExt cx="2624546" cy="1555573"/>
          </a:xfrm>
        </p:grpSpPr>
        <p:sp>
          <p:nvSpPr>
            <p:cNvPr id="136" name="object 52">
              <a:extLst>
                <a:ext uri="{FF2B5EF4-FFF2-40B4-BE49-F238E27FC236}">
                  <a16:creationId xmlns:a16="http://schemas.microsoft.com/office/drawing/2014/main" id="{857C1C20-C250-40EA-9D18-B03E2BACE699}"/>
                </a:ext>
              </a:extLst>
            </p:cNvPr>
            <p:cNvSpPr txBox="1"/>
            <p:nvPr/>
          </p:nvSpPr>
          <p:spPr>
            <a:xfrm>
              <a:off x="3608397" y="3422657"/>
              <a:ext cx="2624538" cy="569387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2700" defTabSz="457178">
                <a:spcBef>
                  <a:spcPts val="120"/>
                </a:spcBef>
                <a:defRPr/>
              </a:pPr>
              <a:r>
                <a:rPr lang="en-US" sz="3600" spc="5">
                  <a:solidFill>
                    <a:schemeClr val="tx2"/>
                  </a:solidFill>
                  <a:latin typeface="+mj-lt"/>
                </a:rPr>
                <a:t>55,000</a:t>
              </a:r>
              <a:endParaRPr sz="3600" spc="5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137" name="object 53">
              <a:extLst>
                <a:ext uri="{FF2B5EF4-FFF2-40B4-BE49-F238E27FC236}">
                  <a16:creationId xmlns:a16="http://schemas.microsoft.com/office/drawing/2014/main" id="{600E5FFE-4FA5-4BA1-952A-5ECB170F76E3}"/>
                </a:ext>
              </a:extLst>
            </p:cNvPr>
            <p:cNvSpPr txBox="1"/>
            <p:nvPr/>
          </p:nvSpPr>
          <p:spPr>
            <a:xfrm>
              <a:off x="3608389" y="2901658"/>
              <a:ext cx="2617074" cy="481030"/>
            </a:xfrm>
            <a:prstGeom prst="rect">
              <a:avLst/>
            </a:prstGeom>
          </p:spPr>
          <p:txBody>
            <a:bodyPr vert="horz" wrap="square" lIns="0" tIns="16511" rIns="0" bIns="0" rtlCol="0">
              <a:spAutoFit/>
            </a:bodyPr>
            <a:lstStyle/>
            <a:p>
              <a:pPr marL="12700" marR="5080" defTabSz="457178">
                <a:lnSpc>
                  <a:spcPct val="107200"/>
                </a:lnSpc>
                <a:spcBef>
                  <a:spcPts val="131"/>
                </a:spcBef>
                <a:defRPr/>
              </a:pPr>
              <a:r>
                <a:rPr lang="en-US" sz="1400" dirty="0">
                  <a:solidFill>
                    <a:schemeClr val="tx2"/>
                  </a:solidFill>
                  <a:latin typeface="+mj-lt"/>
                  <a:cs typeface="Open Sans"/>
                </a:rPr>
                <a:t>dui </a:t>
              </a:r>
              <a:r>
                <a:rPr lang="en-US" sz="1400" dirty="0" err="1">
                  <a:solidFill>
                    <a:schemeClr val="tx2"/>
                  </a:solidFill>
                  <a:latin typeface="+mj-lt"/>
                  <a:cs typeface="Open Sans"/>
                </a:rPr>
                <a:t>vivamus</a:t>
              </a:r>
              <a:r>
                <a:rPr lang="en-US" sz="1400" dirty="0">
                  <a:solidFill>
                    <a:schemeClr val="tx2"/>
                  </a:solidFill>
                  <a:latin typeface="+mj-lt"/>
                  <a:cs typeface="Open Sans"/>
                </a:rPr>
                <a:t> </a:t>
              </a:r>
              <a:r>
                <a:rPr lang="en-US" sz="1400" dirty="0" err="1">
                  <a:solidFill>
                    <a:schemeClr val="tx2"/>
                  </a:solidFill>
                  <a:latin typeface="+mj-lt"/>
                  <a:cs typeface="Open Sans"/>
                </a:rPr>
                <a:t>arcu</a:t>
              </a:r>
              <a:r>
                <a:rPr lang="en-US" sz="1400" dirty="0">
                  <a:solidFill>
                    <a:schemeClr val="tx2"/>
                  </a:solidFill>
                  <a:latin typeface="+mj-lt"/>
                  <a:cs typeface="Open Sans"/>
                </a:rPr>
                <a:t> </a:t>
              </a:r>
              <a:r>
                <a:rPr lang="en-US" sz="1400" dirty="0" err="1">
                  <a:solidFill>
                    <a:schemeClr val="tx2"/>
                  </a:solidFill>
                  <a:latin typeface="+mj-lt"/>
                  <a:cs typeface="Open Sans"/>
                </a:rPr>
                <a:t>felis</a:t>
              </a:r>
              <a:endParaRPr lang="en-US" sz="1400" dirty="0">
                <a:solidFill>
                  <a:schemeClr val="tx2"/>
                </a:solidFill>
                <a:latin typeface="+mj-lt"/>
                <a:cs typeface="Open Sans"/>
              </a:endParaRPr>
            </a:p>
            <a:p>
              <a:pPr marL="12700" marR="5080" defTabSz="457178">
                <a:lnSpc>
                  <a:spcPct val="107200"/>
                </a:lnSpc>
                <a:spcBef>
                  <a:spcPts val="131"/>
                </a:spcBef>
                <a:defRPr/>
              </a:pPr>
              <a:r>
                <a:rPr lang="en-US" sz="1400" spc="40" dirty="0" err="1">
                  <a:solidFill>
                    <a:schemeClr val="tx2"/>
                  </a:solidFill>
                  <a:latin typeface="+mj-lt"/>
                  <a:cs typeface="Open Sans"/>
                </a:rPr>
                <a:t>ornare</a:t>
              </a:r>
              <a:r>
                <a:rPr lang="en-US" sz="1400" spc="40" dirty="0">
                  <a:solidFill>
                    <a:schemeClr val="tx2"/>
                  </a:solidFill>
                  <a:latin typeface="+mj-lt"/>
                  <a:cs typeface="Open Sans"/>
                </a:rPr>
                <a:t> </a:t>
              </a:r>
              <a:r>
                <a:rPr lang="en-US" sz="1400" spc="40" dirty="0" err="1">
                  <a:solidFill>
                    <a:schemeClr val="tx2"/>
                  </a:solidFill>
                  <a:latin typeface="+mj-lt"/>
                  <a:cs typeface="Open Sans"/>
                </a:rPr>
                <a:t>arcu</a:t>
              </a:r>
              <a:r>
                <a:rPr lang="en-US" sz="1400" dirty="0">
                  <a:solidFill>
                    <a:schemeClr val="tx2"/>
                  </a:solidFill>
                  <a:latin typeface="+mj-lt"/>
                  <a:cs typeface="Open Sans"/>
                </a:rPr>
                <a:t> </a:t>
              </a:r>
              <a:endParaRPr lang="en-US" sz="1400" dirty="0">
                <a:solidFill>
                  <a:schemeClr val="tx2"/>
                </a:solidFill>
                <a:latin typeface="Raleway Black"/>
                <a:cs typeface="Raleway Black"/>
              </a:endParaRPr>
            </a:p>
          </p:txBody>
        </p:sp>
        <p:sp>
          <p:nvSpPr>
            <p:cNvPr id="108" name="object 53">
              <a:extLst>
                <a:ext uri="{FF2B5EF4-FFF2-40B4-BE49-F238E27FC236}">
                  <a16:creationId xmlns:a16="http://schemas.microsoft.com/office/drawing/2014/main" id="{0A6C7ECB-7522-4F7D-B803-7668717E2ACC}"/>
                </a:ext>
              </a:extLst>
            </p:cNvPr>
            <p:cNvSpPr txBox="1"/>
            <p:nvPr/>
          </p:nvSpPr>
          <p:spPr>
            <a:xfrm>
              <a:off x="3631874" y="4009672"/>
              <a:ext cx="2408923" cy="447559"/>
            </a:xfrm>
            <a:prstGeom prst="rect">
              <a:avLst/>
            </a:prstGeom>
          </p:spPr>
          <p:txBody>
            <a:bodyPr vert="horz" wrap="square" lIns="0" tIns="16511" rIns="0" bIns="0" rtlCol="0">
              <a:spAutoFit/>
            </a:bodyPr>
            <a:lstStyle/>
            <a:p>
              <a:pPr marL="12700" defTabSz="457178">
                <a:spcBef>
                  <a:spcPts val="131"/>
                </a:spcBef>
                <a:defRPr/>
              </a:pPr>
              <a:r>
                <a:rPr lang="en-US" sz="1400" spc="40" dirty="0" err="1">
                  <a:solidFill>
                    <a:schemeClr val="tx2"/>
                  </a:solidFill>
                  <a:latin typeface="+mj-lt"/>
                  <a:cs typeface="Open Sans"/>
                </a:rPr>
                <a:t>Volutpat</a:t>
              </a:r>
              <a:r>
                <a:rPr lang="en-US" sz="1400" spc="40" dirty="0">
                  <a:solidFill>
                    <a:schemeClr val="tx2"/>
                  </a:solidFill>
                  <a:latin typeface="+mj-lt"/>
                  <a:cs typeface="Open Sans"/>
                </a:rPr>
                <a:t> sed </a:t>
              </a:r>
              <a:r>
                <a:rPr lang="en-US" sz="1400" spc="40" dirty="0" err="1">
                  <a:solidFill>
                    <a:schemeClr val="tx2"/>
                  </a:solidFill>
                  <a:latin typeface="+mj-lt"/>
                  <a:cs typeface="Open Sans"/>
                </a:rPr>
                <a:t>cras</a:t>
              </a:r>
              <a:r>
                <a:rPr lang="en-US" sz="1400" spc="40" dirty="0">
                  <a:solidFill>
                    <a:schemeClr val="tx2"/>
                  </a:solidFill>
                  <a:latin typeface="+mj-lt"/>
                  <a:cs typeface="Open Sans"/>
                </a:rPr>
                <a:t> </a:t>
              </a:r>
              <a:r>
                <a:rPr lang="en-US" sz="1400" spc="40" dirty="0" err="1">
                  <a:solidFill>
                    <a:schemeClr val="tx2"/>
                  </a:solidFill>
                  <a:latin typeface="+mj-lt"/>
                  <a:cs typeface="Open Sans"/>
                </a:rPr>
                <a:t>ornare</a:t>
              </a:r>
              <a:r>
                <a:rPr lang="en-US" sz="1400" spc="40" dirty="0">
                  <a:solidFill>
                    <a:schemeClr val="tx2"/>
                  </a:solidFill>
                  <a:latin typeface="+mj-lt"/>
                  <a:cs typeface="Open Sans"/>
                </a:rPr>
                <a:t> </a:t>
              </a:r>
              <a:r>
                <a:rPr lang="en-US" sz="1400" spc="40" dirty="0" err="1">
                  <a:solidFill>
                    <a:schemeClr val="tx2"/>
                  </a:solidFill>
                  <a:latin typeface="+mj-lt"/>
                  <a:cs typeface="Open Sans"/>
                </a:rPr>
                <a:t>arcu</a:t>
              </a:r>
              <a:endParaRPr lang="en-US" sz="1400" spc="40" dirty="0">
                <a:solidFill>
                  <a:schemeClr val="tx2"/>
                </a:solidFill>
                <a:latin typeface="+mj-lt"/>
                <a:cs typeface="Open Sans"/>
              </a:endParaRPr>
            </a:p>
          </p:txBody>
        </p:sp>
      </p:grpSp>
      <p:sp>
        <p:nvSpPr>
          <p:cNvPr id="140" name="object 53">
            <a:extLst>
              <a:ext uri="{FF2B5EF4-FFF2-40B4-BE49-F238E27FC236}">
                <a16:creationId xmlns:a16="http://schemas.microsoft.com/office/drawing/2014/main" id="{1CCADFCB-5555-4287-B9A6-A61164202BBA}"/>
              </a:ext>
            </a:extLst>
          </p:cNvPr>
          <p:cNvSpPr txBox="1"/>
          <p:nvPr/>
        </p:nvSpPr>
        <p:spPr>
          <a:xfrm>
            <a:off x="9740445" y="4617293"/>
            <a:ext cx="1750423" cy="755336"/>
          </a:xfrm>
          <a:prstGeom prst="rect">
            <a:avLst/>
          </a:prstGeom>
        </p:spPr>
        <p:txBody>
          <a:bodyPr vert="horz" wrap="square" lIns="0" tIns="16511" rIns="0" bIns="0" rtlCol="0">
            <a:spAutoFit/>
          </a:bodyPr>
          <a:lstStyle/>
          <a:p>
            <a:pPr marL="12700" defTabSz="457178">
              <a:spcBef>
                <a:spcPts val="131"/>
              </a:spcBef>
              <a:defRPr/>
            </a:pP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Volutpat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sed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cras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ornare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arcu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dui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vivamus</a:t>
            </a:r>
            <a:endParaRPr lang="en-US" sz="1600" kern="0" spc="15" dirty="0">
              <a:solidFill>
                <a:schemeClr val="tx2"/>
              </a:solidFill>
              <a:latin typeface="+mj-lt"/>
              <a:cs typeface="Open Sans"/>
            </a:endParaRPr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90B60502-62C8-4A73-8AFD-3540D6A29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goes here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2CADF12A-202E-FC57-ABA4-B1D3DCEDE0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5267C2E-90A4-3B53-0649-C2EAE92D9B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104" name="object 52">
            <a:extLst>
              <a:ext uri="{FF2B5EF4-FFF2-40B4-BE49-F238E27FC236}">
                <a16:creationId xmlns:a16="http://schemas.microsoft.com/office/drawing/2014/main" id="{5645D31E-B2CF-4F0D-A366-3F62FE5A5882}"/>
              </a:ext>
            </a:extLst>
          </p:cNvPr>
          <p:cNvSpPr txBox="1"/>
          <p:nvPr/>
        </p:nvSpPr>
        <p:spPr>
          <a:xfrm>
            <a:off x="5776995" y="1707085"/>
            <a:ext cx="710049" cy="56938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defTabSz="457178">
              <a:spcBef>
                <a:spcPts val="120"/>
              </a:spcBef>
              <a:defRPr/>
            </a:pPr>
            <a:r>
              <a:rPr sz="3600" spc="5">
                <a:solidFill>
                  <a:schemeClr val="tx2"/>
                </a:solidFill>
                <a:latin typeface="+mj-lt"/>
                <a:cs typeface="Raleway Black"/>
              </a:rPr>
              <a:t>#</a:t>
            </a:r>
            <a:r>
              <a:rPr sz="3600" spc="1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1</a:t>
            </a:r>
            <a:endParaRPr sz="3600">
              <a:solidFill>
                <a:schemeClr val="tx2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105" name="object 53">
            <a:extLst>
              <a:ext uri="{FF2B5EF4-FFF2-40B4-BE49-F238E27FC236}">
                <a16:creationId xmlns:a16="http://schemas.microsoft.com/office/drawing/2014/main" id="{5F8D0757-64CF-4EE4-938A-89D6DF96E3E5}"/>
              </a:ext>
            </a:extLst>
          </p:cNvPr>
          <p:cNvSpPr txBox="1"/>
          <p:nvPr/>
        </p:nvSpPr>
        <p:spPr>
          <a:xfrm>
            <a:off x="5836499" y="2228424"/>
            <a:ext cx="2159056" cy="509115"/>
          </a:xfrm>
          <a:prstGeom prst="rect">
            <a:avLst/>
          </a:prstGeom>
        </p:spPr>
        <p:txBody>
          <a:bodyPr vert="horz" wrap="square" lIns="0" tIns="16511" rIns="0" bIns="0" rtlCol="0">
            <a:spAutoFit/>
          </a:bodyPr>
          <a:lstStyle/>
          <a:p>
            <a:pPr marL="12700" defTabSz="457178">
              <a:spcBef>
                <a:spcPts val="131"/>
              </a:spcBef>
              <a:defRPr/>
            </a:pP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Volutpat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sed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cras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ornare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arcu</a:t>
            </a:r>
            <a:endParaRPr lang="en-US" sz="1600" spc="40" dirty="0">
              <a:solidFill>
                <a:schemeClr val="tx2"/>
              </a:solidFill>
              <a:latin typeface="+mj-lt"/>
              <a:cs typeface="Open Sans"/>
            </a:endParaRPr>
          </a:p>
        </p:txBody>
      </p:sp>
      <p:sp>
        <p:nvSpPr>
          <p:cNvPr id="106" name="object 52">
            <a:extLst>
              <a:ext uri="{FF2B5EF4-FFF2-40B4-BE49-F238E27FC236}">
                <a16:creationId xmlns:a16="http://schemas.microsoft.com/office/drawing/2014/main" id="{806CA242-E0C7-4F3B-917C-A62D2C6589F0}"/>
              </a:ext>
            </a:extLst>
          </p:cNvPr>
          <p:cNvSpPr txBox="1"/>
          <p:nvPr/>
        </p:nvSpPr>
        <p:spPr>
          <a:xfrm>
            <a:off x="9989723" y="1694022"/>
            <a:ext cx="710049" cy="56938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defTabSz="457178">
              <a:spcBef>
                <a:spcPts val="120"/>
              </a:spcBef>
              <a:defRPr/>
            </a:pPr>
            <a:r>
              <a:rPr sz="3600" spc="5">
                <a:solidFill>
                  <a:schemeClr val="tx2"/>
                </a:solidFill>
                <a:latin typeface="+mj-lt"/>
                <a:cs typeface="Raleway Black"/>
              </a:rPr>
              <a:t>#</a:t>
            </a:r>
            <a:r>
              <a:rPr sz="3600" spc="11">
                <a:solidFill>
                  <a:schemeClr val="tx2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1</a:t>
            </a:r>
            <a:endParaRPr sz="3600">
              <a:solidFill>
                <a:schemeClr val="tx2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107" name="object 53">
            <a:extLst>
              <a:ext uri="{FF2B5EF4-FFF2-40B4-BE49-F238E27FC236}">
                <a16:creationId xmlns:a16="http://schemas.microsoft.com/office/drawing/2014/main" id="{C5F4422D-BE2B-4F59-BDF9-5FE104A54319}"/>
              </a:ext>
            </a:extLst>
          </p:cNvPr>
          <p:cNvSpPr txBox="1"/>
          <p:nvPr/>
        </p:nvSpPr>
        <p:spPr>
          <a:xfrm>
            <a:off x="10049227" y="2215361"/>
            <a:ext cx="1681218" cy="509115"/>
          </a:xfrm>
          <a:prstGeom prst="rect">
            <a:avLst/>
          </a:prstGeom>
        </p:spPr>
        <p:txBody>
          <a:bodyPr vert="horz" wrap="square" lIns="0" tIns="16511" rIns="0" bIns="0" rtlCol="0">
            <a:spAutoFit/>
          </a:bodyPr>
          <a:lstStyle/>
          <a:p>
            <a:pPr marL="12700" defTabSz="457178">
              <a:spcBef>
                <a:spcPts val="131"/>
              </a:spcBef>
              <a:defRPr/>
            </a:pP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Volutpat</a:t>
            </a: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 </a:t>
            </a:r>
            <a:b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</a:br>
            <a:r>
              <a:rPr lang="en-US" sz="1600" spc="40" dirty="0">
                <a:solidFill>
                  <a:schemeClr val="tx2"/>
                </a:solidFill>
                <a:latin typeface="+mj-lt"/>
                <a:cs typeface="Open Sans"/>
              </a:rPr>
              <a:t>sed </a:t>
            </a:r>
            <a:r>
              <a:rPr lang="en-US" sz="1600" spc="40" dirty="0" err="1">
                <a:solidFill>
                  <a:schemeClr val="tx2"/>
                </a:solidFill>
                <a:latin typeface="+mj-lt"/>
                <a:cs typeface="Open Sans"/>
              </a:rPr>
              <a:t>cras</a:t>
            </a:r>
            <a:endParaRPr lang="en-US" sz="1600" spc="40" dirty="0">
              <a:solidFill>
                <a:schemeClr val="tx2"/>
              </a:solidFill>
              <a:latin typeface="+mj-lt"/>
              <a:cs typeface="Open Sans"/>
            </a:endParaRPr>
          </a:p>
        </p:txBody>
      </p:sp>
      <p:pic>
        <p:nvPicPr>
          <p:cNvPr id="5" name="Picture 4" descr="A green outline of a truck and a box&#10;&#10;Description automatically generated">
            <a:extLst>
              <a:ext uri="{FF2B5EF4-FFF2-40B4-BE49-F238E27FC236}">
                <a16:creationId xmlns:a16="http://schemas.microsoft.com/office/drawing/2014/main" id="{B14EE7F9-1601-4867-2DDC-08AD3B3DCA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84" y="1643164"/>
            <a:ext cx="1600200" cy="1600200"/>
          </a:xfrm>
          <a:prstGeom prst="rect">
            <a:avLst/>
          </a:prstGeom>
        </p:spPr>
      </p:pic>
      <p:pic>
        <p:nvPicPr>
          <p:cNvPr id="15" name="Picture 14" descr="A computer screen with a dollar sign and building on it&#10;&#10;Description automatically generated">
            <a:extLst>
              <a:ext uri="{FF2B5EF4-FFF2-40B4-BE49-F238E27FC236}">
                <a16:creationId xmlns:a16="http://schemas.microsoft.com/office/drawing/2014/main" id="{D4F4EC06-CED7-B126-FFD5-D481676123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4360" y="1606588"/>
            <a:ext cx="1609344" cy="1609344"/>
          </a:xfrm>
          <a:prstGeom prst="rect">
            <a:avLst/>
          </a:prstGeom>
        </p:spPr>
      </p:pic>
      <p:pic>
        <p:nvPicPr>
          <p:cNvPr id="17" name="Picture 16" descr="A building and a pin&#10;&#10;Description automatically generated">
            <a:extLst>
              <a:ext uri="{FF2B5EF4-FFF2-40B4-BE49-F238E27FC236}">
                <a16:creationId xmlns:a16="http://schemas.microsoft.com/office/drawing/2014/main" id="{1EA0FD55-199C-2DAE-4FB7-95CE0F83905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5424" y="1679740"/>
            <a:ext cx="1600200" cy="1600200"/>
          </a:xfrm>
          <a:prstGeom prst="rect">
            <a:avLst/>
          </a:prstGeom>
        </p:spPr>
      </p:pic>
      <p:pic>
        <p:nvPicPr>
          <p:cNvPr id="19" name="Picture 18" descr="A green line art of a building&#10;&#10;Description automatically generated">
            <a:extLst>
              <a:ext uri="{FF2B5EF4-FFF2-40B4-BE49-F238E27FC236}">
                <a16:creationId xmlns:a16="http://schemas.microsoft.com/office/drawing/2014/main" id="{20117CC4-049D-355E-AA33-1C463CDC22A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" y="4270248"/>
            <a:ext cx="1609344" cy="1609344"/>
          </a:xfrm>
          <a:prstGeom prst="rect">
            <a:avLst/>
          </a:prstGeom>
        </p:spPr>
      </p:pic>
      <p:pic>
        <p:nvPicPr>
          <p:cNvPr id="21" name="Picture 20" descr="A green line drawing of a globe and money&#10;&#10;Description automatically generated">
            <a:extLst>
              <a:ext uri="{FF2B5EF4-FFF2-40B4-BE49-F238E27FC236}">
                <a16:creationId xmlns:a16="http://schemas.microsoft.com/office/drawing/2014/main" id="{17609758-67D0-7790-3A5D-213186AA5F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4048" y="4233672"/>
            <a:ext cx="1609344" cy="1609344"/>
          </a:xfrm>
          <a:prstGeom prst="rect">
            <a:avLst/>
          </a:prstGeom>
        </p:spPr>
      </p:pic>
      <p:pic>
        <p:nvPicPr>
          <p:cNvPr id="23" name="Picture 22" descr="A green ribbon with black background&#10;&#10;Description automatically generated">
            <a:extLst>
              <a:ext uri="{FF2B5EF4-FFF2-40B4-BE49-F238E27FC236}">
                <a16:creationId xmlns:a16="http://schemas.microsoft.com/office/drawing/2014/main" id="{EB8A49B4-69D9-B439-38C0-473333D2D2E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2272" y="4142232"/>
            <a:ext cx="18288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60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197E4363-4E49-4627-B9FD-F73C2073405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542"/>
                    </a14:imgEffect>
                    <a14:imgEffect>
                      <a14:saturation sat="105000"/>
                    </a14:imgEffect>
                    <a14:imgEffect>
                      <a14:brightnessContrast bright="-2000" contras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55" name="Content Placeholder 54">
            <a:extLst>
              <a:ext uri="{FF2B5EF4-FFF2-40B4-BE49-F238E27FC236}">
                <a16:creationId xmlns:a16="http://schemas.microsoft.com/office/drawing/2014/main" id="{6D0BD3E6-852C-4E7F-A421-2E15605CAAA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Lisa Hunter</a:t>
            </a:r>
          </a:p>
        </p:txBody>
      </p:sp>
      <p:sp>
        <p:nvSpPr>
          <p:cNvPr id="56" name="Content Placeholder 55">
            <a:extLst>
              <a:ext uri="{FF2B5EF4-FFF2-40B4-BE49-F238E27FC236}">
                <a16:creationId xmlns:a16="http://schemas.microsoft.com/office/drawing/2014/main" id="{125075C0-40EE-42FE-873F-8874EB03311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/>
              <a:t>Job Position</a:t>
            </a:r>
          </a:p>
        </p:txBody>
      </p:sp>
      <p:sp>
        <p:nvSpPr>
          <p:cNvPr id="57" name="Content Placeholder 56">
            <a:extLst>
              <a:ext uri="{FF2B5EF4-FFF2-40B4-BE49-F238E27FC236}">
                <a16:creationId xmlns:a16="http://schemas.microsoft.com/office/drawing/2014/main" id="{AA82EA05-1B3B-4F25-91A9-43DF76CAF4C2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err="1"/>
              <a:t>Volutpat</a:t>
            </a:r>
            <a:r>
              <a:rPr lang="en-US"/>
              <a:t> sed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dui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.</a:t>
            </a:r>
          </a:p>
        </p:txBody>
      </p:sp>
      <p:sp>
        <p:nvSpPr>
          <p:cNvPr id="114" name="Content Placeholder 113">
            <a:extLst>
              <a:ext uri="{FF2B5EF4-FFF2-40B4-BE49-F238E27FC236}">
                <a16:creationId xmlns:a16="http://schemas.microsoft.com/office/drawing/2014/main" id="{BEEB732A-DECB-415F-8F96-74A7606D09B1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Brett Sandoval</a:t>
            </a:r>
          </a:p>
        </p:txBody>
      </p:sp>
      <p:sp>
        <p:nvSpPr>
          <p:cNvPr id="115" name="Content Placeholder 114">
            <a:extLst>
              <a:ext uri="{FF2B5EF4-FFF2-40B4-BE49-F238E27FC236}">
                <a16:creationId xmlns:a16="http://schemas.microsoft.com/office/drawing/2014/main" id="{2174A304-A2FB-4FCB-B657-E8969E779D09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/>
              <a:t>Job Position</a:t>
            </a:r>
          </a:p>
        </p:txBody>
      </p:sp>
      <p:sp>
        <p:nvSpPr>
          <p:cNvPr id="116" name="Content Placeholder 115">
            <a:extLst>
              <a:ext uri="{FF2B5EF4-FFF2-40B4-BE49-F238E27FC236}">
                <a16:creationId xmlns:a16="http://schemas.microsoft.com/office/drawing/2014/main" id="{F7916597-6081-4F33-B1A6-8CFA410A8EB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r>
              <a:rPr lang="en-US"/>
              <a:t>Volutpat sed cras ornare arcu dui vivamus arcu felis bibendum. Tristique nulla aliquet enim.</a:t>
            </a:r>
          </a:p>
          <a:p>
            <a:endParaRPr lang="en-US"/>
          </a:p>
        </p:txBody>
      </p:sp>
      <p:sp>
        <p:nvSpPr>
          <p:cNvPr id="117" name="Content Placeholder 116">
            <a:extLst>
              <a:ext uri="{FF2B5EF4-FFF2-40B4-BE49-F238E27FC236}">
                <a16:creationId xmlns:a16="http://schemas.microsoft.com/office/drawing/2014/main" id="{D881719E-3AED-484D-AEDB-6AB496B0431F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Felicia Newton</a:t>
            </a:r>
          </a:p>
        </p:txBody>
      </p:sp>
      <p:sp>
        <p:nvSpPr>
          <p:cNvPr id="118" name="Content Placeholder 117">
            <a:extLst>
              <a:ext uri="{FF2B5EF4-FFF2-40B4-BE49-F238E27FC236}">
                <a16:creationId xmlns:a16="http://schemas.microsoft.com/office/drawing/2014/main" id="{9634FD42-12AF-46D2-81B5-051248356CA3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r>
              <a:rPr lang="en-US"/>
              <a:t>Job Position</a:t>
            </a:r>
          </a:p>
        </p:txBody>
      </p:sp>
      <p:sp>
        <p:nvSpPr>
          <p:cNvPr id="119" name="Content Placeholder 118">
            <a:extLst>
              <a:ext uri="{FF2B5EF4-FFF2-40B4-BE49-F238E27FC236}">
                <a16:creationId xmlns:a16="http://schemas.microsoft.com/office/drawing/2014/main" id="{CA6FBFAF-6872-4314-855E-969C8BACDAE9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r>
              <a:rPr lang="en-US" err="1"/>
              <a:t>Volutpat</a:t>
            </a:r>
            <a:r>
              <a:rPr lang="en-US"/>
              <a:t> sed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dui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120" name="Content Placeholder 119">
            <a:extLst>
              <a:ext uri="{FF2B5EF4-FFF2-40B4-BE49-F238E27FC236}">
                <a16:creationId xmlns:a16="http://schemas.microsoft.com/office/drawing/2014/main" id="{1032BE89-05BE-4896-A5FB-927C4B44443A}"/>
              </a:ext>
            </a:extLst>
          </p:cNvPr>
          <p:cNvSpPr>
            <a:spLocks noGrp="1"/>
          </p:cNvSpPr>
          <p:nvPr>
            <p:ph sz="quarter" idx="26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Gerrard Stone</a:t>
            </a:r>
          </a:p>
        </p:txBody>
      </p:sp>
      <p:sp>
        <p:nvSpPr>
          <p:cNvPr id="121" name="Content Placeholder 120">
            <a:extLst>
              <a:ext uri="{FF2B5EF4-FFF2-40B4-BE49-F238E27FC236}">
                <a16:creationId xmlns:a16="http://schemas.microsoft.com/office/drawing/2014/main" id="{B1D70758-0F37-4CDC-BFA4-5EA5A5C4A6A0}"/>
              </a:ext>
            </a:extLst>
          </p:cNvPr>
          <p:cNvSpPr>
            <a:spLocks noGrp="1"/>
          </p:cNvSpPr>
          <p:nvPr>
            <p:ph sz="quarter" idx="27"/>
          </p:nvPr>
        </p:nvSpPr>
        <p:spPr/>
        <p:txBody>
          <a:bodyPr/>
          <a:lstStyle/>
          <a:p>
            <a:r>
              <a:rPr lang="en-US"/>
              <a:t>Job Position</a:t>
            </a:r>
          </a:p>
        </p:txBody>
      </p:sp>
      <p:sp>
        <p:nvSpPr>
          <p:cNvPr id="122" name="Content Placeholder 121">
            <a:extLst>
              <a:ext uri="{FF2B5EF4-FFF2-40B4-BE49-F238E27FC236}">
                <a16:creationId xmlns:a16="http://schemas.microsoft.com/office/drawing/2014/main" id="{D0BC059D-9803-45D9-85C7-FF8C59F9D60A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en-US"/>
              <a:t>Volutpat sed cras ornare arcu dui vivamus arcu felis bibendum. Tristique nulla aliquet enim.</a:t>
            </a:r>
          </a:p>
          <a:p>
            <a:endParaRPr lang="en-US"/>
          </a:p>
        </p:txBody>
      </p:sp>
      <p:sp>
        <p:nvSpPr>
          <p:cNvPr id="45" name="Title 44">
            <a:extLst>
              <a:ext uri="{FF2B5EF4-FFF2-40B4-BE49-F238E27FC236}">
                <a16:creationId xmlns:a16="http://schemas.microsoft.com/office/drawing/2014/main" id="{7E8B5321-B336-4D90-9F41-C3CCF23F7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Expert Peopl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562C59F-F65F-164D-4596-074EE2E6A1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D2768B7-7B56-591A-ACA0-6ACA494092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pic>
        <p:nvPicPr>
          <p:cNvPr id="11" name="Picture Placeholder 10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F0B559C9-A6BA-E2CD-CC05-FE67FE83C1A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1371600"/>
            <a:ext cx="2240280" cy="2240280"/>
          </a:xfrm>
        </p:spPr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08AE1C84-C7B1-E5C0-3A27-745C14F41AF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0440" y="1371599"/>
            <a:ext cx="2240280" cy="2240280"/>
          </a:xfrm>
        </p:spPr>
      </p:pic>
      <p:pic>
        <p:nvPicPr>
          <p:cNvPr id="25" name="Picture Placeholder 24" descr="A person standing in an office&#10;&#10;Description automatically generated">
            <a:extLst>
              <a:ext uri="{FF2B5EF4-FFF2-40B4-BE49-F238E27FC236}">
                <a16:creationId xmlns:a16="http://schemas.microsoft.com/office/drawing/2014/main" id="{1FE51263-FE02-4E9C-4AF5-44600FDC097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1280" y="1371600"/>
            <a:ext cx="2240280" cy="2240280"/>
          </a:xfrm>
        </p:spPr>
      </p:pic>
    </p:spTree>
    <p:extLst>
      <p:ext uri="{BB962C8B-B14F-4D97-AF65-F5344CB8AC3E}">
        <p14:creationId xmlns:p14="http://schemas.microsoft.com/office/powerpoint/2010/main" val="61088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high angle view of a city&#10;&#10;Description automatically generated">
            <a:extLst>
              <a:ext uri="{FF2B5EF4-FFF2-40B4-BE49-F238E27FC236}">
                <a16:creationId xmlns:a16="http://schemas.microsoft.com/office/drawing/2014/main" id="{D1A0543F-DB2A-673A-87EE-4D103758691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" b="20"/>
          <a:stretch>
            <a:fillRect/>
          </a:stretch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AFB734CD-4172-A3D4-2076-FD3633F4E5B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/>
          <a:srcRect l="16807" r="16807"/>
          <a:stretch/>
        </p:blipFill>
        <p:spPr/>
      </p:pic>
      <p:pic>
        <p:nvPicPr>
          <p:cNvPr id="39" name="Picture Placeholder 38" descr="A person sitting in a chair using a tablet&#10;&#10;Description automatically generated">
            <a:extLst>
              <a:ext uri="{FF2B5EF4-FFF2-40B4-BE49-F238E27FC236}">
                <a16:creationId xmlns:a16="http://schemas.microsoft.com/office/drawing/2014/main" id="{C250AAEA-D796-3882-A8BE-2440A0963958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" r="62"/>
          <a:stretch/>
        </p:blipFill>
        <p:spPr/>
      </p:pic>
      <p:pic>
        <p:nvPicPr>
          <p:cNvPr id="27" name="Picture Placeholder 26" descr="Men walking in a hallway&#10;&#10;Description automatically generated">
            <a:extLst>
              <a:ext uri="{FF2B5EF4-FFF2-40B4-BE49-F238E27FC236}">
                <a16:creationId xmlns:a16="http://schemas.microsoft.com/office/drawing/2014/main" id="{EE9DEF0B-CC10-314E-D515-46BA9E813BC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" b="7"/>
          <a:stretch>
            <a:fillRect/>
          </a:stretch>
        </p:blipFill>
        <p:spPr/>
      </p:pic>
      <p:sp>
        <p:nvSpPr>
          <p:cNvPr id="23" name="Text Placeholder 22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Et la dis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llis</a:t>
            </a:r>
            <a:r>
              <a:rPr lang="en-US" dirty="0"/>
              <a:t> di </a:t>
            </a:r>
            <a:r>
              <a:rPr lang="en-US" dirty="0" err="1"/>
              <a:t>vidiciam</a:t>
            </a:r>
            <a:r>
              <a:rPr lang="en-US" dirty="0"/>
              <a:t> </a:t>
            </a:r>
            <a:r>
              <a:rPr lang="en-US" dirty="0" err="1"/>
              <a:t>consenis</a:t>
            </a:r>
            <a:r>
              <a:rPr lang="en-US" dirty="0"/>
              <a:t> </a:t>
            </a:r>
            <a:r>
              <a:rPr lang="en-US" dirty="0" err="1"/>
              <a:t>sequis</a:t>
            </a:r>
            <a:r>
              <a:rPr lang="en-US" dirty="0"/>
              <a:t> </a:t>
            </a:r>
            <a:r>
              <a:rPr lang="en-US" dirty="0" err="1"/>
              <a:t>estione</a:t>
            </a:r>
            <a:r>
              <a:rPr lang="en-US" dirty="0"/>
              <a:t> </a:t>
            </a:r>
            <a:r>
              <a:rPr lang="en-US" dirty="0" err="1"/>
              <a:t>eaquias</a:t>
            </a:r>
            <a:r>
              <a:rPr lang="en-US" dirty="0"/>
              <a:t> rem</a:t>
            </a:r>
          </a:p>
          <a:p>
            <a:r>
              <a:rPr lang="en-US" dirty="0"/>
              <a:t>Rerum </a:t>
            </a:r>
            <a:r>
              <a:rPr lang="en-US" dirty="0" err="1"/>
              <a:t>dolupides</a:t>
            </a:r>
            <a:r>
              <a:rPr lang="en-US" dirty="0"/>
              <a:t>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ipisimint</a:t>
            </a:r>
            <a:r>
              <a:rPr lang="en-US" dirty="0"/>
              <a:t> dem ex </a:t>
            </a:r>
            <a:r>
              <a:rPr lang="en-US" dirty="0" err="1"/>
              <a:t>quod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/>
              <a:t>Et la dis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ullis</a:t>
            </a:r>
            <a:r>
              <a:rPr lang="en-US"/>
              <a:t> di </a:t>
            </a:r>
            <a:r>
              <a:rPr lang="en-US" err="1"/>
              <a:t>vidiciam</a:t>
            </a:r>
            <a:r>
              <a:rPr lang="en-US"/>
              <a:t> </a:t>
            </a:r>
            <a:r>
              <a:rPr lang="en-US" err="1"/>
              <a:t>consenis</a:t>
            </a:r>
            <a:r>
              <a:rPr lang="en-US"/>
              <a:t> </a:t>
            </a:r>
            <a:r>
              <a:rPr lang="en-US" err="1"/>
              <a:t>sequis</a:t>
            </a:r>
            <a:r>
              <a:rPr lang="en-US"/>
              <a:t> </a:t>
            </a:r>
            <a:r>
              <a:rPr lang="en-US" err="1"/>
              <a:t>estione</a:t>
            </a:r>
            <a:r>
              <a:rPr lang="en-US"/>
              <a:t> </a:t>
            </a:r>
          </a:p>
          <a:p>
            <a:r>
              <a:rPr lang="en-US" err="1"/>
              <a:t>Eaquias</a:t>
            </a:r>
            <a:r>
              <a:rPr lang="en-US"/>
              <a:t> rem rerum </a:t>
            </a:r>
            <a:r>
              <a:rPr lang="en-US" err="1"/>
              <a:t>dolupides</a:t>
            </a:r>
            <a:r>
              <a:rPr lang="en-US"/>
              <a:t> </a:t>
            </a:r>
            <a:r>
              <a:rPr lang="en-US" err="1"/>
              <a:t>auda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harum</a:t>
            </a:r>
            <a:r>
              <a:rPr lang="en-US"/>
              <a:t> </a:t>
            </a:r>
            <a:r>
              <a:rPr lang="en-US" err="1"/>
              <a:t>ipisimint</a:t>
            </a:r>
            <a:r>
              <a:rPr lang="en-US"/>
              <a:t> dem ex et </a:t>
            </a:r>
            <a:r>
              <a:rPr lang="en-US" err="1"/>
              <a:t>quod</a:t>
            </a:r>
            <a:endParaRPr 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Et la dis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llis</a:t>
            </a:r>
            <a:r>
              <a:rPr lang="en-US" dirty="0"/>
              <a:t> di </a:t>
            </a:r>
            <a:r>
              <a:rPr lang="en-US" dirty="0" err="1"/>
              <a:t>vidiciam</a:t>
            </a:r>
            <a:r>
              <a:rPr lang="en-US" dirty="0"/>
              <a:t> </a:t>
            </a:r>
            <a:r>
              <a:rPr lang="en-US" dirty="0" err="1"/>
              <a:t>consenis</a:t>
            </a:r>
            <a:r>
              <a:rPr lang="en-US" dirty="0"/>
              <a:t> </a:t>
            </a:r>
            <a:r>
              <a:rPr lang="en-US" dirty="0" err="1"/>
              <a:t>sequis</a:t>
            </a:r>
            <a:r>
              <a:rPr lang="en-US" dirty="0"/>
              <a:t> </a:t>
            </a:r>
            <a:r>
              <a:rPr lang="en-US" dirty="0" err="1"/>
              <a:t>estione</a:t>
            </a:r>
            <a:r>
              <a:rPr lang="en-US" dirty="0"/>
              <a:t> </a:t>
            </a:r>
            <a:r>
              <a:rPr lang="en-US" dirty="0" err="1"/>
              <a:t>eaquias</a:t>
            </a:r>
            <a:r>
              <a:rPr lang="en-US" dirty="0"/>
              <a:t> rem </a:t>
            </a:r>
            <a:r>
              <a:rPr lang="en-US" dirty="0" err="1"/>
              <a:t>reru</a:t>
            </a:r>
            <a:endParaRPr lang="en-US" dirty="0"/>
          </a:p>
          <a:p>
            <a:r>
              <a:rPr lang="en-US" dirty="0" err="1"/>
              <a:t>Dolupides</a:t>
            </a:r>
            <a:r>
              <a:rPr lang="en-US" dirty="0"/>
              <a:t>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ipisimint</a:t>
            </a:r>
            <a:r>
              <a:rPr lang="en-US" dirty="0"/>
              <a:t> dem et </a:t>
            </a:r>
            <a:r>
              <a:rPr lang="en-US" dirty="0" err="1"/>
              <a:t>quod</a:t>
            </a:r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/>
              <a:t>Et la dis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ullis</a:t>
            </a:r>
            <a:r>
              <a:rPr lang="en-US"/>
              <a:t> di </a:t>
            </a:r>
            <a:r>
              <a:rPr lang="en-US" err="1"/>
              <a:t>vidiciam</a:t>
            </a:r>
            <a:r>
              <a:rPr lang="en-US"/>
              <a:t> </a:t>
            </a:r>
            <a:r>
              <a:rPr lang="en-US" err="1"/>
              <a:t>consenis</a:t>
            </a:r>
            <a:r>
              <a:rPr lang="en-US"/>
              <a:t> </a:t>
            </a:r>
            <a:r>
              <a:rPr lang="en-US" err="1"/>
              <a:t>sequis</a:t>
            </a:r>
            <a:r>
              <a:rPr lang="en-US"/>
              <a:t> </a:t>
            </a:r>
            <a:r>
              <a:rPr lang="en-US" err="1"/>
              <a:t>estione</a:t>
            </a:r>
            <a:r>
              <a:rPr lang="en-US"/>
              <a:t> </a:t>
            </a:r>
            <a:r>
              <a:rPr lang="en-US" err="1"/>
              <a:t>eaquias</a:t>
            </a:r>
            <a:r>
              <a:rPr lang="en-US"/>
              <a:t> rem rerum </a:t>
            </a:r>
          </a:p>
          <a:p>
            <a:r>
              <a:rPr lang="en-US" err="1"/>
              <a:t>Dolupides</a:t>
            </a:r>
            <a:r>
              <a:rPr lang="en-US"/>
              <a:t> </a:t>
            </a:r>
            <a:r>
              <a:rPr lang="en-US" err="1"/>
              <a:t>auda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harum</a:t>
            </a:r>
            <a:r>
              <a:rPr lang="en-US"/>
              <a:t> </a:t>
            </a:r>
            <a:r>
              <a:rPr lang="en-US" err="1"/>
              <a:t>ipisimint</a:t>
            </a:r>
            <a:r>
              <a:rPr lang="en-US"/>
              <a:t> dem ex et </a:t>
            </a:r>
            <a:r>
              <a:rPr lang="en-US" err="1"/>
              <a:t>quod</a:t>
            </a:r>
            <a:endParaRPr lang="en-US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012D07E8-15BA-64AA-C399-8BFC3C023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268C7E0-98D7-CB8F-E785-7DC2621D0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</a:t>
            </a:r>
            <a:r>
              <a:rPr lang="en-US" err="1"/>
              <a:t>Atleos</a:t>
            </a:r>
            <a:r>
              <a:rPr lang="en-US"/>
              <a:t> Confidential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slide goes here</a:t>
            </a:r>
          </a:p>
        </p:txBody>
      </p:sp>
    </p:spTree>
    <p:extLst>
      <p:ext uri="{BB962C8B-B14F-4D97-AF65-F5344CB8AC3E}">
        <p14:creationId xmlns:p14="http://schemas.microsoft.com/office/powerpoint/2010/main" val="201818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7" name="Group 4">
            <a:extLst>
              <a:ext uri="{FF2B5EF4-FFF2-40B4-BE49-F238E27FC236}">
                <a16:creationId xmlns:a16="http://schemas.microsoft.com/office/drawing/2014/main" id="{FAECFAEE-4062-415A-BCB9-901B14916A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83512" y="798225"/>
            <a:ext cx="10315384" cy="5664487"/>
            <a:chOff x="-237" y="72"/>
            <a:chExt cx="6230" cy="3102"/>
          </a:xfrm>
          <a:gradFill>
            <a:gsLst>
              <a:gs pos="0">
                <a:schemeClr val="bg1">
                  <a:lumMod val="95000"/>
                </a:schemeClr>
              </a:gs>
              <a:gs pos="29000">
                <a:schemeClr val="bg1"/>
              </a:gs>
              <a:gs pos="76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effectLst>
            <a:outerShdw blurRad="165100" algn="ctr" rotWithShape="0">
              <a:prstClr val="black">
                <a:alpha val="31000"/>
              </a:prstClr>
            </a:outerShdw>
          </a:effectLst>
        </p:grpSpPr>
        <p:sp>
          <p:nvSpPr>
            <p:cNvPr id="198" name="Freeform 5">
              <a:extLst>
                <a:ext uri="{FF2B5EF4-FFF2-40B4-BE49-F238E27FC236}">
                  <a16:creationId xmlns:a16="http://schemas.microsoft.com/office/drawing/2014/main" id="{78E9DF33-7C50-4079-9093-4F6356432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2292"/>
              <a:ext cx="147" cy="285"/>
            </a:xfrm>
            <a:custGeom>
              <a:avLst/>
              <a:gdLst>
                <a:gd name="T0" fmla="*/ 69 w 83"/>
                <a:gd name="T1" fmla="*/ 0 h 161"/>
                <a:gd name="T2" fmla="*/ 32 w 83"/>
                <a:gd name="T3" fmla="*/ 38 h 161"/>
                <a:gd name="T4" fmla="*/ 19 w 83"/>
                <a:gd name="T5" fmla="*/ 89 h 161"/>
                <a:gd name="T6" fmla="*/ 52 w 83"/>
                <a:gd name="T7" fmla="*/ 123 h 161"/>
                <a:gd name="T8" fmla="*/ 78 w 83"/>
                <a:gd name="T9" fmla="*/ 36 h 161"/>
                <a:gd name="T10" fmla="*/ 83 w 83"/>
                <a:gd name="T11" fmla="*/ 38 h 161"/>
                <a:gd name="T12" fmla="*/ 69 w 83"/>
                <a:gd name="T13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61">
                  <a:moveTo>
                    <a:pt x="69" y="0"/>
                  </a:moveTo>
                  <a:cubicBezTo>
                    <a:pt x="68" y="18"/>
                    <a:pt x="47" y="32"/>
                    <a:pt x="32" y="38"/>
                  </a:cubicBezTo>
                  <a:cubicBezTo>
                    <a:pt x="11" y="47"/>
                    <a:pt x="30" y="72"/>
                    <a:pt x="19" y="89"/>
                  </a:cubicBezTo>
                  <a:cubicBezTo>
                    <a:pt x="0" y="101"/>
                    <a:pt x="24" y="161"/>
                    <a:pt x="52" y="123"/>
                  </a:cubicBezTo>
                  <a:cubicBezTo>
                    <a:pt x="67" y="103"/>
                    <a:pt x="78" y="61"/>
                    <a:pt x="78" y="36"/>
                  </a:cubicBezTo>
                  <a:cubicBezTo>
                    <a:pt x="79" y="37"/>
                    <a:pt x="81" y="37"/>
                    <a:pt x="83" y="38"/>
                  </a:cubicBezTo>
                  <a:cubicBezTo>
                    <a:pt x="83" y="25"/>
                    <a:pt x="81" y="7"/>
                    <a:pt x="69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99" name="Freeform 6">
              <a:extLst>
                <a:ext uri="{FF2B5EF4-FFF2-40B4-BE49-F238E27FC236}">
                  <a16:creationId xmlns:a16="http://schemas.microsoft.com/office/drawing/2014/main" id="{74931646-A38C-4C1E-A9C3-50CE9A943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" y="1903"/>
              <a:ext cx="37" cy="78"/>
            </a:xfrm>
            <a:custGeom>
              <a:avLst/>
              <a:gdLst>
                <a:gd name="T0" fmla="*/ 3 w 21"/>
                <a:gd name="T1" fmla="*/ 31 h 44"/>
                <a:gd name="T2" fmla="*/ 21 w 21"/>
                <a:gd name="T3" fmla="*/ 23 h 44"/>
                <a:gd name="T4" fmla="*/ 7 w 21"/>
                <a:gd name="T5" fmla="*/ 0 h 44"/>
                <a:gd name="T6" fmla="*/ 3 w 21"/>
                <a:gd name="T7" fmla="*/ 3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4">
                  <a:moveTo>
                    <a:pt x="3" y="31"/>
                  </a:moveTo>
                  <a:cubicBezTo>
                    <a:pt x="7" y="44"/>
                    <a:pt x="20" y="32"/>
                    <a:pt x="21" y="23"/>
                  </a:cubicBezTo>
                  <a:cubicBezTo>
                    <a:pt x="19" y="14"/>
                    <a:pt x="13" y="6"/>
                    <a:pt x="7" y="0"/>
                  </a:cubicBezTo>
                  <a:cubicBezTo>
                    <a:pt x="5" y="9"/>
                    <a:pt x="0" y="22"/>
                    <a:pt x="3" y="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0" name="Freeform 7">
              <a:extLst>
                <a:ext uri="{FF2B5EF4-FFF2-40B4-BE49-F238E27FC236}">
                  <a16:creationId xmlns:a16="http://schemas.microsoft.com/office/drawing/2014/main" id="{B7F8EC44-94B4-4B42-A7FD-E80BF845D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5" y="1974"/>
              <a:ext cx="223" cy="201"/>
            </a:xfrm>
            <a:custGeom>
              <a:avLst/>
              <a:gdLst>
                <a:gd name="T0" fmla="*/ 83 w 126"/>
                <a:gd name="T1" fmla="*/ 58 h 113"/>
                <a:gd name="T2" fmla="*/ 48 w 126"/>
                <a:gd name="T3" fmla="*/ 27 h 113"/>
                <a:gd name="T4" fmla="*/ 29 w 126"/>
                <a:gd name="T5" fmla="*/ 8 h 113"/>
                <a:gd name="T6" fmla="*/ 0 w 126"/>
                <a:gd name="T7" fmla="*/ 0 h 113"/>
                <a:gd name="T8" fmla="*/ 26 w 126"/>
                <a:gd name="T9" fmla="*/ 32 h 113"/>
                <a:gd name="T10" fmla="*/ 47 w 126"/>
                <a:gd name="T11" fmla="*/ 58 h 113"/>
                <a:gd name="T12" fmla="*/ 94 w 126"/>
                <a:gd name="T13" fmla="*/ 113 h 113"/>
                <a:gd name="T14" fmla="*/ 83 w 126"/>
                <a:gd name="T15" fmla="*/ 5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13">
                  <a:moveTo>
                    <a:pt x="83" y="58"/>
                  </a:moveTo>
                  <a:cubicBezTo>
                    <a:pt x="76" y="47"/>
                    <a:pt x="63" y="39"/>
                    <a:pt x="48" y="27"/>
                  </a:cubicBezTo>
                  <a:cubicBezTo>
                    <a:pt x="43" y="22"/>
                    <a:pt x="34" y="11"/>
                    <a:pt x="29" y="8"/>
                  </a:cubicBezTo>
                  <a:cubicBezTo>
                    <a:pt x="19" y="3"/>
                    <a:pt x="10" y="4"/>
                    <a:pt x="0" y="0"/>
                  </a:cubicBezTo>
                  <a:cubicBezTo>
                    <a:pt x="2" y="10"/>
                    <a:pt x="18" y="27"/>
                    <a:pt x="26" y="32"/>
                  </a:cubicBezTo>
                  <a:cubicBezTo>
                    <a:pt x="37" y="39"/>
                    <a:pt x="38" y="52"/>
                    <a:pt x="47" y="58"/>
                  </a:cubicBezTo>
                  <a:cubicBezTo>
                    <a:pt x="55" y="69"/>
                    <a:pt x="78" y="113"/>
                    <a:pt x="94" y="113"/>
                  </a:cubicBezTo>
                  <a:cubicBezTo>
                    <a:pt x="126" y="113"/>
                    <a:pt x="88" y="65"/>
                    <a:pt x="83" y="5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1" name="Freeform 8">
              <a:extLst>
                <a:ext uri="{FF2B5EF4-FFF2-40B4-BE49-F238E27FC236}">
                  <a16:creationId xmlns:a16="http://schemas.microsoft.com/office/drawing/2014/main" id="{F03635F8-F1D5-4E82-B9E3-9D3CFADF6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2" y="1949"/>
              <a:ext cx="179" cy="210"/>
            </a:xfrm>
            <a:custGeom>
              <a:avLst/>
              <a:gdLst>
                <a:gd name="T0" fmla="*/ 18 w 101"/>
                <a:gd name="T1" fmla="*/ 97 h 118"/>
                <a:gd name="T2" fmla="*/ 30 w 101"/>
                <a:gd name="T3" fmla="*/ 102 h 118"/>
                <a:gd name="T4" fmla="*/ 75 w 101"/>
                <a:gd name="T5" fmla="*/ 96 h 118"/>
                <a:gd name="T6" fmla="*/ 99 w 101"/>
                <a:gd name="T7" fmla="*/ 57 h 118"/>
                <a:gd name="T8" fmla="*/ 101 w 101"/>
                <a:gd name="T9" fmla="*/ 18 h 118"/>
                <a:gd name="T10" fmla="*/ 81 w 101"/>
                <a:gd name="T11" fmla="*/ 0 h 118"/>
                <a:gd name="T12" fmla="*/ 51 w 101"/>
                <a:gd name="T13" fmla="*/ 25 h 118"/>
                <a:gd name="T14" fmla="*/ 18 w 101"/>
                <a:gd name="T15" fmla="*/ 55 h 118"/>
                <a:gd name="T16" fmla="*/ 11 w 101"/>
                <a:gd name="T17" fmla="*/ 78 h 118"/>
                <a:gd name="T18" fmla="*/ 18 w 101"/>
                <a:gd name="T19" fmla="*/ 9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18">
                  <a:moveTo>
                    <a:pt x="18" y="97"/>
                  </a:moveTo>
                  <a:cubicBezTo>
                    <a:pt x="27" y="100"/>
                    <a:pt x="26" y="95"/>
                    <a:pt x="30" y="102"/>
                  </a:cubicBezTo>
                  <a:cubicBezTo>
                    <a:pt x="47" y="100"/>
                    <a:pt x="68" y="118"/>
                    <a:pt x="75" y="96"/>
                  </a:cubicBezTo>
                  <a:cubicBezTo>
                    <a:pt x="79" y="84"/>
                    <a:pt x="82" y="60"/>
                    <a:pt x="99" y="57"/>
                  </a:cubicBezTo>
                  <a:cubicBezTo>
                    <a:pt x="73" y="42"/>
                    <a:pt x="89" y="28"/>
                    <a:pt x="101" y="18"/>
                  </a:cubicBezTo>
                  <a:cubicBezTo>
                    <a:pt x="93" y="14"/>
                    <a:pt x="85" y="8"/>
                    <a:pt x="81" y="0"/>
                  </a:cubicBezTo>
                  <a:cubicBezTo>
                    <a:pt x="70" y="6"/>
                    <a:pt x="61" y="18"/>
                    <a:pt x="51" y="25"/>
                  </a:cubicBezTo>
                  <a:cubicBezTo>
                    <a:pt x="39" y="34"/>
                    <a:pt x="30" y="47"/>
                    <a:pt x="18" y="55"/>
                  </a:cubicBezTo>
                  <a:cubicBezTo>
                    <a:pt x="0" y="66"/>
                    <a:pt x="2" y="59"/>
                    <a:pt x="11" y="78"/>
                  </a:cubicBezTo>
                  <a:cubicBezTo>
                    <a:pt x="14" y="84"/>
                    <a:pt x="11" y="94"/>
                    <a:pt x="18" y="9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2" name="Freeform 9">
              <a:extLst>
                <a:ext uri="{FF2B5EF4-FFF2-40B4-BE49-F238E27FC236}">
                  <a16:creationId xmlns:a16="http://schemas.microsoft.com/office/drawing/2014/main" id="{49C1DF59-BBA0-4078-837F-47B251851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4" y="2034"/>
              <a:ext cx="112" cy="137"/>
            </a:xfrm>
            <a:custGeom>
              <a:avLst/>
              <a:gdLst>
                <a:gd name="T0" fmla="*/ 29 w 63"/>
                <a:gd name="T1" fmla="*/ 17 h 77"/>
                <a:gd name="T2" fmla="*/ 63 w 63"/>
                <a:gd name="T3" fmla="*/ 4 h 77"/>
                <a:gd name="T4" fmla="*/ 11 w 63"/>
                <a:gd name="T5" fmla="*/ 20 h 77"/>
                <a:gd name="T6" fmla="*/ 13 w 63"/>
                <a:gd name="T7" fmla="*/ 77 h 77"/>
                <a:gd name="T8" fmla="*/ 23 w 63"/>
                <a:gd name="T9" fmla="*/ 48 h 77"/>
                <a:gd name="T10" fmla="*/ 27 w 63"/>
                <a:gd name="T11" fmla="*/ 69 h 77"/>
                <a:gd name="T12" fmla="*/ 27 w 63"/>
                <a:gd name="T13" fmla="*/ 39 h 77"/>
                <a:gd name="T14" fmla="*/ 45 w 63"/>
                <a:gd name="T15" fmla="*/ 26 h 77"/>
                <a:gd name="T16" fmla="*/ 25 w 63"/>
                <a:gd name="T17" fmla="*/ 31 h 77"/>
                <a:gd name="T18" fmla="*/ 29 w 63"/>
                <a:gd name="T19" fmla="*/ 1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77">
                  <a:moveTo>
                    <a:pt x="29" y="17"/>
                  </a:moveTo>
                  <a:cubicBezTo>
                    <a:pt x="43" y="15"/>
                    <a:pt x="59" y="23"/>
                    <a:pt x="63" y="4"/>
                  </a:cubicBezTo>
                  <a:cubicBezTo>
                    <a:pt x="45" y="21"/>
                    <a:pt x="27" y="0"/>
                    <a:pt x="11" y="20"/>
                  </a:cubicBezTo>
                  <a:cubicBezTo>
                    <a:pt x="0" y="35"/>
                    <a:pt x="0" y="66"/>
                    <a:pt x="13" y="77"/>
                  </a:cubicBezTo>
                  <a:cubicBezTo>
                    <a:pt x="21" y="67"/>
                    <a:pt x="10" y="51"/>
                    <a:pt x="23" y="48"/>
                  </a:cubicBezTo>
                  <a:cubicBezTo>
                    <a:pt x="22" y="55"/>
                    <a:pt x="24" y="63"/>
                    <a:pt x="27" y="69"/>
                  </a:cubicBezTo>
                  <a:cubicBezTo>
                    <a:pt x="46" y="67"/>
                    <a:pt x="33" y="50"/>
                    <a:pt x="27" y="39"/>
                  </a:cubicBezTo>
                  <a:cubicBezTo>
                    <a:pt x="35" y="36"/>
                    <a:pt x="42" y="33"/>
                    <a:pt x="45" y="26"/>
                  </a:cubicBezTo>
                  <a:cubicBezTo>
                    <a:pt x="40" y="27"/>
                    <a:pt x="27" y="31"/>
                    <a:pt x="25" y="31"/>
                  </a:cubicBezTo>
                  <a:cubicBezTo>
                    <a:pt x="12" y="36"/>
                    <a:pt x="12" y="19"/>
                    <a:pt x="29" y="1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3" name="Freeform 10">
              <a:extLst>
                <a:ext uri="{FF2B5EF4-FFF2-40B4-BE49-F238E27FC236}">
                  <a16:creationId xmlns:a16="http://schemas.microsoft.com/office/drawing/2014/main" id="{831BBCE2-41BE-4689-8FAF-74390D9C6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4" y="2162"/>
              <a:ext cx="179" cy="62"/>
            </a:xfrm>
            <a:custGeom>
              <a:avLst/>
              <a:gdLst>
                <a:gd name="T0" fmla="*/ 101 w 101"/>
                <a:gd name="T1" fmla="*/ 31 h 35"/>
                <a:gd name="T2" fmla="*/ 69 w 101"/>
                <a:gd name="T3" fmla="*/ 20 h 35"/>
                <a:gd name="T4" fmla="*/ 76 w 101"/>
                <a:gd name="T5" fmla="*/ 18 h 35"/>
                <a:gd name="T6" fmla="*/ 58 w 101"/>
                <a:gd name="T7" fmla="*/ 14 h 35"/>
                <a:gd name="T8" fmla="*/ 35 w 101"/>
                <a:gd name="T9" fmla="*/ 16 h 35"/>
                <a:gd name="T10" fmla="*/ 0 w 101"/>
                <a:gd name="T11" fmla="*/ 15 h 35"/>
                <a:gd name="T12" fmla="*/ 97 w 101"/>
                <a:gd name="T13" fmla="*/ 35 h 35"/>
                <a:gd name="T14" fmla="*/ 101 w 101"/>
                <a:gd name="T15" fmla="*/ 3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35">
                  <a:moveTo>
                    <a:pt x="101" y="31"/>
                  </a:moveTo>
                  <a:cubicBezTo>
                    <a:pt x="90" y="27"/>
                    <a:pt x="80" y="25"/>
                    <a:pt x="69" y="20"/>
                  </a:cubicBezTo>
                  <a:cubicBezTo>
                    <a:pt x="72" y="19"/>
                    <a:pt x="74" y="19"/>
                    <a:pt x="76" y="18"/>
                  </a:cubicBezTo>
                  <a:cubicBezTo>
                    <a:pt x="70" y="19"/>
                    <a:pt x="64" y="17"/>
                    <a:pt x="58" y="14"/>
                  </a:cubicBezTo>
                  <a:cubicBezTo>
                    <a:pt x="51" y="12"/>
                    <a:pt x="42" y="16"/>
                    <a:pt x="35" y="16"/>
                  </a:cubicBezTo>
                  <a:cubicBezTo>
                    <a:pt x="19" y="14"/>
                    <a:pt x="14" y="0"/>
                    <a:pt x="0" y="15"/>
                  </a:cubicBezTo>
                  <a:cubicBezTo>
                    <a:pt x="26" y="31"/>
                    <a:pt x="72" y="33"/>
                    <a:pt x="97" y="35"/>
                  </a:cubicBezTo>
                  <a:cubicBezTo>
                    <a:pt x="98" y="34"/>
                    <a:pt x="99" y="33"/>
                    <a:pt x="101" y="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4" name="Freeform 11">
              <a:extLst>
                <a:ext uri="{FF2B5EF4-FFF2-40B4-BE49-F238E27FC236}">
                  <a16:creationId xmlns:a16="http://schemas.microsoft.com/office/drawing/2014/main" id="{135577D9-515F-48F3-8887-0232C3019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8" y="2194"/>
              <a:ext cx="11" cy="0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5" name="Freeform 12">
              <a:extLst>
                <a:ext uri="{FF2B5EF4-FFF2-40B4-BE49-F238E27FC236}">
                  <a16:creationId xmlns:a16="http://schemas.microsoft.com/office/drawing/2014/main" id="{2E2FA279-0257-44EB-8C01-B1B84D9A0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5" y="2215"/>
              <a:ext cx="54" cy="15"/>
            </a:xfrm>
            <a:custGeom>
              <a:avLst/>
              <a:gdLst>
                <a:gd name="T0" fmla="*/ 20 w 30"/>
                <a:gd name="T1" fmla="*/ 7 h 8"/>
                <a:gd name="T2" fmla="*/ 30 w 30"/>
                <a:gd name="T3" fmla="*/ 0 h 8"/>
                <a:gd name="T4" fmla="*/ 0 w 30"/>
                <a:gd name="T5" fmla="*/ 4 h 8"/>
                <a:gd name="T6" fmla="*/ 20 w 30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8">
                  <a:moveTo>
                    <a:pt x="20" y="7"/>
                  </a:moveTo>
                  <a:cubicBezTo>
                    <a:pt x="23" y="5"/>
                    <a:pt x="27" y="3"/>
                    <a:pt x="30" y="0"/>
                  </a:cubicBezTo>
                  <a:cubicBezTo>
                    <a:pt x="19" y="6"/>
                    <a:pt x="10" y="0"/>
                    <a:pt x="0" y="4"/>
                  </a:cubicBezTo>
                  <a:cubicBezTo>
                    <a:pt x="6" y="7"/>
                    <a:pt x="13" y="8"/>
                    <a:pt x="20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6" name="Freeform 13">
              <a:extLst>
                <a:ext uri="{FF2B5EF4-FFF2-40B4-BE49-F238E27FC236}">
                  <a16:creationId xmlns:a16="http://schemas.microsoft.com/office/drawing/2014/main" id="{A9C32736-0CF3-417D-B727-9FE69AC86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2" y="2214"/>
              <a:ext cx="37" cy="16"/>
            </a:xfrm>
            <a:custGeom>
              <a:avLst/>
              <a:gdLst>
                <a:gd name="T0" fmla="*/ 0 w 21"/>
                <a:gd name="T1" fmla="*/ 7 h 9"/>
                <a:gd name="T2" fmla="*/ 21 w 21"/>
                <a:gd name="T3" fmla="*/ 8 h 9"/>
                <a:gd name="T4" fmla="*/ 0 w 21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9">
                  <a:moveTo>
                    <a:pt x="0" y="7"/>
                  </a:moveTo>
                  <a:cubicBezTo>
                    <a:pt x="7" y="9"/>
                    <a:pt x="13" y="8"/>
                    <a:pt x="21" y="8"/>
                  </a:cubicBezTo>
                  <a:cubicBezTo>
                    <a:pt x="17" y="0"/>
                    <a:pt x="9" y="4"/>
                    <a:pt x="0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7" name="Freeform 14">
              <a:extLst>
                <a:ext uri="{FF2B5EF4-FFF2-40B4-BE49-F238E27FC236}">
                  <a16:creationId xmlns:a16="http://schemas.microsoft.com/office/drawing/2014/main" id="{E841A9A2-992A-4021-B888-1FC601005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1" y="2231"/>
              <a:ext cx="29" cy="23"/>
            </a:xfrm>
            <a:custGeom>
              <a:avLst/>
              <a:gdLst>
                <a:gd name="T0" fmla="*/ 0 w 16"/>
                <a:gd name="T1" fmla="*/ 4 h 13"/>
                <a:gd name="T2" fmla="*/ 11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7" y="5"/>
                    <a:pt x="7" y="10"/>
                    <a:pt x="11" y="13"/>
                  </a:cubicBezTo>
                  <a:cubicBezTo>
                    <a:pt x="16" y="6"/>
                    <a:pt x="10" y="0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8" name="Freeform 15">
              <a:extLst>
                <a:ext uri="{FF2B5EF4-FFF2-40B4-BE49-F238E27FC236}">
                  <a16:creationId xmlns:a16="http://schemas.microsoft.com/office/drawing/2014/main" id="{0A579178-BD5B-4DA9-92E4-152E686A3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6" y="2217"/>
              <a:ext cx="13" cy="11"/>
            </a:xfrm>
            <a:custGeom>
              <a:avLst/>
              <a:gdLst>
                <a:gd name="T0" fmla="*/ 4 w 7"/>
                <a:gd name="T1" fmla="*/ 6 h 6"/>
                <a:gd name="T2" fmla="*/ 7 w 7"/>
                <a:gd name="T3" fmla="*/ 3 h 6"/>
                <a:gd name="T4" fmla="*/ 1 w 7"/>
                <a:gd name="T5" fmla="*/ 0 h 6"/>
                <a:gd name="T6" fmla="*/ 4 w 7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4" y="6"/>
                  </a:moveTo>
                  <a:cubicBezTo>
                    <a:pt x="5" y="5"/>
                    <a:pt x="6" y="4"/>
                    <a:pt x="7" y="3"/>
                  </a:cubicBezTo>
                  <a:cubicBezTo>
                    <a:pt x="5" y="1"/>
                    <a:pt x="2" y="1"/>
                    <a:pt x="1" y="0"/>
                  </a:cubicBezTo>
                  <a:cubicBezTo>
                    <a:pt x="2" y="2"/>
                    <a:pt x="0" y="4"/>
                    <a:pt x="4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9" name="Freeform 16">
              <a:extLst>
                <a:ext uri="{FF2B5EF4-FFF2-40B4-BE49-F238E27FC236}">
                  <a16:creationId xmlns:a16="http://schemas.microsoft.com/office/drawing/2014/main" id="{FEFF5445-B7B0-4372-A576-ADFFA9115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6" y="2219"/>
              <a:ext cx="65" cy="35"/>
            </a:xfrm>
            <a:custGeom>
              <a:avLst/>
              <a:gdLst>
                <a:gd name="T0" fmla="*/ 16 w 37"/>
                <a:gd name="T1" fmla="*/ 10 h 20"/>
                <a:gd name="T2" fmla="*/ 37 w 37"/>
                <a:gd name="T3" fmla="*/ 2 h 20"/>
                <a:gd name="T4" fmla="*/ 4 w 37"/>
                <a:gd name="T5" fmla="*/ 20 h 20"/>
                <a:gd name="T6" fmla="*/ 16 w 37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0">
                  <a:moveTo>
                    <a:pt x="16" y="10"/>
                  </a:moveTo>
                  <a:cubicBezTo>
                    <a:pt x="24" y="10"/>
                    <a:pt x="31" y="7"/>
                    <a:pt x="37" y="2"/>
                  </a:cubicBezTo>
                  <a:cubicBezTo>
                    <a:pt x="25" y="0"/>
                    <a:pt x="0" y="7"/>
                    <a:pt x="4" y="20"/>
                  </a:cubicBezTo>
                  <a:cubicBezTo>
                    <a:pt x="11" y="19"/>
                    <a:pt x="14" y="15"/>
                    <a:pt x="16" y="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0" name="Freeform 17">
              <a:extLst>
                <a:ext uri="{FF2B5EF4-FFF2-40B4-BE49-F238E27FC236}">
                  <a16:creationId xmlns:a16="http://schemas.microsoft.com/office/drawing/2014/main" id="{9A29F833-C95B-4357-884F-4EAADF83D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2169"/>
              <a:ext cx="9" cy="25"/>
            </a:xfrm>
            <a:custGeom>
              <a:avLst/>
              <a:gdLst>
                <a:gd name="T0" fmla="*/ 5 w 5"/>
                <a:gd name="T1" fmla="*/ 0 h 14"/>
                <a:gd name="T2" fmla="*/ 2 w 5"/>
                <a:gd name="T3" fmla="*/ 14 h 14"/>
                <a:gd name="T4" fmla="*/ 5 w 5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4">
                  <a:moveTo>
                    <a:pt x="5" y="0"/>
                  </a:moveTo>
                  <a:cubicBezTo>
                    <a:pt x="3" y="5"/>
                    <a:pt x="0" y="9"/>
                    <a:pt x="2" y="14"/>
                  </a:cubicBezTo>
                  <a:cubicBezTo>
                    <a:pt x="5" y="9"/>
                    <a:pt x="5" y="4"/>
                    <a:pt x="5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1" name="Freeform 18">
              <a:extLst>
                <a:ext uri="{FF2B5EF4-FFF2-40B4-BE49-F238E27FC236}">
                  <a16:creationId xmlns:a16="http://schemas.microsoft.com/office/drawing/2014/main" id="{22AA54B8-756E-4E7C-9FAD-99D4BDC6C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2" y="2128"/>
              <a:ext cx="17" cy="13"/>
            </a:xfrm>
            <a:custGeom>
              <a:avLst/>
              <a:gdLst>
                <a:gd name="T0" fmla="*/ 7 w 10"/>
                <a:gd name="T1" fmla="*/ 7 h 7"/>
                <a:gd name="T2" fmla="*/ 10 w 10"/>
                <a:gd name="T3" fmla="*/ 2 h 7"/>
                <a:gd name="T4" fmla="*/ 0 w 10"/>
                <a:gd name="T5" fmla="*/ 0 h 7"/>
                <a:gd name="T6" fmla="*/ 7 w 10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8" y="5"/>
                    <a:pt x="9" y="4"/>
                    <a:pt x="10" y="2"/>
                  </a:cubicBezTo>
                  <a:cubicBezTo>
                    <a:pt x="7" y="2"/>
                    <a:pt x="4" y="1"/>
                    <a:pt x="0" y="0"/>
                  </a:cubicBezTo>
                  <a:cubicBezTo>
                    <a:pt x="2" y="2"/>
                    <a:pt x="5" y="5"/>
                    <a:pt x="7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2" name="Freeform 19">
              <a:extLst>
                <a:ext uri="{FF2B5EF4-FFF2-40B4-BE49-F238E27FC236}">
                  <a16:creationId xmlns:a16="http://schemas.microsoft.com/office/drawing/2014/main" id="{AE711F3F-F401-47FA-BEBA-27031E96F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4" y="2121"/>
              <a:ext cx="51" cy="15"/>
            </a:xfrm>
            <a:custGeom>
              <a:avLst/>
              <a:gdLst>
                <a:gd name="T0" fmla="*/ 0 w 29"/>
                <a:gd name="T1" fmla="*/ 4 h 8"/>
                <a:gd name="T2" fmla="*/ 29 w 29"/>
                <a:gd name="T3" fmla="*/ 8 h 8"/>
                <a:gd name="T4" fmla="*/ 25 w 29"/>
                <a:gd name="T5" fmla="*/ 2 h 8"/>
                <a:gd name="T6" fmla="*/ 0 w 29"/>
                <a:gd name="T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8">
                  <a:moveTo>
                    <a:pt x="0" y="4"/>
                  </a:moveTo>
                  <a:cubicBezTo>
                    <a:pt x="10" y="5"/>
                    <a:pt x="20" y="7"/>
                    <a:pt x="29" y="8"/>
                  </a:cubicBezTo>
                  <a:cubicBezTo>
                    <a:pt x="27" y="6"/>
                    <a:pt x="26" y="4"/>
                    <a:pt x="25" y="2"/>
                  </a:cubicBezTo>
                  <a:cubicBezTo>
                    <a:pt x="16" y="1"/>
                    <a:pt x="7" y="0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3" name="Freeform 20">
              <a:extLst>
                <a:ext uri="{FF2B5EF4-FFF2-40B4-BE49-F238E27FC236}">
                  <a16:creationId xmlns:a16="http://schemas.microsoft.com/office/drawing/2014/main" id="{00F214A0-0FD8-4C17-8244-871BA2D97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2070"/>
              <a:ext cx="7" cy="11"/>
            </a:xfrm>
            <a:custGeom>
              <a:avLst/>
              <a:gdLst>
                <a:gd name="T0" fmla="*/ 4 w 4"/>
                <a:gd name="T1" fmla="*/ 6 h 6"/>
                <a:gd name="T2" fmla="*/ 1 w 4"/>
                <a:gd name="T3" fmla="*/ 0 h 6"/>
                <a:gd name="T4" fmla="*/ 0 w 4"/>
                <a:gd name="T5" fmla="*/ 0 h 6"/>
                <a:gd name="T6" fmla="*/ 4 w 4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cubicBezTo>
                    <a:pt x="3" y="4"/>
                    <a:pt x="2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2" y="2"/>
                    <a:pt x="3" y="4"/>
                    <a:pt x="4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4" name="Freeform 21">
              <a:extLst>
                <a:ext uri="{FF2B5EF4-FFF2-40B4-BE49-F238E27FC236}">
                  <a16:creationId xmlns:a16="http://schemas.microsoft.com/office/drawing/2014/main" id="{B0B81E1C-EF94-4BCF-926C-32A18BEF0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7" y="2031"/>
              <a:ext cx="21" cy="39"/>
            </a:xfrm>
            <a:custGeom>
              <a:avLst/>
              <a:gdLst>
                <a:gd name="T0" fmla="*/ 3 w 12"/>
                <a:gd name="T1" fmla="*/ 0 h 22"/>
                <a:gd name="T2" fmla="*/ 4 w 12"/>
                <a:gd name="T3" fmla="*/ 22 h 22"/>
                <a:gd name="T4" fmla="*/ 11 w 12"/>
                <a:gd name="T5" fmla="*/ 19 h 22"/>
                <a:gd name="T6" fmla="*/ 3 w 12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2">
                  <a:moveTo>
                    <a:pt x="3" y="0"/>
                  </a:moveTo>
                  <a:cubicBezTo>
                    <a:pt x="0" y="8"/>
                    <a:pt x="1" y="15"/>
                    <a:pt x="4" y="22"/>
                  </a:cubicBezTo>
                  <a:cubicBezTo>
                    <a:pt x="5" y="21"/>
                    <a:pt x="7" y="18"/>
                    <a:pt x="11" y="19"/>
                  </a:cubicBezTo>
                  <a:cubicBezTo>
                    <a:pt x="12" y="12"/>
                    <a:pt x="11" y="6"/>
                    <a:pt x="3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5" name="Freeform 22">
              <a:extLst>
                <a:ext uri="{FF2B5EF4-FFF2-40B4-BE49-F238E27FC236}">
                  <a16:creationId xmlns:a16="http://schemas.microsoft.com/office/drawing/2014/main" id="{F704CD7C-C5FD-4F93-B686-F7A8F3603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" y="2144"/>
              <a:ext cx="80" cy="41"/>
            </a:xfrm>
            <a:custGeom>
              <a:avLst/>
              <a:gdLst>
                <a:gd name="T0" fmla="*/ 0 w 45"/>
                <a:gd name="T1" fmla="*/ 14 h 23"/>
                <a:gd name="T2" fmla="*/ 10 w 45"/>
                <a:gd name="T3" fmla="*/ 21 h 23"/>
                <a:gd name="T4" fmla="*/ 36 w 45"/>
                <a:gd name="T5" fmla="*/ 0 h 23"/>
                <a:gd name="T6" fmla="*/ 0 w 45"/>
                <a:gd name="T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23">
                  <a:moveTo>
                    <a:pt x="0" y="14"/>
                  </a:moveTo>
                  <a:cubicBezTo>
                    <a:pt x="4" y="16"/>
                    <a:pt x="7" y="19"/>
                    <a:pt x="10" y="21"/>
                  </a:cubicBezTo>
                  <a:cubicBezTo>
                    <a:pt x="14" y="23"/>
                    <a:pt x="45" y="17"/>
                    <a:pt x="36" y="0"/>
                  </a:cubicBezTo>
                  <a:cubicBezTo>
                    <a:pt x="30" y="13"/>
                    <a:pt x="13" y="14"/>
                    <a:pt x="0" y="1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6" name="Freeform 23">
              <a:extLst>
                <a:ext uri="{FF2B5EF4-FFF2-40B4-BE49-F238E27FC236}">
                  <a16:creationId xmlns:a16="http://schemas.microsoft.com/office/drawing/2014/main" id="{D2249B3F-20F1-40A4-9CA3-15C8BA21A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3" y="2073"/>
              <a:ext cx="355" cy="217"/>
            </a:xfrm>
            <a:custGeom>
              <a:avLst/>
              <a:gdLst>
                <a:gd name="T0" fmla="*/ 74 w 200"/>
                <a:gd name="T1" fmla="*/ 14 h 122"/>
                <a:gd name="T2" fmla="*/ 47 w 200"/>
                <a:gd name="T3" fmla="*/ 31 h 122"/>
                <a:gd name="T4" fmla="*/ 27 w 200"/>
                <a:gd name="T5" fmla="*/ 5 h 122"/>
                <a:gd name="T6" fmla="*/ 0 w 200"/>
                <a:gd name="T7" fmla="*/ 10 h 122"/>
                <a:gd name="T8" fmla="*/ 30 w 200"/>
                <a:gd name="T9" fmla="*/ 21 h 122"/>
                <a:gd name="T10" fmla="*/ 13 w 200"/>
                <a:gd name="T11" fmla="*/ 27 h 122"/>
                <a:gd name="T12" fmla="*/ 29 w 200"/>
                <a:gd name="T13" fmla="*/ 34 h 122"/>
                <a:gd name="T14" fmla="*/ 71 w 200"/>
                <a:gd name="T15" fmla="*/ 79 h 122"/>
                <a:gd name="T16" fmla="*/ 102 w 200"/>
                <a:gd name="T17" fmla="*/ 87 h 122"/>
                <a:gd name="T18" fmla="*/ 123 w 200"/>
                <a:gd name="T19" fmla="*/ 90 h 122"/>
                <a:gd name="T20" fmla="*/ 133 w 200"/>
                <a:gd name="T21" fmla="*/ 75 h 122"/>
                <a:gd name="T22" fmla="*/ 200 w 200"/>
                <a:gd name="T23" fmla="*/ 99 h 122"/>
                <a:gd name="T24" fmla="*/ 163 w 200"/>
                <a:gd name="T25" fmla="*/ 68 h 122"/>
                <a:gd name="T26" fmla="*/ 100 w 200"/>
                <a:gd name="T27" fmla="*/ 23 h 122"/>
                <a:gd name="T28" fmla="*/ 74 w 200"/>
                <a:gd name="T29" fmla="*/ 1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122">
                  <a:moveTo>
                    <a:pt x="74" y="14"/>
                  </a:moveTo>
                  <a:cubicBezTo>
                    <a:pt x="66" y="10"/>
                    <a:pt x="53" y="31"/>
                    <a:pt x="47" y="31"/>
                  </a:cubicBezTo>
                  <a:cubicBezTo>
                    <a:pt x="33" y="29"/>
                    <a:pt x="36" y="10"/>
                    <a:pt x="27" y="5"/>
                  </a:cubicBezTo>
                  <a:cubicBezTo>
                    <a:pt x="17" y="0"/>
                    <a:pt x="8" y="4"/>
                    <a:pt x="0" y="10"/>
                  </a:cubicBezTo>
                  <a:cubicBezTo>
                    <a:pt x="9" y="18"/>
                    <a:pt x="18" y="25"/>
                    <a:pt x="30" y="21"/>
                  </a:cubicBezTo>
                  <a:cubicBezTo>
                    <a:pt x="24" y="23"/>
                    <a:pt x="19" y="26"/>
                    <a:pt x="13" y="27"/>
                  </a:cubicBezTo>
                  <a:cubicBezTo>
                    <a:pt x="17" y="35"/>
                    <a:pt x="22" y="43"/>
                    <a:pt x="29" y="34"/>
                  </a:cubicBezTo>
                  <a:cubicBezTo>
                    <a:pt x="33" y="40"/>
                    <a:pt x="105" y="61"/>
                    <a:pt x="71" y="79"/>
                  </a:cubicBezTo>
                  <a:cubicBezTo>
                    <a:pt x="81" y="82"/>
                    <a:pt x="93" y="85"/>
                    <a:pt x="102" y="87"/>
                  </a:cubicBezTo>
                  <a:cubicBezTo>
                    <a:pt x="109" y="89"/>
                    <a:pt x="115" y="92"/>
                    <a:pt x="123" y="90"/>
                  </a:cubicBezTo>
                  <a:cubicBezTo>
                    <a:pt x="126" y="89"/>
                    <a:pt x="126" y="77"/>
                    <a:pt x="133" y="75"/>
                  </a:cubicBezTo>
                  <a:cubicBezTo>
                    <a:pt x="151" y="69"/>
                    <a:pt x="185" y="122"/>
                    <a:pt x="200" y="99"/>
                  </a:cubicBezTo>
                  <a:cubicBezTo>
                    <a:pt x="182" y="95"/>
                    <a:pt x="175" y="81"/>
                    <a:pt x="163" y="68"/>
                  </a:cubicBezTo>
                  <a:cubicBezTo>
                    <a:pt x="183" y="53"/>
                    <a:pt x="111" y="31"/>
                    <a:pt x="100" y="23"/>
                  </a:cubicBezTo>
                  <a:cubicBezTo>
                    <a:pt x="99" y="24"/>
                    <a:pt x="83" y="18"/>
                    <a:pt x="74" y="1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7" name="Freeform 24">
              <a:extLst>
                <a:ext uri="{FF2B5EF4-FFF2-40B4-BE49-F238E27FC236}">
                  <a16:creationId xmlns:a16="http://schemas.microsoft.com/office/drawing/2014/main" id="{08F9457F-CDEC-48E3-AF74-8FB8ACD56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" y="2116"/>
              <a:ext cx="36" cy="36"/>
            </a:xfrm>
            <a:custGeom>
              <a:avLst/>
              <a:gdLst>
                <a:gd name="T0" fmla="*/ 0 w 20"/>
                <a:gd name="T1" fmla="*/ 0 h 20"/>
                <a:gd name="T2" fmla="*/ 18 w 20"/>
                <a:gd name="T3" fmla="*/ 20 h 20"/>
                <a:gd name="T4" fmla="*/ 0 w 2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0">
                  <a:moveTo>
                    <a:pt x="0" y="0"/>
                  </a:moveTo>
                  <a:cubicBezTo>
                    <a:pt x="8" y="5"/>
                    <a:pt x="15" y="12"/>
                    <a:pt x="18" y="20"/>
                  </a:cubicBezTo>
                  <a:cubicBezTo>
                    <a:pt x="20" y="14"/>
                    <a:pt x="9" y="5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8" name="Freeform 25">
              <a:extLst>
                <a:ext uri="{FF2B5EF4-FFF2-40B4-BE49-F238E27FC236}">
                  <a16:creationId xmlns:a16="http://schemas.microsoft.com/office/drawing/2014/main" id="{46ED1830-A8AF-4F61-8297-170A48F42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" y="2169"/>
              <a:ext cx="18" cy="23"/>
            </a:xfrm>
            <a:custGeom>
              <a:avLst/>
              <a:gdLst>
                <a:gd name="T0" fmla="*/ 5 w 10"/>
                <a:gd name="T1" fmla="*/ 7 h 13"/>
                <a:gd name="T2" fmla="*/ 7 w 10"/>
                <a:gd name="T3" fmla="*/ 13 h 13"/>
                <a:gd name="T4" fmla="*/ 10 w 10"/>
                <a:gd name="T5" fmla="*/ 10 h 13"/>
                <a:gd name="T6" fmla="*/ 0 w 10"/>
                <a:gd name="T7" fmla="*/ 0 h 13"/>
                <a:gd name="T8" fmla="*/ 5 w 10"/>
                <a:gd name="T9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3">
                  <a:moveTo>
                    <a:pt x="5" y="7"/>
                  </a:moveTo>
                  <a:cubicBezTo>
                    <a:pt x="6" y="9"/>
                    <a:pt x="5" y="11"/>
                    <a:pt x="7" y="13"/>
                  </a:cubicBezTo>
                  <a:cubicBezTo>
                    <a:pt x="8" y="12"/>
                    <a:pt x="9" y="11"/>
                    <a:pt x="10" y="10"/>
                  </a:cubicBezTo>
                  <a:cubicBezTo>
                    <a:pt x="7" y="6"/>
                    <a:pt x="3" y="3"/>
                    <a:pt x="0" y="0"/>
                  </a:cubicBezTo>
                  <a:cubicBezTo>
                    <a:pt x="2" y="2"/>
                    <a:pt x="3" y="5"/>
                    <a:pt x="5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9" name="Freeform 26">
              <a:extLst>
                <a:ext uri="{FF2B5EF4-FFF2-40B4-BE49-F238E27FC236}">
                  <a16:creationId xmlns:a16="http://schemas.microsoft.com/office/drawing/2014/main" id="{BDAAAFA2-9DD6-4ECA-9AF1-8CAFA7781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2260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0" name="Freeform 27">
              <a:extLst>
                <a:ext uri="{FF2B5EF4-FFF2-40B4-BE49-F238E27FC236}">
                  <a16:creationId xmlns:a16="http://schemas.microsoft.com/office/drawing/2014/main" id="{7B5C6005-71C6-4719-AD84-40FEB47CE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22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1" name="Freeform 28">
              <a:extLst>
                <a:ext uri="{FF2B5EF4-FFF2-40B4-BE49-F238E27FC236}">
                  <a16:creationId xmlns:a16="http://schemas.microsoft.com/office/drawing/2014/main" id="{DA762826-F388-4F08-9F97-2ACE99633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9" y="2251"/>
              <a:ext cx="9" cy="9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5 w 5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3" y="4"/>
                    <a:pt x="2" y="2"/>
                    <a:pt x="0" y="0"/>
                  </a:cubicBezTo>
                  <a:cubicBezTo>
                    <a:pt x="1" y="1"/>
                    <a:pt x="4" y="4"/>
                    <a:pt x="5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2" name="Freeform 29">
              <a:extLst>
                <a:ext uri="{FF2B5EF4-FFF2-40B4-BE49-F238E27FC236}">
                  <a16:creationId xmlns:a16="http://schemas.microsoft.com/office/drawing/2014/main" id="{7520CF54-0F46-4BD6-A7D6-9DA0D058A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2" y="2242"/>
              <a:ext cx="20" cy="7"/>
            </a:xfrm>
            <a:custGeom>
              <a:avLst/>
              <a:gdLst>
                <a:gd name="T0" fmla="*/ 11 w 11"/>
                <a:gd name="T1" fmla="*/ 4 h 4"/>
                <a:gd name="T2" fmla="*/ 0 w 11"/>
                <a:gd name="T3" fmla="*/ 0 h 4"/>
                <a:gd name="T4" fmla="*/ 11 w 11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4">
                  <a:moveTo>
                    <a:pt x="11" y="4"/>
                  </a:moveTo>
                  <a:cubicBezTo>
                    <a:pt x="7" y="3"/>
                    <a:pt x="3" y="1"/>
                    <a:pt x="0" y="0"/>
                  </a:cubicBezTo>
                  <a:cubicBezTo>
                    <a:pt x="3" y="2"/>
                    <a:pt x="8" y="3"/>
                    <a:pt x="11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3" name="Freeform 30">
              <a:extLst>
                <a:ext uri="{FF2B5EF4-FFF2-40B4-BE49-F238E27FC236}">
                  <a16:creationId xmlns:a16="http://schemas.microsoft.com/office/drawing/2014/main" id="{8113CD08-E2EA-433C-A605-24FB7C7EB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4" y="2217"/>
              <a:ext cx="18" cy="20"/>
            </a:xfrm>
            <a:custGeom>
              <a:avLst/>
              <a:gdLst>
                <a:gd name="T0" fmla="*/ 0 w 10"/>
                <a:gd name="T1" fmla="*/ 0 h 11"/>
                <a:gd name="T2" fmla="*/ 10 w 10"/>
                <a:gd name="T3" fmla="*/ 11 h 11"/>
                <a:gd name="T4" fmla="*/ 0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3" y="6"/>
                    <a:pt x="6" y="7"/>
                    <a:pt x="10" y="11"/>
                  </a:cubicBezTo>
                  <a:cubicBezTo>
                    <a:pt x="7" y="7"/>
                    <a:pt x="5" y="3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4" name="Freeform 31">
              <a:extLst>
                <a:ext uri="{FF2B5EF4-FFF2-40B4-BE49-F238E27FC236}">
                  <a16:creationId xmlns:a16="http://schemas.microsoft.com/office/drawing/2014/main" id="{875CA4C5-F5C1-415D-A3AF-755348346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" y="2203"/>
              <a:ext cx="22" cy="12"/>
            </a:xfrm>
            <a:custGeom>
              <a:avLst/>
              <a:gdLst>
                <a:gd name="T0" fmla="*/ 12 w 12"/>
                <a:gd name="T1" fmla="*/ 7 h 7"/>
                <a:gd name="T2" fmla="*/ 0 w 12"/>
                <a:gd name="T3" fmla="*/ 0 h 7"/>
                <a:gd name="T4" fmla="*/ 12 w 12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12" y="7"/>
                  </a:moveTo>
                  <a:cubicBezTo>
                    <a:pt x="8" y="4"/>
                    <a:pt x="4" y="2"/>
                    <a:pt x="0" y="0"/>
                  </a:cubicBezTo>
                  <a:cubicBezTo>
                    <a:pt x="1" y="1"/>
                    <a:pt x="6" y="7"/>
                    <a:pt x="12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5" name="Freeform 32">
              <a:extLst>
                <a:ext uri="{FF2B5EF4-FFF2-40B4-BE49-F238E27FC236}">
                  <a16:creationId xmlns:a16="http://schemas.microsoft.com/office/drawing/2014/main" id="{55AEC2CA-5BEC-43EC-9749-FB3BC1D7C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0" y="2187"/>
              <a:ext cx="14" cy="9"/>
            </a:xfrm>
            <a:custGeom>
              <a:avLst/>
              <a:gdLst>
                <a:gd name="T0" fmla="*/ 8 w 8"/>
                <a:gd name="T1" fmla="*/ 5 h 5"/>
                <a:gd name="T2" fmla="*/ 0 w 8"/>
                <a:gd name="T3" fmla="*/ 0 h 5"/>
                <a:gd name="T4" fmla="*/ 8 w 8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5"/>
                  </a:moveTo>
                  <a:cubicBezTo>
                    <a:pt x="5" y="3"/>
                    <a:pt x="3" y="2"/>
                    <a:pt x="0" y="0"/>
                  </a:cubicBezTo>
                  <a:cubicBezTo>
                    <a:pt x="1" y="1"/>
                    <a:pt x="2" y="4"/>
                    <a:pt x="8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6" name="Freeform 33">
              <a:extLst>
                <a:ext uri="{FF2B5EF4-FFF2-40B4-BE49-F238E27FC236}">
                  <a16:creationId xmlns:a16="http://schemas.microsoft.com/office/drawing/2014/main" id="{9893D555-D6F6-4D60-8235-08E508C46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" y="2813"/>
              <a:ext cx="76" cy="91"/>
            </a:xfrm>
            <a:custGeom>
              <a:avLst/>
              <a:gdLst>
                <a:gd name="T0" fmla="*/ 19 w 43"/>
                <a:gd name="T1" fmla="*/ 11 h 51"/>
                <a:gd name="T2" fmla="*/ 0 w 43"/>
                <a:gd name="T3" fmla="*/ 11 h 51"/>
                <a:gd name="T4" fmla="*/ 26 w 43"/>
                <a:gd name="T5" fmla="*/ 41 h 51"/>
                <a:gd name="T6" fmla="*/ 19 w 43"/>
                <a:gd name="T7" fmla="*/ 1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51">
                  <a:moveTo>
                    <a:pt x="19" y="11"/>
                  </a:moveTo>
                  <a:cubicBezTo>
                    <a:pt x="13" y="9"/>
                    <a:pt x="6" y="9"/>
                    <a:pt x="0" y="11"/>
                  </a:cubicBezTo>
                  <a:cubicBezTo>
                    <a:pt x="2" y="21"/>
                    <a:pt x="13" y="51"/>
                    <a:pt x="26" y="41"/>
                  </a:cubicBezTo>
                  <a:cubicBezTo>
                    <a:pt x="40" y="30"/>
                    <a:pt x="43" y="0"/>
                    <a:pt x="19" y="1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7" name="Freeform 34">
              <a:extLst>
                <a:ext uri="{FF2B5EF4-FFF2-40B4-BE49-F238E27FC236}">
                  <a16:creationId xmlns:a16="http://schemas.microsoft.com/office/drawing/2014/main" id="{5324749A-489B-4245-B08C-9C2A74662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" y="2810"/>
              <a:ext cx="13" cy="11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0 h 6"/>
                <a:gd name="T4" fmla="*/ 6 w 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6"/>
                  </a:moveTo>
                  <a:cubicBezTo>
                    <a:pt x="7" y="4"/>
                    <a:pt x="7" y="2"/>
                    <a:pt x="7" y="0"/>
                  </a:cubicBezTo>
                  <a:cubicBezTo>
                    <a:pt x="5" y="3"/>
                    <a:pt x="0" y="0"/>
                    <a:pt x="6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8" name="Freeform 35">
              <a:extLst>
                <a:ext uri="{FF2B5EF4-FFF2-40B4-BE49-F238E27FC236}">
                  <a16:creationId xmlns:a16="http://schemas.microsoft.com/office/drawing/2014/main" id="{E1F09EF8-57A9-43BF-BF57-D716DD2A0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4" y="2274"/>
              <a:ext cx="25" cy="9"/>
            </a:xfrm>
            <a:custGeom>
              <a:avLst/>
              <a:gdLst>
                <a:gd name="T0" fmla="*/ 14 w 14"/>
                <a:gd name="T1" fmla="*/ 5 h 5"/>
                <a:gd name="T2" fmla="*/ 14 w 14"/>
                <a:gd name="T3" fmla="*/ 0 h 5"/>
                <a:gd name="T4" fmla="*/ 0 w 14"/>
                <a:gd name="T5" fmla="*/ 1 h 5"/>
                <a:gd name="T6" fmla="*/ 14 w 14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5">
                  <a:moveTo>
                    <a:pt x="14" y="5"/>
                  </a:moveTo>
                  <a:cubicBezTo>
                    <a:pt x="14" y="3"/>
                    <a:pt x="14" y="1"/>
                    <a:pt x="14" y="0"/>
                  </a:cubicBezTo>
                  <a:cubicBezTo>
                    <a:pt x="9" y="0"/>
                    <a:pt x="5" y="0"/>
                    <a:pt x="0" y="1"/>
                  </a:cubicBezTo>
                  <a:cubicBezTo>
                    <a:pt x="4" y="4"/>
                    <a:pt x="9" y="4"/>
                    <a:pt x="14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9" name="Freeform 36">
              <a:extLst>
                <a:ext uri="{FF2B5EF4-FFF2-40B4-BE49-F238E27FC236}">
                  <a16:creationId xmlns:a16="http://schemas.microsoft.com/office/drawing/2014/main" id="{5A179DC7-10B3-4DF5-B7A8-F33A10951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" y="2263"/>
              <a:ext cx="712" cy="549"/>
            </a:xfrm>
            <a:custGeom>
              <a:avLst/>
              <a:gdLst>
                <a:gd name="T0" fmla="*/ 376 w 402"/>
                <a:gd name="T1" fmla="*/ 131 h 309"/>
                <a:gd name="T2" fmla="*/ 371 w 402"/>
                <a:gd name="T3" fmla="*/ 118 h 309"/>
                <a:gd name="T4" fmla="*/ 360 w 402"/>
                <a:gd name="T5" fmla="*/ 114 h 309"/>
                <a:gd name="T6" fmla="*/ 346 w 402"/>
                <a:gd name="T7" fmla="*/ 93 h 309"/>
                <a:gd name="T8" fmla="*/ 329 w 402"/>
                <a:gd name="T9" fmla="*/ 78 h 309"/>
                <a:gd name="T10" fmla="*/ 307 w 402"/>
                <a:gd name="T11" fmla="*/ 37 h 309"/>
                <a:gd name="T12" fmla="*/ 293 w 402"/>
                <a:gd name="T13" fmla="*/ 0 h 309"/>
                <a:gd name="T14" fmla="*/ 265 w 402"/>
                <a:gd name="T15" fmla="*/ 70 h 309"/>
                <a:gd name="T16" fmla="*/ 234 w 402"/>
                <a:gd name="T17" fmla="*/ 19 h 309"/>
                <a:gd name="T18" fmla="*/ 187 w 402"/>
                <a:gd name="T19" fmla="*/ 5 h 309"/>
                <a:gd name="T20" fmla="*/ 193 w 402"/>
                <a:gd name="T21" fmla="*/ 13 h 309"/>
                <a:gd name="T22" fmla="*/ 161 w 402"/>
                <a:gd name="T23" fmla="*/ 44 h 309"/>
                <a:gd name="T24" fmla="*/ 148 w 402"/>
                <a:gd name="T25" fmla="*/ 45 h 309"/>
                <a:gd name="T26" fmla="*/ 112 w 402"/>
                <a:gd name="T27" fmla="*/ 59 h 309"/>
                <a:gd name="T28" fmla="*/ 105 w 402"/>
                <a:gd name="T29" fmla="*/ 56 h 309"/>
                <a:gd name="T30" fmla="*/ 101 w 402"/>
                <a:gd name="T31" fmla="*/ 66 h 309"/>
                <a:gd name="T32" fmla="*/ 96 w 402"/>
                <a:gd name="T33" fmla="*/ 59 h 309"/>
                <a:gd name="T34" fmla="*/ 50 w 402"/>
                <a:gd name="T35" fmla="*/ 97 h 309"/>
                <a:gd name="T36" fmla="*/ 9 w 402"/>
                <a:gd name="T37" fmla="*/ 114 h 309"/>
                <a:gd name="T38" fmla="*/ 9 w 402"/>
                <a:gd name="T39" fmla="*/ 160 h 309"/>
                <a:gd name="T40" fmla="*/ 6 w 402"/>
                <a:gd name="T41" fmla="*/ 156 h 309"/>
                <a:gd name="T42" fmla="*/ 27 w 402"/>
                <a:gd name="T43" fmla="*/ 223 h 309"/>
                <a:gd name="T44" fmla="*/ 38 w 402"/>
                <a:gd name="T45" fmla="*/ 254 h 309"/>
                <a:gd name="T46" fmla="*/ 75 w 402"/>
                <a:gd name="T47" fmla="*/ 244 h 309"/>
                <a:gd name="T48" fmla="*/ 158 w 402"/>
                <a:gd name="T49" fmla="*/ 218 h 309"/>
                <a:gd name="T50" fmla="*/ 222 w 402"/>
                <a:gd name="T51" fmla="*/ 253 h 309"/>
                <a:gd name="T52" fmla="*/ 244 w 402"/>
                <a:gd name="T53" fmla="*/ 230 h 309"/>
                <a:gd name="T54" fmla="*/ 234 w 402"/>
                <a:gd name="T55" fmla="*/ 254 h 309"/>
                <a:gd name="T56" fmla="*/ 238 w 402"/>
                <a:gd name="T57" fmla="*/ 257 h 309"/>
                <a:gd name="T58" fmla="*/ 247 w 402"/>
                <a:gd name="T59" fmla="*/ 246 h 309"/>
                <a:gd name="T60" fmla="*/ 249 w 402"/>
                <a:gd name="T61" fmla="*/ 260 h 309"/>
                <a:gd name="T62" fmla="*/ 260 w 402"/>
                <a:gd name="T63" fmla="*/ 259 h 309"/>
                <a:gd name="T64" fmla="*/ 310 w 402"/>
                <a:gd name="T65" fmla="*/ 292 h 309"/>
                <a:gd name="T66" fmla="*/ 329 w 402"/>
                <a:gd name="T67" fmla="*/ 299 h 309"/>
                <a:gd name="T68" fmla="*/ 339 w 402"/>
                <a:gd name="T69" fmla="*/ 290 h 309"/>
                <a:gd name="T70" fmla="*/ 366 w 402"/>
                <a:gd name="T71" fmla="*/ 275 h 309"/>
                <a:gd name="T72" fmla="*/ 394 w 402"/>
                <a:gd name="T73" fmla="*/ 213 h 309"/>
                <a:gd name="T74" fmla="*/ 390 w 402"/>
                <a:gd name="T75" fmla="*/ 146 h 309"/>
                <a:gd name="T76" fmla="*/ 376 w 402"/>
                <a:gd name="T77" fmla="*/ 13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2" h="309">
                  <a:moveTo>
                    <a:pt x="376" y="131"/>
                  </a:moveTo>
                  <a:cubicBezTo>
                    <a:pt x="372" y="127"/>
                    <a:pt x="374" y="122"/>
                    <a:pt x="371" y="118"/>
                  </a:cubicBezTo>
                  <a:cubicBezTo>
                    <a:pt x="369" y="115"/>
                    <a:pt x="362" y="117"/>
                    <a:pt x="360" y="114"/>
                  </a:cubicBezTo>
                  <a:cubicBezTo>
                    <a:pt x="354" y="107"/>
                    <a:pt x="352" y="100"/>
                    <a:pt x="346" y="93"/>
                  </a:cubicBezTo>
                  <a:cubicBezTo>
                    <a:pt x="340" y="87"/>
                    <a:pt x="332" y="87"/>
                    <a:pt x="329" y="78"/>
                  </a:cubicBezTo>
                  <a:cubicBezTo>
                    <a:pt x="324" y="64"/>
                    <a:pt x="322" y="42"/>
                    <a:pt x="307" y="37"/>
                  </a:cubicBezTo>
                  <a:cubicBezTo>
                    <a:pt x="300" y="34"/>
                    <a:pt x="295" y="8"/>
                    <a:pt x="293" y="0"/>
                  </a:cubicBezTo>
                  <a:cubicBezTo>
                    <a:pt x="282" y="7"/>
                    <a:pt x="284" y="81"/>
                    <a:pt x="265" y="70"/>
                  </a:cubicBezTo>
                  <a:cubicBezTo>
                    <a:pt x="247" y="59"/>
                    <a:pt x="202" y="42"/>
                    <a:pt x="234" y="19"/>
                  </a:cubicBezTo>
                  <a:cubicBezTo>
                    <a:pt x="229" y="12"/>
                    <a:pt x="199" y="10"/>
                    <a:pt x="187" y="5"/>
                  </a:cubicBezTo>
                  <a:cubicBezTo>
                    <a:pt x="189" y="8"/>
                    <a:pt x="191" y="11"/>
                    <a:pt x="193" y="13"/>
                  </a:cubicBezTo>
                  <a:cubicBezTo>
                    <a:pt x="174" y="18"/>
                    <a:pt x="163" y="22"/>
                    <a:pt x="161" y="44"/>
                  </a:cubicBezTo>
                  <a:cubicBezTo>
                    <a:pt x="159" y="44"/>
                    <a:pt x="150" y="45"/>
                    <a:pt x="148" y="45"/>
                  </a:cubicBezTo>
                  <a:cubicBezTo>
                    <a:pt x="144" y="17"/>
                    <a:pt x="116" y="44"/>
                    <a:pt x="112" y="59"/>
                  </a:cubicBezTo>
                  <a:cubicBezTo>
                    <a:pt x="110" y="58"/>
                    <a:pt x="107" y="57"/>
                    <a:pt x="105" y="56"/>
                  </a:cubicBezTo>
                  <a:cubicBezTo>
                    <a:pt x="104" y="59"/>
                    <a:pt x="102" y="63"/>
                    <a:pt x="101" y="66"/>
                  </a:cubicBezTo>
                  <a:cubicBezTo>
                    <a:pt x="99" y="64"/>
                    <a:pt x="98" y="62"/>
                    <a:pt x="96" y="59"/>
                  </a:cubicBezTo>
                  <a:cubicBezTo>
                    <a:pt x="86" y="85"/>
                    <a:pt x="77" y="89"/>
                    <a:pt x="50" y="97"/>
                  </a:cubicBezTo>
                  <a:cubicBezTo>
                    <a:pt x="39" y="100"/>
                    <a:pt x="14" y="116"/>
                    <a:pt x="9" y="114"/>
                  </a:cubicBezTo>
                  <a:cubicBezTo>
                    <a:pt x="0" y="128"/>
                    <a:pt x="7" y="145"/>
                    <a:pt x="9" y="160"/>
                  </a:cubicBezTo>
                  <a:cubicBezTo>
                    <a:pt x="8" y="159"/>
                    <a:pt x="7" y="157"/>
                    <a:pt x="6" y="156"/>
                  </a:cubicBezTo>
                  <a:cubicBezTo>
                    <a:pt x="3" y="175"/>
                    <a:pt x="24" y="203"/>
                    <a:pt x="27" y="223"/>
                  </a:cubicBezTo>
                  <a:cubicBezTo>
                    <a:pt x="30" y="239"/>
                    <a:pt x="11" y="249"/>
                    <a:pt x="38" y="254"/>
                  </a:cubicBezTo>
                  <a:cubicBezTo>
                    <a:pt x="52" y="256"/>
                    <a:pt x="62" y="248"/>
                    <a:pt x="75" y="244"/>
                  </a:cubicBezTo>
                  <a:cubicBezTo>
                    <a:pt x="103" y="237"/>
                    <a:pt x="129" y="232"/>
                    <a:pt x="158" y="218"/>
                  </a:cubicBezTo>
                  <a:cubicBezTo>
                    <a:pt x="189" y="203"/>
                    <a:pt x="209" y="232"/>
                    <a:pt x="222" y="253"/>
                  </a:cubicBezTo>
                  <a:cubicBezTo>
                    <a:pt x="233" y="248"/>
                    <a:pt x="237" y="238"/>
                    <a:pt x="244" y="230"/>
                  </a:cubicBezTo>
                  <a:cubicBezTo>
                    <a:pt x="245" y="239"/>
                    <a:pt x="242" y="248"/>
                    <a:pt x="234" y="254"/>
                  </a:cubicBezTo>
                  <a:cubicBezTo>
                    <a:pt x="235" y="255"/>
                    <a:pt x="237" y="256"/>
                    <a:pt x="238" y="257"/>
                  </a:cubicBezTo>
                  <a:cubicBezTo>
                    <a:pt x="241" y="252"/>
                    <a:pt x="246" y="252"/>
                    <a:pt x="247" y="246"/>
                  </a:cubicBezTo>
                  <a:cubicBezTo>
                    <a:pt x="247" y="251"/>
                    <a:pt x="250" y="254"/>
                    <a:pt x="249" y="260"/>
                  </a:cubicBezTo>
                  <a:cubicBezTo>
                    <a:pt x="252" y="259"/>
                    <a:pt x="256" y="261"/>
                    <a:pt x="260" y="259"/>
                  </a:cubicBezTo>
                  <a:cubicBezTo>
                    <a:pt x="268" y="280"/>
                    <a:pt x="282" y="309"/>
                    <a:pt x="310" y="292"/>
                  </a:cubicBezTo>
                  <a:cubicBezTo>
                    <a:pt x="315" y="289"/>
                    <a:pt x="323" y="296"/>
                    <a:pt x="329" y="299"/>
                  </a:cubicBezTo>
                  <a:cubicBezTo>
                    <a:pt x="333" y="301"/>
                    <a:pt x="334" y="293"/>
                    <a:pt x="339" y="290"/>
                  </a:cubicBezTo>
                  <a:cubicBezTo>
                    <a:pt x="349" y="285"/>
                    <a:pt x="360" y="284"/>
                    <a:pt x="366" y="275"/>
                  </a:cubicBezTo>
                  <a:cubicBezTo>
                    <a:pt x="368" y="251"/>
                    <a:pt x="386" y="234"/>
                    <a:pt x="394" y="213"/>
                  </a:cubicBezTo>
                  <a:cubicBezTo>
                    <a:pt x="401" y="194"/>
                    <a:pt x="402" y="164"/>
                    <a:pt x="390" y="146"/>
                  </a:cubicBezTo>
                  <a:cubicBezTo>
                    <a:pt x="388" y="142"/>
                    <a:pt x="381" y="136"/>
                    <a:pt x="376" y="1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0" name="Freeform 37">
              <a:extLst>
                <a:ext uri="{FF2B5EF4-FFF2-40B4-BE49-F238E27FC236}">
                  <a16:creationId xmlns:a16="http://schemas.microsoft.com/office/drawing/2014/main" id="{0264C935-DABE-49CC-9A07-250350688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" y="2961"/>
              <a:ext cx="13" cy="10"/>
            </a:xfrm>
            <a:custGeom>
              <a:avLst/>
              <a:gdLst>
                <a:gd name="T0" fmla="*/ 0 w 7"/>
                <a:gd name="T1" fmla="*/ 6 h 6"/>
                <a:gd name="T2" fmla="*/ 7 w 7"/>
                <a:gd name="T3" fmla="*/ 0 h 6"/>
                <a:gd name="T4" fmla="*/ 0 w 7"/>
                <a:gd name="T5" fmla="*/ 0 h 6"/>
                <a:gd name="T6" fmla="*/ 0 w 7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6"/>
                  </a:moveTo>
                  <a:cubicBezTo>
                    <a:pt x="2" y="4"/>
                    <a:pt x="4" y="2"/>
                    <a:pt x="7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4"/>
                    <a:pt x="0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1" name="Freeform 38">
              <a:extLst>
                <a:ext uri="{FF2B5EF4-FFF2-40B4-BE49-F238E27FC236}">
                  <a16:creationId xmlns:a16="http://schemas.microsoft.com/office/drawing/2014/main" id="{0A59F7D8-2D9D-4DB9-96D2-4D117A70D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3" y="2828"/>
              <a:ext cx="172" cy="136"/>
            </a:xfrm>
            <a:custGeom>
              <a:avLst/>
              <a:gdLst>
                <a:gd name="T0" fmla="*/ 75 w 97"/>
                <a:gd name="T1" fmla="*/ 8 h 77"/>
                <a:gd name="T2" fmla="*/ 70 w 97"/>
                <a:gd name="T3" fmla="*/ 0 h 77"/>
                <a:gd name="T4" fmla="*/ 55 w 97"/>
                <a:gd name="T5" fmla="*/ 20 h 77"/>
                <a:gd name="T6" fmla="*/ 16 w 97"/>
                <a:gd name="T7" fmla="*/ 53 h 77"/>
                <a:gd name="T8" fmla="*/ 42 w 97"/>
                <a:gd name="T9" fmla="*/ 71 h 77"/>
                <a:gd name="T10" fmla="*/ 55 w 97"/>
                <a:gd name="T11" fmla="*/ 50 h 77"/>
                <a:gd name="T12" fmla="*/ 71 w 97"/>
                <a:gd name="T13" fmla="*/ 34 h 77"/>
                <a:gd name="T14" fmla="*/ 75 w 97"/>
                <a:gd name="T15" fmla="*/ 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77">
                  <a:moveTo>
                    <a:pt x="75" y="8"/>
                  </a:moveTo>
                  <a:cubicBezTo>
                    <a:pt x="74" y="5"/>
                    <a:pt x="72" y="3"/>
                    <a:pt x="70" y="0"/>
                  </a:cubicBezTo>
                  <a:cubicBezTo>
                    <a:pt x="64" y="6"/>
                    <a:pt x="60" y="14"/>
                    <a:pt x="55" y="20"/>
                  </a:cubicBezTo>
                  <a:cubicBezTo>
                    <a:pt x="45" y="35"/>
                    <a:pt x="28" y="41"/>
                    <a:pt x="16" y="53"/>
                  </a:cubicBezTo>
                  <a:cubicBezTo>
                    <a:pt x="0" y="68"/>
                    <a:pt x="31" y="77"/>
                    <a:pt x="42" y="71"/>
                  </a:cubicBezTo>
                  <a:cubicBezTo>
                    <a:pt x="50" y="66"/>
                    <a:pt x="49" y="56"/>
                    <a:pt x="55" y="50"/>
                  </a:cubicBezTo>
                  <a:cubicBezTo>
                    <a:pt x="60" y="45"/>
                    <a:pt x="71" y="38"/>
                    <a:pt x="71" y="34"/>
                  </a:cubicBezTo>
                  <a:cubicBezTo>
                    <a:pt x="71" y="28"/>
                    <a:pt x="97" y="0"/>
                    <a:pt x="75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2" name="Freeform 39">
              <a:extLst>
                <a:ext uri="{FF2B5EF4-FFF2-40B4-BE49-F238E27FC236}">
                  <a16:creationId xmlns:a16="http://schemas.microsoft.com/office/drawing/2014/main" id="{8B1006C3-D726-452C-8F1A-16E1A0199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8" y="2702"/>
              <a:ext cx="109" cy="149"/>
            </a:xfrm>
            <a:custGeom>
              <a:avLst/>
              <a:gdLst>
                <a:gd name="T0" fmla="*/ 29 w 61"/>
                <a:gd name="T1" fmla="*/ 25 h 84"/>
                <a:gd name="T2" fmla="*/ 0 w 61"/>
                <a:gd name="T3" fmla="*/ 0 h 84"/>
                <a:gd name="T4" fmla="*/ 18 w 61"/>
                <a:gd name="T5" fmla="*/ 31 h 84"/>
                <a:gd name="T6" fmla="*/ 10 w 61"/>
                <a:gd name="T7" fmla="*/ 56 h 84"/>
                <a:gd name="T8" fmla="*/ 28 w 61"/>
                <a:gd name="T9" fmla="*/ 79 h 84"/>
                <a:gd name="T10" fmla="*/ 44 w 61"/>
                <a:gd name="T11" fmla="*/ 56 h 84"/>
                <a:gd name="T12" fmla="*/ 55 w 61"/>
                <a:gd name="T13" fmla="*/ 37 h 84"/>
                <a:gd name="T14" fmla="*/ 29 w 61"/>
                <a:gd name="T15" fmla="*/ 2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84">
                  <a:moveTo>
                    <a:pt x="29" y="25"/>
                  </a:moveTo>
                  <a:cubicBezTo>
                    <a:pt x="20" y="32"/>
                    <a:pt x="11" y="7"/>
                    <a:pt x="0" y="0"/>
                  </a:cubicBezTo>
                  <a:cubicBezTo>
                    <a:pt x="3" y="14"/>
                    <a:pt x="15" y="18"/>
                    <a:pt x="18" y="31"/>
                  </a:cubicBezTo>
                  <a:cubicBezTo>
                    <a:pt x="20" y="35"/>
                    <a:pt x="18" y="49"/>
                    <a:pt x="10" y="56"/>
                  </a:cubicBezTo>
                  <a:cubicBezTo>
                    <a:pt x="23" y="62"/>
                    <a:pt x="18" y="84"/>
                    <a:pt x="28" y="79"/>
                  </a:cubicBezTo>
                  <a:cubicBezTo>
                    <a:pt x="37" y="74"/>
                    <a:pt x="38" y="60"/>
                    <a:pt x="44" y="56"/>
                  </a:cubicBezTo>
                  <a:cubicBezTo>
                    <a:pt x="46" y="55"/>
                    <a:pt x="61" y="41"/>
                    <a:pt x="55" y="37"/>
                  </a:cubicBezTo>
                  <a:cubicBezTo>
                    <a:pt x="47" y="31"/>
                    <a:pt x="30" y="47"/>
                    <a:pt x="29" y="2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3" name="Freeform 40">
              <a:extLst>
                <a:ext uri="{FF2B5EF4-FFF2-40B4-BE49-F238E27FC236}">
                  <a16:creationId xmlns:a16="http://schemas.microsoft.com/office/drawing/2014/main" id="{260CB988-368E-4803-B119-C0463C78E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5" y="2380"/>
              <a:ext cx="26" cy="16"/>
            </a:xfrm>
            <a:custGeom>
              <a:avLst/>
              <a:gdLst>
                <a:gd name="T0" fmla="*/ 7 w 15"/>
                <a:gd name="T1" fmla="*/ 0 h 9"/>
                <a:gd name="T2" fmla="*/ 0 w 15"/>
                <a:gd name="T3" fmla="*/ 6 h 9"/>
                <a:gd name="T4" fmla="*/ 7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7" y="0"/>
                  </a:moveTo>
                  <a:cubicBezTo>
                    <a:pt x="5" y="2"/>
                    <a:pt x="2" y="4"/>
                    <a:pt x="0" y="6"/>
                  </a:cubicBezTo>
                  <a:cubicBezTo>
                    <a:pt x="9" y="9"/>
                    <a:pt x="15" y="8"/>
                    <a:pt x="7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4" name="Freeform 41">
              <a:extLst>
                <a:ext uri="{FF2B5EF4-FFF2-40B4-BE49-F238E27FC236}">
                  <a16:creationId xmlns:a16="http://schemas.microsoft.com/office/drawing/2014/main" id="{C1EA4023-8CFD-4105-8E17-72074944C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" y="2363"/>
              <a:ext cx="19" cy="12"/>
            </a:xfrm>
            <a:custGeom>
              <a:avLst/>
              <a:gdLst>
                <a:gd name="T0" fmla="*/ 2 w 11"/>
                <a:gd name="T1" fmla="*/ 7 h 7"/>
                <a:gd name="T2" fmla="*/ 11 w 11"/>
                <a:gd name="T3" fmla="*/ 0 h 7"/>
                <a:gd name="T4" fmla="*/ 0 w 11"/>
                <a:gd name="T5" fmla="*/ 4 h 7"/>
                <a:gd name="T6" fmla="*/ 2 w 11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2" y="7"/>
                  </a:moveTo>
                  <a:cubicBezTo>
                    <a:pt x="8" y="6"/>
                    <a:pt x="9" y="1"/>
                    <a:pt x="11" y="0"/>
                  </a:cubicBezTo>
                  <a:cubicBezTo>
                    <a:pt x="7" y="1"/>
                    <a:pt x="4" y="3"/>
                    <a:pt x="0" y="4"/>
                  </a:cubicBezTo>
                  <a:cubicBezTo>
                    <a:pt x="1" y="5"/>
                    <a:pt x="2" y="6"/>
                    <a:pt x="2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5" name="Freeform 42">
              <a:extLst>
                <a:ext uri="{FF2B5EF4-FFF2-40B4-BE49-F238E27FC236}">
                  <a16:creationId xmlns:a16="http://schemas.microsoft.com/office/drawing/2014/main" id="{20BBC5E9-ED34-46AC-88AD-05D32047A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196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6" name="Freeform 43">
              <a:extLst>
                <a:ext uri="{FF2B5EF4-FFF2-40B4-BE49-F238E27FC236}">
                  <a16:creationId xmlns:a16="http://schemas.microsoft.com/office/drawing/2014/main" id="{6387DA93-645D-401B-A2F5-57012C8F6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8" y="1901"/>
              <a:ext cx="94" cy="75"/>
            </a:xfrm>
            <a:custGeom>
              <a:avLst/>
              <a:gdLst>
                <a:gd name="T0" fmla="*/ 38 w 53"/>
                <a:gd name="T1" fmla="*/ 0 h 42"/>
                <a:gd name="T2" fmla="*/ 8 w 53"/>
                <a:gd name="T3" fmla="*/ 35 h 42"/>
                <a:gd name="T4" fmla="*/ 14 w 53"/>
                <a:gd name="T5" fmla="*/ 22 h 42"/>
                <a:gd name="T6" fmla="*/ 38 w 53"/>
                <a:gd name="T7" fmla="*/ 42 h 42"/>
                <a:gd name="T8" fmla="*/ 43 w 53"/>
                <a:gd name="T9" fmla="*/ 30 h 42"/>
                <a:gd name="T10" fmla="*/ 46 w 53"/>
                <a:gd name="T11" fmla="*/ 36 h 42"/>
                <a:gd name="T12" fmla="*/ 38 w 5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42">
                  <a:moveTo>
                    <a:pt x="38" y="0"/>
                  </a:moveTo>
                  <a:cubicBezTo>
                    <a:pt x="34" y="24"/>
                    <a:pt x="0" y="4"/>
                    <a:pt x="8" y="35"/>
                  </a:cubicBezTo>
                  <a:cubicBezTo>
                    <a:pt x="9" y="31"/>
                    <a:pt x="12" y="27"/>
                    <a:pt x="14" y="22"/>
                  </a:cubicBezTo>
                  <a:cubicBezTo>
                    <a:pt x="31" y="22"/>
                    <a:pt x="20" y="36"/>
                    <a:pt x="38" y="42"/>
                  </a:cubicBezTo>
                  <a:cubicBezTo>
                    <a:pt x="38" y="35"/>
                    <a:pt x="38" y="29"/>
                    <a:pt x="43" y="30"/>
                  </a:cubicBezTo>
                  <a:cubicBezTo>
                    <a:pt x="41" y="25"/>
                    <a:pt x="46" y="35"/>
                    <a:pt x="46" y="36"/>
                  </a:cubicBezTo>
                  <a:cubicBezTo>
                    <a:pt x="53" y="25"/>
                    <a:pt x="48" y="7"/>
                    <a:pt x="38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7" name="Freeform 44">
              <a:extLst>
                <a:ext uri="{FF2B5EF4-FFF2-40B4-BE49-F238E27FC236}">
                  <a16:creationId xmlns:a16="http://schemas.microsoft.com/office/drawing/2014/main" id="{B4FA54CA-A4A8-4EC4-A0C1-E0C8CB2E1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6" y="1882"/>
              <a:ext cx="36" cy="41"/>
            </a:xfrm>
            <a:custGeom>
              <a:avLst/>
              <a:gdLst>
                <a:gd name="T0" fmla="*/ 1 w 20"/>
                <a:gd name="T1" fmla="*/ 23 h 23"/>
                <a:gd name="T2" fmla="*/ 18 w 20"/>
                <a:gd name="T3" fmla="*/ 0 h 23"/>
                <a:gd name="T4" fmla="*/ 1 w 20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1" y="23"/>
                  </a:moveTo>
                  <a:cubicBezTo>
                    <a:pt x="10" y="16"/>
                    <a:pt x="20" y="8"/>
                    <a:pt x="18" y="0"/>
                  </a:cubicBezTo>
                  <a:cubicBezTo>
                    <a:pt x="14" y="9"/>
                    <a:pt x="0" y="17"/>
                    <a:pt x="1" y="2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9" name="Freeform 45">
              <a:extLst>
                <a:ext uri="{FF2B5EF4-FFF2-40B4-BE49-F238E27FC236}">
                  <a16:creationId xmlns:a16="http://schemas.microsoft.com/office/drawing/2014/main" id="{C4083378-C59C-46F9-8317-11DAC3FB3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749"/>
              <a:ext cx="74" cy="106"/>
            </a:xfrm>
            <a:custGeom>
              <a:avLst/>
              <a:gdLst>
                <a:gd name="T0" fmla="*/ 13 w 42"/>
                <a:gd name="T1" fmla="*/ 38 h 60"/>
                <a:gd name="T2" fmla="*/ 29 w 42"/>
                <a:gd name="T3" fmla="*/ 54 h 60"/>
                <a:gd name="T4" fmla="*/ 29 w 42"/>
                <a:gd name="T5" fmla="*/ 48 h 60"/>
                <a:gd name="T6" fmla="*/ 42 w 42"/>
                <a:gd name="T7" fmla="*/ 60 h 60"/>
                <a:gd name="T8" fmla="*/ 37 w 42"/>
                <a:gd name="T9" fmla="*/ 52 h 60"/>
                <a:gd name="T10" fmla="*/ 39 w 42"/>
                <a:gd name="T11" fmla="*/ 48 h 60"/>
                <a:gd name="T12" fmla="*/ 24 w 42"/>
                <a:gd name="T13" fmla="*/ 47 h 60"/>
                <a:gd name="T14" fmla="*/ 17 w 42"/>
                <a:gd name="T15" fmla="*/ 2 h 60"/>
                <a:gd name="T16" fmla="*/ 8 w 42"/>
                <a:gd name="T17" fmla="*/ 0 h 60"/>
                <a:gd name="T18" fmla="*/ 4 w 42"/>
                <a:gd name="T19" fmla="*/ 24 h 60"/>
                <a:gd name="T20" fmla="*/ 13 w 42"/>
                <a:gd name="T21" fmla="*/ 3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60">
                  <a:moveTo>
                    <a:pt x="13" y="38"/>
                  </a:moveTo>
                  <a:cubicBezTo>
                    <a:pt x="10" y="49"/>
                    <a:pt x="20" y="48"/>
                    <a:pt x="29" y="54"/>
                  </a:cubicBezTo>
                  <a:cubicBezTo>
                    <a:pt x="29" y="52"/>
                    <a:pt x="29" y="50"/>
                    <a:pt x="29" y="48"/>
                  </a:cubicBezTo>
                  <a:cubicBezTo>
                    <a:pt x="33" y="53"/>
                    <a:pt x="38" y="55"/>
                    <a:pt x="42" y="60"/>
                  </a:cubicBezTo>
                  <a:cubicBezTo>
                    <a:pt x="41" y="53"/>
                    <a:pt x="41" y="56"/>
                    <a:pt x="37" y="52"/>
                  </a:cubicBezTo>
                  <a:cubicBezTo>
                    <a:pt x="38" y="51"/>
                    <a:pt x="38" y="50"/>
                    <a:pt x="39" y="48"/>
                  </a:cubicBezTo>
                  <a:cubicBezTo>
                    <a:pt x="33" y="46"/>
                    <a:pt x="28" y="45"/>
                    <a:pt x="24" y="47"/>
                  </a:cubicBezTo>
                  <a:cubicBezTo>
                    <a:pt x="10" y="35"/>
                    <a:pt x="26" y="18"/>
                    <a:pt x="17" y="2"/>
                  </a:cubicBezTo>
                  <a:cubicBezTo>
                    <a:pt x="16" y="2"/>
                    <a:pt x="10" y="0"/>
                    <a:pt x="8" y="0"/>
                  </a:cubicBezTo>
                  <a:cubicBezTo>
                    <a:pt x="4" y="8"/>
                    <a:pt x="5" y="15"/>
                    <a:pt x="4" y="24"/>
                  </a:cubicBezTo>
                  <a:cubicBezTo>
                    <a:pt x="0" y="34"/>
                    <a:pt x="4" y="40"/>
                    <a:pt x="13" y="3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1" name="Freeform 46">
              <a:extLst>
                <a:ext uri="{FF2B5EF4-FFF2-40B4-BE49-F238E27FC236}">
                  <a16:creationId xmlns:a16="http://schemas.microsoft.com/office/drawing/2014/main" id="{CFC1429F-3C3F-4EBA-B30D-8B90F6D8E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" y="1853"/>
              <a:ext cx="25" cy="45"/>
            </a:xfrm>
            <a:custGeom>
              <a:avLst/>
              <a:gdLst>
                <a:gd name="T0" fmla="*/ 0 w 14"/>
                <a:gd name="T1" fmla="*/ 3 h 25"/>
                <a:gd name="T2" fmla="*/ 7 w 14"/>
                <a:gd name="T3" fmla="*/ 11 h 25"/>
                <a:gd name="T4" fmla="*/ 1 w 14"/>
                <a:gd name="T5" fmla="*/ 13 h 25"/>
                <a:gd name="T6" fmla="*/ 7 w 14"/>
                <a:gd name="T7" fmla="*/ 25 h 25"/>
                <a:gd name="T8" fmla="*/ 10 w 14"/>
                <a:gd name="T9" fmla="*/ 25 h 25"/>
                <a:gd name="T10" fmla="*/ 12 w 14"/>
                <a:gd name="T11" fmla="*/ 17 h 25"/>
                <a:gd name="T12" fmla="*/ 0 w 14"/>
                <a:gd name="T13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5">
                  <a:moveTo>
                    <a:pt x="0" y="3"/>
                  </a:moveTo>
                  <a:cubicBezTo>
                    <a:pt x="2" y="6"/>
                    <a:pt x="4" y="9"/>
                    <a:pt x="7" y="11"/>
                  </a:cubicBezTo>
                  <a:cubicBezTo>
                    <a:pt x="6" y="12"/>
                    <a:pt x="2" y="13"/>
                    <a:pt x="1" y="13"/>
                  </a:cubicBezTo>
                  <a:cubicBezTo>
                    <a:pt x="3" y="16"/>
                    <a:pt x="5" y="22"/>
                    <a:pt x="7" y="25"/>
                  </a:cubicBezTo>
                  <a:cubicBezTo>
                    <a:pt x="8" y="25"/>
                    <a:pt x="9" y="25"/>
                    <a:pt x="10" y="25"/>
                  </a:cubicBezTo>
                  <a:cubicBezTo>
                    <a:pt x="6" y="17"/>
                    <a:pt x="12" y="19"/>
                    <a:pt x="12" y="17"/>
                  </a:cubicBezTo>
                  <a:cubicBezTo>
                    <a:pt x="14" y="8"/>
                    <a:pt x="10" y="0"/>
                    <a:pt x="0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2" name="Freeform 47">
              <a:extLst>
                <a:ext uri="{FF2B5EF4-FFF2-40B4-BE49-F238E27FC236}">
                  <a16:creationId xmlns:a16="http://schemas.microsoft.com/office/drawing/2014/main" id="{E8C1E4BC-DBE1-4AAD-8335-3E7A8CBF4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" y="1868"/>
              <a:ext cx="23" cy="26"/>
            </a:xfrm>
            <a:custGeom>
              <a:avLst/>
              <a:gdLst>
                <a:gd name="T0" fmla="*/ 3 w 13"/>
                <a:gd name="T1" fmla="*/ 15 h 15"/>
                <a:gd name="T2" fmla="*/ 13 w 13"/>
                <a:gd name="T3" fmla="*/ 5 h 15"/>
                <a:gd name="T4" fmla="*/ 4 w 13"/>
                <a:gd name="T5" fmla="*/ 0 h 15"/>
                <a:gd name="T6" fmla="*/ 6 w 13"/>
                <a:gd name="T7" fmla="*/ 1 h 15"/>
                <a:gd name="T8" fmla="*/ 3 w 13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3" y="15"/>
                  </a:moveTo>
                  <a:cubicBezTo>
                    <a:pt x="8" y="12"/>
                    <a:pt x="10" y="10"/>
                    <a:pt x="13" y="5"/>
                  </a:cubicBezTo>
                  <a:cubicBezTo>
                    <a:pt x="10" y="4"/>
                    <a:pt x="7" y="2"/>
                    <a:pt x="4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3"/>
                    <a:pt x="0" y="6"/>
                    <a:pt x="3" y="1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3" name="Freeform 48">
              <a:extLst>
                <a:ext uri="{FF2B5EF4-FFF2-40B4-BE49-F238E27FC236}">
                  <a16:creationId xmlns:a16="http://schemas.microsoft.com/office/drawing/2014/main" id="{F5AB3A59-5CCA-4961-BFC2-08B641A5C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1885"/>
              <a:ext cx="27" cy="32"/>
            </a:xfrm>
            <a:custGeom>
              <a:avLst/>
              <a:gdLst>
                <a:gd name="T0" fmla="*/ 10 w 15"/>
                <a:gd name="T1" fmla="*/ 3 h 18"/>
                <a:gd name="T2" fmla="*/ 6 w 15"/>
                <a:gd name="T3" fmla="*/ 0 h 18"/>
                <a:gd name="T4" fmla="*/ 0 w 15"/>
                <a:gd name="T5" fmla="*/ 10 h 18"/>
                <a:gd name="T6" fmla="*/ 6 w 15"/>
                <a:gd name="T7" fmla="*/ 18 h 18"/>
                <a:gd name="T8" fmla="*/ 9 w 15"/>
                <a:gd name="T9" fmla="*/ 10 h 18"/>
                <a:gd name="T10" fmla="*/ 9 w 15"/>
                <a:gd name="T11" fmla="*/ 11 h 18"/>
                <a:gd name="T12" fmla="*/ 15 w 15"/>
                <a:gd name="T13" fmla="*/ 0 h 18"/>
                <a:gd name="T14" fmla="*/ 10 w 15"/>
                <a:gd name="T15" fmla="*/ 6 h 18"/>
                <a:gd name="T16" fmla="*/ 10 w 15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0" y="3"/>
                  </a:moveTo>
                  <a:cubicBezTo>
                    <a:pt x="9" y="2"/>
                    <a:pt x="7" y="1"/>
                    <a:pt x="6" y="0"/>
                  </a:cubicBezTo>
                  <a:cubicBezTo>
                    <a:pt x="5" y="1"/>
                    <a:pt x="0" y="8"/>
                    <a:pt x="0" y="10"/>
                  </a:cubicBezTo>
                  <a:cubicBezTo>
                    <a:pt x="2" y="13"/>
                    <a:pt x="4" y="15"/>
                    <a:pt x="6" y="18"/>
                  </a:cubicBezTo>
                  <a:cubicBezTo>
                    <a:pt x="7" y="16"/>
                    <a:pt x="8" y="13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2" y="9"/>
                    <a:pt x="13" y="4"/>
                    <a:pt x="15" y="0"/>
                  </a:cubicBezTo>
                  <a:cubicBezTo>
                    <a:pt x="14" y="1"/>
                    <a:pt x="11" y="3"/>
                    <a:pt x="10" y="6"/>
                  </a:cubicBezTo>
                  <a:cubicBezTo>
                    <a:pt x="10" y="5"/>
                    <a:pt x="10" y="4"/>
                    <a:pt x="10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4" name="Freeform 49">
              <a:extLst>
                <a:ext uri="{FF2B5EF4-FFF2-40B4-BE49-F238E27FC236}">
                  <a16:creationId xmlns:a16="http://schemas.microsoft.com/office/drawing/2014/main" id="{E2BD9501-6766-4715-9D4F-99C940B23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" y="1898"/>
              <a:ext cx="13" cy="12"/>
            </a:xfrm>
            <a:custGeom>
              <a:avLst/>
              <a:gdLst>
                <a:gd name="T0" fmla="*/ 7 w 7"/>
                <a:gd name="T1" fmla="*/ 1 h 7"/>
                <a:gd name="T2" fmla="*/ 0 w 7"/>
                <a:gd name="T3" fmla="*/ 5 h 7"/>
                <a:gd name="T4" fmla="*/ 7 w 7"/>
                <a:gd name="T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7" y="1"/>
                  </a:moveTo>
                  <a:cubicBezTo>
                    <a:pt x="4" y="2"/>
                    <a:pt x="1" y="0"/>
                    <a:pt x="0" y="5"/>
                  </a:cubicBezTo>
                  <a:cubicBezTo>
                    <a:pt x="4" y="7"/>
                    <a:pt x="3" y="3"/>
                    <a:pt x="7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5" name="Freeform 50">
              <a:extLst>
                <a:ext uri="{FF2B5EF4-FFF2-40B4-BE49-F238E27FC236}">
                  <a16:creationId xmlns:a16="http://schemas.microsoft.com/office/drawing/2014/main" id="{B3E00E87-7213-47C5-B312-519646BD5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5" y="1848"/>
              <a:ext cx="14" cy="21"/>
            </a:xfrm>
            <a:custGeom>
              <a:avLst/>
              <a:gdLst>
                <a:gd name="T0" fmla="*/ 0 w 8"/>
                <a:gd name="T1" fmla="*/ 9 h 12"/>
                <a:gd name="T2" fmla="*/ 8 w 8"/>
                <a:gd name="T3" fmla="*/ 12 h 12"/>
                <a:gd name="T4" fmla="*/ 0 w 8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0" y="9"/>
                  </a:moveTo>
                  <a:cubicBezTo>
                    <a:pt x="4" y="10"/>
                    <a:pt x="5" y="8"/>
                    <a:pt x="8" y="12"/>
                  </a:cubicBezTo>
                  <a:cubicBezTo>
                    <a:pt x="2" y="0"/>
                    <a:pt x="4" y="6"/>
                    <a:pt x="0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6" name="Freeform 51">
              <a:extLst>
                <a:ext uri="{FF2B5EF4-FFF2-40B4-BE49-F238E27FC236}">
                  <a16:creationId xmlns:a16="http://schemas.microsoft.com/office/drawing/2014/main" id="{19FC8919-42C9-4415-B751-4E7F3D9CC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" y="1839"/>
              <a:ext cx="18" cy="20"/>
            </a:xfrm>
            <a:custGeom>
              <a:avLst/>
              <a:gdLst>
                <a:gd name="T0" fmla="*/ 0 w 10"/>
                <a:gd name="T1" fmla="*/ 0 h 11"/>
                <a:gd name="T2" fmla="*/ 9 w 10"/>
                <a:gd name="T3" fmla="*/ 11 h 11"/>
                <a:gd name="T4" fmla="*/ 0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2" y="4"/>
                    <a:pt x="5" y="8"/>
                    <a:pt x="9" y="11"/>
                  </a:cubicBezTo>
                  <a:cubicBezTo>
                    <a:pt x="8" y="5"/>
                    <a:pt x="10" y="1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7" name="Freeform 52">
              <a:extLst>
                <a:ext uri="{FF2B5EF4-FFF2-40B4-BE49-F238E27FC236}">
                  <a16:creationId xmlns:a16="http://schemas.microsoft.com/office/drawing/2014/main" id="{3B763CC4-A45F-442B-8C25-97FB61756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5" y="1607"/>
              <a:ext cx="39" cy="55"/>
            </a:xfrm>
            <a:custGeom>
              <a:avLst/>
              <a:gdLst>
                <a:gd name="T0" fmla="*/ 16 w 22"/>
                <a:gd name="T1" fmla="*/ 0 h 31"/>
                <a:gd name="T2" fmla="*/ 9 w 22"/>
                <a:gd name="T3" fmla="*/ 31 h 31"/>
                <a:gd name="T4" fmla="*/ 16 w 22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31">
                  <a:moveTo>
                    <a:pt x="16" y="0"/>
                  </a:moveTo>
                  <a:cubicBezTo>
                    <a:pt x="5" y="7"/>
                    <a:pt x="0" y="20"/>
                    <a:pt x="9" y="31"/>
                  </a:cubicBezTo>
                  <a:cubicBezTo>
                    <a:pt x="18" y="24"/>
                    <a:pt x="22" y="10"/>
                    <a:pt x="16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8" name="Freeform 53">
              <a:extLst>
                <a:ext uri="{FF2B5EF4-FFF2-40B4-BE49-F238E27FC236}">
                  <a16:creationId xmlns:a16="http://schemas.microsoft.com/office/drawing/2014/main" id="{6A2AFA99-937C-415D-AAC2-7826D30F7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1" y="1674"/>
              <a:ext cx="82" cy="96"/>
            </a:xfrm>
            <a:custGeom>
              <a:avLst/>
              <a:gdLst>
                <a:gd name="T0" fmla="*/ 0 w 46"/>
                <a:gd name="T1" fmla="*/ 24 h 54"/>
                <a:gd name="T2" fmla="*/ 0 w 46"/>
                <a:gd name="T3" fmla="*/ 2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4">
                  <a:moveTo>
                    <a:pt x="0" y="24"/>
                  </a:moveTo>
                  <a:cubicBezTo>
                    <a:pt x="2" y="54"/>
                    <a:pt x="46" y="0"/>
                    <a:pt x="0" y="2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9" name="Freeform 54">
              <a:extLst>
                <a:ext uri="{FF2B5EF4-FFF2-40B4-BE49-F238E27FC236}">
                  <a16:creationId xmlns:a16="http://schemas.microsoft.com/office/drawing/2014/main" id="{4A91CD8D-5E31-4AD9-BB89-2651729C0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084"/>
              <a:ext cx="28" cy="28"/>
            </a:xfrm>
            <a:custGeom>
              <a:avLst/>
              <a:gdLst>
                <a:gd name="T0" fmla="*/ 9 w 16"/>
                <a:gd name="T1" fmla="*/ 14 h 16"/>
                <a:gd name="T2" fmla="*/ 16 w 16"/>
                <a:gd name="T3" fmla="*/ 16 h 16"/>
                <a:gd name="T4" fmla="*/ 7 w 16"/>
                <a:gd name="T5" fmla="*/ 0 h 16"/>
                <a:gd name="T6" fmla="*/ 0 w 16"/>
                <a:gd name="T7" fmla="*/ 5 h 16"/>
                <a:gd name="T8" fmla="*/ 9 w 16"/>
                <a:gd name="T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9" y="14"/>
                  </a:moveTo>
                  <a:cubicBezTo>
                    <a:pt x="12" y="14"/>
                    <a:pt x="13" y="16"/>
                    <a:pt x="16" y="16"/>
                  </a:cubicBezTo>
                  <a:cubicBezTo>
                    <a:pt x="14" y="11"/>
                    <a:pt x="10" y="4"/>
                    <a:pt x="7" y="0"/>
                  </a:cubicBezTo>
                  <a:cubicBezTo>
                    <a:pt x="5" y="2"/>
                    <a:pt x="2" y="3"/>
                    <a:pt x="0" y="5"/>
                  </a:cubicBezTo>
                  <a:cubicBezTo>
                    <a:pt x="6" y="7"/>
                    <a:pt x="6" y="11"/>
                    <a:pt x="9" y="1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0" name="Freeform 55">
              <a:extLst>
                <a:ext uri="{FF2B5EF4-FFF2-40B4-BE49-F238E27FC236}">
                  <a16:creationId xmlns:a16="http://schemas.microsoft.com/office/drawing/2014/main" id="{BBA304E1-F532-46D5-8CBB-C470C1A6F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7" y="2105"/>
              <a:ext cx="11" cy="11"/>
            </a:xfrm>
            <a:custGeom>
              <a:avLst/>
              <a:gdLst>
                <a:gd name="T0" fmla="*/ 0 w 6"/>
                <a:gd name="T1" fmla="*/ 0 h 6"/>
                <a:gd name="T2" fmla="*/ 3 w 6"/>
                <a:gd name="T3" fmla="*/ 6 h 6"/>
                <a:gd name="T4" fmla="*/ 6 w 6"/>
                <a:gd name="T5" fmla="*/ 2 h 6"/>
                <a:gd name="T6" fmla="*/ 0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cubicBezTo>
                    <a:pt x="0" y="0"/>
                    <a:pt x="2" y="5"/>
                    <a:pt x="3" y="6"/>
                  </a:cubicBezTo>
                  <a:cubicBezTo>
                    <a:pt x="4" y="4"/>
                    <a:pt x="5" y="3"/>
                    <a:pt x="6" y="2"/>
                  </a:cubicBezTo>
                  <a:cubicBezTo>
                    <a:pt x="4" y="0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1" name="Freeform 56">
              <a:extLst>
                <a:ext uri="{FF2B5EF4-FFF2-40B4-BE49-F238E27FC236}">
                  <a16:creationId xmlns:a16="http://schemas.microsoft.com/office/drawing/2014/main" id="{82A8BF74-1013-406F-B8F2-13727A622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1" y="2079"/>
              <a:ext cx="11" cy="16"/>
            </a:xfrm>
            <a:custGeom>
              <a:avLst/>
              <a:gdLst>
                <a:gd name="T0" fmla="*/ 0 w 6"/>
                <a:gd name="T1" fmla="*/ 0 h 9"/>
                <a:gd name="T2" fmla="*/ 6 w 6"/>
                <a:gd name="T3" fmla="*/ 9 h 9"/>
                <a:gd name="T4" fmla="*/ 2 w 6"/>
                <a:gd name="T5" fmla="*/ 0 h 9"/>
                <a:gd name="T6" fmla="*/ 0 w 6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9">
                  <a:moveTo>
                    <a:pt x="0" y="0"/>
                  </a:moveTo>
                  <a:cubicBezTo>
                    <a:pt x="2" y="3"/>
                    <a:pt x="4" y="6"/>
                    <a:pt x="6" y="9"/>
                  </a:cubicBezTo>
                  <a:cubicBezTo>
                    <a:pt x="5" y="6"/>
                    <a:pt x="3" y="3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2" name="Freeform 57">
              <a:extLst>
                <a:ext uri="{FF2B5EF4-FFF2-40B4-BE49-F238E27FC236}">
                  <a16:creationId xmlns:a16="http://schemas.microsoft.com/office/drawing/2014/main" id="{2F2BE42D-3D21-4F5F-9B68-812479F60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" y="207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3" name="Freeform 58">
              <a:extLst>
                <a:ext uri="{FF2B5EF4-FFF2-40B4-BE49-F238E27FC236}">
                  <a16:creationId xmlns:a16="http://schemas.microsoft.com/office/drawing/2014/main" id="{C28FE7DF-0CE5-4982-A403-BE130830D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" y="2079"/>
              <a:ext cx="2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4" name="Freeform 59">
              <a:extLst>
                <a:ext uri="{FF2B5EF4-FFF2-40B4-BE49-F238E27FC236}">
                  <a16:creationId xmlns:a16="http://schemas.microsoft.com/office/drawing/2014/main" id="{F4210E0B-8A88-44E7-A96F-57BA96D85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" y="207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5" name="Freeform 60">
              <a:extLst>
                <a:ext uri="{FF2B5EF4-FFF2-40B4-BE49-F238E27FC236}">
                  <a16:creationId xmlns:a16="http://schemas.microsoft.com/office/drawing/2014/main" id="{F9E87681-3500-4F48-B56C-8ACD6E756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2" y="2040"/>
              <a:ext cx="9" cy="16"/>
            </a:xfrm>
            <a:custGeom>
              <a:avLst/>
              <a:gdLst>
                <a:gd name="T0" fmla="*/ 5 w 5"/>
                <a:gd name="T1" fmla="*/ 9 h 9"/>
                <a:gd name="T2" fmla="*/ 0 w 5"/>
                <a:gd name="T3" fmla="*/ 1 h 9"/>
                <a:gd name="T4" fmla="*/ 5 w 5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cubicBezTo>
                    <a:pt x="4" y="6"/>
                    <a:pt x="2" y="3"/>
                    <a:pt x="0" y="1"/>
                  </a:cubicBezTo>
                  <a:cubicBezTo>
                    <a:pt x="0" y="0"/>
                    <a:pt x="2" y="7"/>
                    <a:pt x="5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6" name="Freeform 61">
              <a:extLst>
                <a:ext uri="{FF2B5EF4-FFF2-40B4-BE49-F238E27FC236}">
                  <a16:creationId xmlns:a16="http://schemas.microsoft.com/office/drawing/2014/main" id="{471AD9C0-7B1F-4DA0-B292-051463206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8" y="1433"/>
              <a:ext cx="60" cy="62"/>
            </a:xfrm>
            <a:custGeom>
              <a:avLst/>
              <a:gdLst>
                <a:gd name="T0" fmla="*/ 13 w 34"/>
                <a:gd name="T1" fmla="*/ 14 h 35"/>
                <a:gd name="T2" fmla="*/ 15 w 34"/>
                <a:gd name="T3" fmla="*/ 23 h 35"/>
                <a:gd name="T4" fmla="*/ 17 w 34"/>
                <a:gd name="T5" fmla="*/ 35 h 35"/>
                <a:gd name="T6" fmla="*/ 25 w 34"/>
                <a:gd name="T7" fmla="*/ 9 h 35"/>
                <a:gd name="T8" fmla="*/ 13 w 34"/>
                <a:gd name="T9" fmla="*/ 1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5">
                  <a:moveTo>
                    <a:pt x="13" y="14"/>
                  </a:moveTo>
                  <a:cubicBezTo>
                    <a:pt x="16" y="17"/>
                    <a:pt x="16" y="19"/>
                    <a:pt x="15" y="23"/>
                  </a:cubicBezTo>
                  <a:cubicBezTo>
                    <a:pt x="13" y="30"/>
                    <a:pt x="13" y="33"/>
                    <a:pt x="17" y="35"/>
                  </a:cubicBezTo>
                  <a:cubicBezTo>
                    <a:pt x="22" y="29"/>
                    <a:pt x="34" y="14"/>
                    <a:pt x="25" y="9"/>
                  </a:cubicBezTo>
                  <a:cubicBezTo>
                    <a:pt x="12" y="0"/>
                    <a:pt x="0" y="23"/>
                    <a:pt x="13" y="1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7" name="Freeform 62">
              <a:extLst>
                <a:ext uri="{FF2B5EF4-FFF2-40B4-BE49-F238E27FC236}">
                  <a16:creationId xmlns:a16="http://schemas.microsoft.com/office/drawing/2014/main" id="{1FABAFE9-3E07-477E-90CC-F7D6D3098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" y="1419"/>
              <a:ext cx="64" cy="44"/>
            </a:xfrm>
            <a:custGeom>
              <a:avLst/>
              <a:gdLst>
                <a:gd name="T0" fmla="*/ 26 w 36"/>
                <a:gd name="T1" fmla="*/ 19 h 25"/>
                <a:gd name="T2" fmla="*/ 12 w 36"/>
                <a:gd name="T3" fmla="*/ 25 h 25"/>
                <a:gd name="T4" fmla="*/ 26 w 36"/>
                <a:gd name="T5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25">
                  <a:moveTo>
                    <a:pt x="26" y="19"/>
                  </a:moveTo>
                  <a:cubicBezTo>
                    <a:pt x="36" y="0"/>
                    <a:pt x="0" y="9"/>
                    <a:pt x="12" y="25"/>
                  </a:cubicBezTo>
                  <a:cubicBezTo>
                    <a:pt x="17" y="16"/>
                    <a:pt x="20" y="19"/>
                    <a:pt x="26" y="1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8" name="Freeform 63">
              <a:extLst>
                <a:ext uri="{FF2B5EF4-FFF2-40B4-BE49-F238E27FC236}">
                  <a16:creationId xmlns:a16="http://schemas.microsoft.com/office/drawing/2014/main" id="{93D60F73-275C-48C2-AC2B-7170D0815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" y="1291"/>
              <a:ext cx="202" cy="158"/>
            </a:xfrm>
            <a:custGeom>
              <a:avLst/>
              <a:gdLst>
                <a:gd name="T0" fmla="*/ 30 w 114"/>
                <a:gd name="T1" fmla="*/ 66 h 89"/>
                <a:gd name="T2" fmla="*/ 0 w 114"/>
                <a:gd name="T3" fmla="*/ 82 h 89"/>
                <a:gd name="T4" fmla="*/ 44 w 114"/>
                <a:gd name="T5" fmla="*/ 86 h 89"/>
                <a:gd name="T6" fmla="*/ 60 w 114"/>
                <a:gd name="T7" fmla="*/ 80 h 89"/>
                <a:gd name="T8" fmla="*/ 59 w 114"/>
                <a:gd name="T9" fmla="*/ 72 h 89"/>
                <a:gd name="T10" fmla="*/ 90 w 114"/>
                <a:gd name="T11" fmla="*/ 67 h 89"/>
                <a:gd name="T12" fmla="*/ 90 w 114"/>
                <a:gd name="T13" fmla="*/ 73 h 89"/>
                <a:gd name="T14" fmla="*/ 101 w 114"/>
                <a:gd name="T15" fmla="*/ 0 h 89"/>
                <a:gd name="T16" fmla="*/ 102 w 114"/>
                <a:gd name="T17" fmla="*/ 3 h 89"/>
                <a:gd name="T18" fmla="*/ 91 w 114"/>
                <a:gd name="T19" fmla="*/ 23 h 89"/>
                <a:gd name="T20" fmla="*/ 63 w 114"/>
                <a:gd name="T21" fmla="*/ 52 h 89"/>
                <a:gd name="T22" fmla="*/ 62 w 114"/>
                <a:gd name="T23" fmla="*/ 46 h 89"/>
                <a:gd name="T24" fmla="*/ 30 w 114"/>
                <a:gd name="T25" fmla="*/ 6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" h="89">
                  <a:moveTo>
                    <a:pt x="30" y="66"/>
                  </a:moveTo>
                  <a:cubicBezTo>
                    <a:pt x="16" y="65"/>
                    <a:pt x="11" y="76"/>
                    <a:pt x="0" y="82"/>
                  </a:cubicBezTo>
                  <a:cubicBezTo>
                    <a:pt x="12" y="84"/>
                    <a:pt x="48" y="65"/>
                    <a:pt x="44" y="86"/>
                  </a:cubicBezTo>
                  <a:cubicBezTo>
                    <a:pt x="50" y="89"/>
                    <a:pt x="55" y="85"/>
                    <a:pt x="60" y="80"/>
                  </a:cubicBezTo>
                  <a:cubicBezTo>
                    <a:pt x="58" y="76"/>
                    <a:pt x="59" y="75"/>
                    <a:pt x="59" y="72"/>
                  </a:cubicBezTo>
                  <a:cubicBezTo>
                    <a:pt x="68" y="81"/>
                    <a:pt x="83" y="75"/>
                    <a:pt x="90" y="67"/>
                  </a:cubicBezTo>
                  <a:cubicBezTo>
                    <a:pt x="90" y="69"/>
                    <a:pt x="90" y="71"/>
                    <a:pt x="90" y="73"/>
                  </a:cubicBezTo>
                  <a:cubicBezTo>
                    <a:pt x="104" y="63"/>
                    <a:pt x="114" y="12"/>
                    <a:pt x="101" y="0"/>
                  </a:cubicBezTo>
                  <a:cubicBezTo>
                    <a:pt x="101" y="0"/>
                    <a:pt x="102" y="3"/>
                    <a:pt x="102" y="3"/>
                  </a:cubicBezTo>
                  <a:cubicBezTo>
                    <a:pt x="90" y="2"/>
                    <a:pt x="92" y="15"/>
                    <a:pt x="91" y="23"/>
                  </a:cubicBezTo>
                  <a:cubicBezTo>
                    <a:pt x="88" y="38"/>
                    <a:pt x="76" y="47"/>
                    <a:pt x="63" y="52"/>
                  </a:cubicBezTo>
                  <a:cubicBezTo>
                    <a:pt x="62" y="49"/>
                    <a:pt x="62" y="50"/>
                    <a:pt x="62" y="46"/>
                  </a:cubicBezTo>
                  <a:cubicBezTo>
                    <a:pt x="54" y="62"/>
                    <a:pt x="47" y="66"/>
                    <a:pt x="30" y="6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9" name="Freeform 64">
              <a:extLst>
                <a:ext uri="{FF2B5EF4-FFF2-40B4-BE49-F238E27FC236}">
                  <a16:creationId xmlns:a16="http://schemas.microsoft.com/office/drawing/2014/main" id="{1AF2E24A-CAAA-4C28-8DC8-D41D80ACD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" y="1204"/>
              <a:ext cx="101" cy="83"/>
            </a:xfrm>
            <a:custGeom>
              <a:avLst/>
              <a:gdLst>
                <a:gd name="T0" fmla="*/ 8 w 57"/>
                <a:gd name="T1" fmla="*/ 25 h 47"/>
                <a:gd name="T2" fmla="*/ 2 w 57"/>
                <a:gd name="T3" fmla="*/ 47 h 47"/>
                <a:gd name="T4" fmla="*/ 13 w 57"/>
                <a:gd name="T5" fmla="*/ 42 h 47"/>
                <a:gd name="T6" fmla="*/ 6 w 57"/>
                <a:gd name="T7" fmla="*/ 37 h 47"/>
                <a:gd name="T8" fmla="*/ 30 w 57"/>
                <a:gd name="T9" fmla="*/ 38 h 47"/>
                <a:gd name="T10" fmla="*/ 57 w 57"/>
                <a:gd name="T11" fmla="*/ 25 h 47"/>
                <a:gd name="T12" fmla="*/ 55 w 57"/>
                <a:gd name="T13" fmla="*/ 16 h 47"/>
                <a:gd name="T14" fmla="*/ 21 w 57"/>
                <a:gd name="T15" fmla="*/ 0 h 47"/>
                <a:gd name="T16" fmla="*/ 8 w 57"/>
                <a:gd name="T17" fmla="*/ 2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7">
                  <a:moveTo>
                    <a:pt x="8" y="25"/>
                  </a:moveTo>
                  <a:cubicBezTo>
                    <a:pt x="5" y="26"/>
                    <a:pt x="0" y="38"/>
                    <a:pt x="2" y="47"/>
                  </a:cubicBezTo>
                  <a:cubicBezTo>
                    <a:pt x="6" y="47"/>
                    <a:pt x="10" y="45"/>
                    <a:pt x="13" y="42"/>
                  </a:cubicBezTo>
                  <a:cubicBezTo>
                    <a:pt x="10" y="40"/>
                    <a:pt x="8" y="39"/>
                    <a:pt x="6" y="37"/>
                  </a:cubicBezTo>
                  <a:cubicBezTo>
                    <a:pt x="16" y="31"/>
                    <a:pt x="21" y="33"/>
                    <a:pt x="30" y="38"/>
                  </a:cubicBezTo>
                  <a:cubicBezTo>
                    <a:pt x="33" y="40"/>
                    <a:pt x="48" y="26"/>
                    <a:pt x="57" y="25"/>
                  </a:cubicBezTo>
                  <a:cubicBezTo>
                    <a:pt x="56" y="23"/>
                    <a:pt x="55" y="17"/>
                    <a:pt x="55" y="16"/>
                  </a:cubicBezTo>
                  <a:cubicBezTo>
                    <a:pt x="40" y="19"/>
                    <a:pt x="31" y="9"/>
                    <a:pt x="21" y="0"/>
                  </a:cubicBezTo>
                  <a:cubicBezTo>
                    <a:pt x="20" y="9"/>
                    <a:pt x="20" y="22"/>
                    <a:pt x="8" y="2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0" name="Freeform 65">
              <a:extLst>
                <a:ext uri="{FF2B5EF4-FFF2-40B4-BE49-F238E27FC236}">
                  <a16:creationId xmlns:a16="http://schemas.microsoft.com/office/drawing/2014/main" id="{376D981F-E56C-4153-B9DE-5E8D17E7C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" y="1223"/>
              <a:ext cx="12" cy="16"/>
            </a:xfrm>
            <a:custGeom>
              <a:avLst/>
              <a:gdLst>
                <a:gd name="T0" fmla="*/ 0 w 7"/>
                <a:gd name="T1" fmla="*/ 9 h 9"/>
                <a:gd name="T2" fmla="*/ 7 w 7"/>
                <a:gd name="T3" fmla="*/ 0 h 9"/>
                <a:gd name="T4" fmla="*/ 0 w 7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0" y="9"/>
                  </a:moveTo>
                  <a:cubicBezTo>
                    <a:pt x="5" y="7"/>
                    <a:pt x="7" y="1"/>
                    <a:pt x="7" y="0"/>
                  </a:cubicBezTo>
                  <a:cubicBezTo>
                    <a:pt x="6" y="1"/>
                    <a:pt x="2" y="5"/>
                    <a:pt x="0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1" name="Freeform 66">
              <a:extLst>
                <a:ext uri="{FF2B5EF4-FFF2-40B4-BE49-F238E27FC236}">
                  <a16:creationId xmlns:a16="http://schemas.microsoft.com/office/drawing/2014/main" id="{B173977B-BE66-4A97-A966-74B4A0C30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1" y="1199"/>
              <a:ext cx="23" cy="19"/>
            </a:xfrm>
            <a:custGeom>
              <a:avLst/>
              <a:gdLst>
                <a:gd name="T0" fmla="*/ 0 w 13"/>
                <a:gd name="T1" fmla="*/ 11 h 11"/>
                <a:gd name="T2" fmla="*/ 13 w 13"/>
                <a:gd name="T3" fmla="*/ 4 h 11"/>
                <a:gd name="T4" fmla="*/ 0 w 13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11"/>
                  </a:moveTo>
                  <a:cubicBezTo>
                    <a:pt x="4" y="8"/>
                    <a:pt x="9" y="7"/>
                    <a:pt x="13" y="4"/>
                  </a:cubicBezTo>
                  <a:cubicBezTo>
                    <a:pt x="8" y="0"/>
                    <a:pt x="3" y="4"/>
                    <a:pt x="0" y="1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2" name="Freeform 67">
              <a:extLst>
                <a:ext uri="{FF2B5EF4-FFF2-40B4-BE49-F238E27FC236}">
                  <a16:creationId xmlns:a16="http://schemas.microsoft.com/office/drawing/2014/main" id="{129090E7-D14C-4396-A22C-6EB8AE889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" y="1184"/>
              <a:ext cx="18" cy="15"/>
            </a:xfrm>
            <a:custGeom>
              <a:avLst/>
              <a:gdLst>
                <a:gd name="T0" fmla="*/ 4 w 10"/>
                <a:gd name="T1" fmla="*/ 5 h 8"/>
                <a:gd name="T2" fmla="*/ 10 w 10"/>
                <a:gd name="T3" fmla="*/ 0 h 8"/>
                <a:gd name="T4" fmla="*/ 4 w 10"/>
                <a:gd name="T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4" y="5"/>
                  </a:moveTo>
                  <a:cubicBezTo>
                    <a:pt x="0" y="8"/>
                    <a:pt x="9" y="1"/>
                    <a:pt x="10" y="0"/>
                  </a:cubicBezTo>
                  <a:cubicBezTo>
                    <a:pt x="5" y="0"/>
                    <a:pt x="6" y="3"/>
                    <a:pt x="4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3" name="Freeform 68">
              <a:extLst>
                <a:ext uri="{FF2B5EF4-FFF2-40B4-BE49-F238E27FC236}">
                  <a16:creationId xmlns:a16="http://schemas.microsoft.com/office/drawing/2014/main" id="{731B4D05-50D0-448A-90C5-3082B5FFB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" y="998"/>
              <a:ext cx="50" cy="192"/>
            </a:xfrm>
            <a:custGeom>
              <a:avLst/>
              <a:gdLst>
                <a:gd name="T0" fmla="*/ 21 w 28"/>
                <a:gd name="T1" fmla="*/ 65 h 108"/>
                <a:gd name="T2" fmla="*/ 28 w 28"/>
                <a:gd name="T3" fmla="*/ 70 h 108"/>
                <a:gd name="T4" fmla="*/ 9 w 28"/>
                <a:gd name="T5" fmla="*/ 0 h 108"/>
                <a:gd name="T6" fmla="*/ 1 w 28"/>
                <a:gd name="T7" fmla="*/ 24 h 108"/>
                <a:gd name="T8" fmla="*/ 5 w 28"/>
                <a:gd name="T9" fmla="*/ 51 h 108"/>
                <a:gd name="T10" fmla="*/ 4 w 28"/>
                <a:gd name="T11" fmla="*/ 108 h 108"/>
                <a:gd name="T12" fmla="*/ 21 w 28"/>
                <a:gd name="T13" fmla="*/ 103 h 108"/>
                <a:gd name="T14" fmla="*/ 21 w 28"/>
                <a:gd name="T15" fmla="*/ 6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08">
                  <a:moveTo>
                    <a:pt x="21" y="65"/>
                  </a:moveTo>
                  <a:cubicBezTo>
                    <a:pt x="23" y="67"/>
                    <a:pt x="26" y="69"/>
                    <a:pt x="28" y="70"/>
                  </a:cubicBezTo>
                  <a:cubicBezTo>
                    <a:pt x="21" y="49"/>
                    <a:pt x="20" y="15"/>
                    <a:pt x="9" y="0"/>
                  </a:cubicBezTo>
                  <a:cubicBezTo>
                    <a:pt x="10" y="10"/>
                    <a:pt x="2" y="14"/>
                    <a:pt x="1" y="24"/>
                  </a:cubicBezTo>
                  <a:cubicBezTo>
                    <a:pt x="0" y="33"/>
                    <a:pt x="5" y="42"/>
                    <a:pt x="5" y="51"/>
                  </a:cubicBezTo>
                  <a:cubicBezTo>
                    <a:pt x="7" y="70"/>
                    <a:pt x="4" y="89"/>
                    <a:pt x="4" y="108"/>
                  </a:cubicBezTo>
                  <a:cubicBezTo>
                    <a:pt x="9" y="100"/>
                    <a:pt x="15" y="98"/>
                    <a:pt x="21" y="103"/>
                  </a:cubicBezTo>
                  <a:cubicBezTo>
                    <a:pt x="11" y="93"/>
                    <a:pt x="4" y="71"/>
                    <a:pt x="21" y="6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4" name="Freeform 69">
              <a:extLst>
                <a:ext uri="{FF2B5EF4-FFF2-40B4-BE49-F238E27FC236}">
                  <a16:creationId xmlns:a16="http://schemas.microsoft.com/office/drawing/2014/main" id="{D1B2D0CF-A23A-4BE0-82A0-7A602350B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3" y="547"/>
              <a:ext cx="8" cy="9"/>
            </a:xfrm>
            <a:custGeom>
              <a:avLst/>
              <a:gdLst>
                <a:gd name="T0" fmla="*/ 3 w 5"/>
                <a:gd name="T1" fmla="*/ 4 h 5"/>
                <a:gd name="T2" fmla="*/ 5 w 5"/>
                <a:gd name="T3" fmla="*/ 5 h 5"/>
                <a:gd name="T4" fmla="*/ 3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4" y="4"/>
                    <a:pt x="4" y="4"/>
                    <a:pt x="5" y="5"/>
                  </a:cubicBezTo>
                  <a:cubicBezTo>
                    <a:pt x="5" y="3"/>
                    <a:pt x="0" y="0"/>
                    <a:pt x="3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5" name="Freeform 70">
              <a:extLst>
                <a:ext uri="{FF2B5EF4-FFF2-40B4-BE49-F238E27FC236}">
                  <a16:creationId xmlns:a16="http://schemas.microsoft.com/office/drawing/2014/main" id="{E2322E7D-5526-42AB-9E45-80D674B04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1" y="316"/>
              <a:ext cx="335" cy="247"/>
            </a:xfrm>
            <a:custGeom>
              <a:avLst/>
              <a:gdLst>
                <a:gd name="T0" fmla="*/ 25 w 189"/>
                <a:gd name="T1" fmla="*/ 121 h 139"/>
                <a:gd name="T2" fmla="*/ 29 w 189"/>
                <a:gd name="T3" fmla="*/ 130 h 139"/>
                <a:gd name="T4" fmla="*/ 40 w 189"/>
                <a:gd name="T5" fmla="*/ 134 h 139"/>
                <a:gd name="T6" fmla="*/ 68 w 189"/>
                <a:gd name="T7" fmla="*/ 136 h 139"/>
                <a:gd name="T8" fmla="*/ 66 w 189"/>
                <a:gd name="T9" fmla="*/ 134 h 139"/>
                <a:gd name="T10" fmla="*/ 93 w 189"/>
                <a:gd name="T11" fmla="*/ 58 h 139"/>
                <a:gd name="T12" fmla="*/ 134 w 189"/>
                <a:gd name="T13" fmla="*/ 39 h 139"/>
                <a:gd name="T14" fmla="*/ 179 w 189"/>
                <a:gd name="T15" fmla="*/ 21 h 139"/>
                <a:gd name="T16" fmla="*/ 140 w 189"/>
                <a:gd name="T17" fmla="*/ 19 h 139"/>
                <a:gd name="T18" fmla="*/ 94 w 189"/>
                <a:gd name="T19" fmla="*/ 28 h 139"/>
                <a:gd name="T20" fmla="*/ 70 w 189"/>
                <a:gd name="T21" fmla="*/ 42 h 139"/>
                <a:gd name="T22" fmla="*/ 49 w 189"/>
                <a:gd name="T23" fmla="*/ 47 h 139"/>
                <a:gd name="T24" fmla="*/ 35 w 189"/>
                <a:gd name="T25" fmla="*/ 85 h 139"/>
                <a:gd name="T26" fmla="*/ 15 w 189"/>
                <a:gd name="T27" fmla="*/ 103 h 139"/>
                <a:gd name="T28" fmla="*/ 25 w 189"/>
                <a:gd name="T29" fmla="*/ 12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139">
                  <a:moveTo>
                    <a:pt x="25" y="121"/>
                  </a:moveTo>
                  <a:cubicBezTo>
                    <a:pt x="27" y="123"/>
                    <a:pt x="29" y="126"/>
                    <a:pt x="29" y="130"/>
                  </a:cubicBezTo>
                  <a:cubicBezTo>
                    <a:pt x="30" y="137"/>
                    <a:pt x="35" y="130"/>
                    <a:pt x="40" y="134"/>
                  </a:cubicBezTo>
                  <a:cubicBezTo>
                    <a:pt x="44" y="139"/>
                    <a:pt x="61" y="136"/>
                    <a:pt x="68" y="136"/>
                  </a:cubicBezTo>
                  <a:cubicBezTo>
                    <a:pt x="67" y="135"/>
                    <a:pt x="66" y="134"/>
                    <a:pt x="66" y="134"/>
                  </a:cubicBezTo>
                  <a:cubicBezTo>
                    <a:pt x="27" y="105"/>
                    <a:pt x="65" y="78"/>
                    <a:pt x="93" y="58"/>
                  </a:cubicBezTo>
                  <a:cubicBezTo>
                    <a:pt x="107" y="49"/>
                    <a:pt x="117" y="43"/>
                    <a:pt x="134" y="39"/>
                  </a:cubicBezTo>
                  <a:cubicBezTo>
                    <a:pt x="145" y="37"/>
                    <a:pt x="173" y="32"/>
                    <a:pt x="179" y="21"/>
                  </a:cubicBezTo>
                  <a:cubicBezTo>
                    <a:pt x="189" y="0"/>
                    <a:pt x="145" y="17"/>
                    <a:pt x="140" y="19"/>
                  </a:cubicBezTo>
                  <a:cubicBezTo>
                    <a:pt x="122" y="27"/>
                    <a:pt x="111" y="24"/>
                    <a:pt x="94" y="28"/>
                  </a:cubicBezTo>
                  <a:cubicBezTo>
                    <a:pt x="84" y="31"/>
                    <a:pt x="79" y="38"/>
                    <a:pt x="70" y="42"/>
                  </a:cubicBezTo>
                  <a:cubicBezTo>
                    <a:pt x="66" y="44"/>
                    <a:pt x="52" y="45"/>
                    <a:pt x="49" y="47"/>
                  </a:cubicBezTo>
                  <a:cubicBezTo>
                    <a:pt x="44" y="52"/>
                    <a:pt x="30" y="80"/>
                    <a:pt x="35" y="85"/>
                  </a:cubicBezTo>
                  <a:cubicBezTo>
                    <a:pt x="21" y="87"/>
                    <a:pt x="22" y="96"/>
                    <a:pt x="15" y="103"/>
                  </a:cubicBezTo>
                  <a:cubicBezTo>
                    <a:pt x="0" y="120"/>
                    <a:pt x="17" y="115"/>
                    <a:pt x="25" y="12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6" name="Freeform 71">
              <a:extLst>
                <a:ext uri="{FF2B5EF4-FFF2-40B4-BE49-F238E27FC236}">
                  <a16:creationId xmlns:a16="http://schemas.microsoft.com/office/drawing/2014/main" id="{523D85CF-7957-483C-B9D3-42923464CE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2" y="306"/>
              <a:ext cx="3611" cy="2401"/>
            </a:xfrm>
            <a:custGeom>
              <a:avLst/>
              <a:gdLst>
                <a:gd name="T0" fmla="*/ 1825 w 2037"/>
                <a:gd name="T1" fmla="*/ 156 h 1353"/>
                <a:gd name="T2" fmla="*/ 1655 w 2037"/>
                <a:gd name="T3" fmla="*/ 121 h 1353"/>
                <a:gd name="T4" fmla="*/ 1569 w 2037"/>
                <a:gd name="T5" fmla="*/ 96 h 1353"/>
                <a:gd name="T6" fmla="*/ 1316 w 2037"/>
                <a:gd name="T7" fmla="*/ 89 h 1353"/>
                <a:gd name="T8" fmla="*/ 1188 w 2037"/>
                <a:gd name="T9" fmla="*/ 5 h 1353"/>
                <a:gd name="T10" fmla="*/ 964 w 2037"/>
                <a:gd name="T11" fmla="*/ 109 h 1353"/>
                <a:gd name="T12" fmla="*/ 881 w 2037"/>
                <a:gd name="T13" fmla="*/ 134 h 1353"/>
                <a:gd name="T14" fmla="*/ 844 w 2037"/>
                <a:gd name="T15" fmla="*/ 175 h 1353"/>
                <a:gd name="T16" fmla="*/ 677 w 2037"/>
                <a:gd name="T17" fmla="*/ 176 h 1353"/>
                <a:gd name="T18" fmla="*/ 531 w 2037"/>
                <a:gd name="T19" fmla="*/ 249 h 1353"/>
                <a:gd name="T20" fmla="*/ 489 w 2037"/>
                <a:gd name="T21" fmla="*/ 157 h 1353"/>
                <a:gd name="T22" fmla="*/ 386 w 2037"/>
                <a:gd name="T23" fmla="*/ 140 h 1353"/>
                <a:gd name="T24" fmla="*/ 344 w 2037"/>
                <a:gd name="T25" fmla="*/ 164 h 1353"/>
                <a:gd name="T26" fmla="*/ 221 w 2037"/>
                <a:gd name="T27" fmla="*/ 321 h 1353"/>
                <a:gd name="T28" fmla="*/ 350 w 2037"/>
                <a:gd name="T29" fmla="*/ 319 h 1353"/>
                <a:gd name="T30" fmla="*/ 456 w 2037"/>
                <a:gd name="T31" fmla="*/ 312 h 1353"/>
                <a:gd name="T32" fmla="*/ 384 w 2037"/>
                <a:gd name="T33" fmla="*/ 345 h 1353"/>
                <a:gd name="T34" fmla="*/ 293 w 2037"/>
                <a:gd name="T35" fmla="*/ 380 h 1353"/>
                <a:gd name="T36" fmla="*/ 249 w 2037"/>
                <a:gd name="T37" fmla="*/ 371 h 1353"/>
                <a:gd name="T38" fmla="*/ 159 w 2037"/>
                <a:gd name="T39" fmla="*/ 464 h 1353"/>
                <a:gd name="T40" fmla="*/ 105 w 2037"/>
                <a:gd name="T41" fmla="*/ 534 h 1353"/>
                <a:gd name="T42" fmla="*/ 181 w 2037"/>
                <a:gd name="T43" fmla="*/ 562 h 1353"/>
                <a:gd name="T44" fmla="*/ 315 w 2037"/>
                <a:gd name="T45" fmla="*/ 568 h 1353"/>
                <a:gd name="T46" fmla="*/ 312 w 2037"/>
                <a:gd name="T47" fmla="*/ 550 h 1353"/>
                <a:gd name="T48" fmla="*/ 397 w 2037"/>
                <a:gd name="T49" fmla="*/ 608 h 1353"/>
                <a:gd name="T50" fmla="*/ 403 w 2037"/>
                <a:gd name="T51" fmla="*/ 575 h 1353"/>
                <a:gd name="T52" fmla="*/ 522 w 2037"/>
                <a:gd name="T53" fmla="*/ 508 h 1353"/>
                <a:gd name="T54" fmla="*/ 579 w 2037"/>
                <a:gd name="T55" fmla="*/ 556 h 1353"/>
                <a:gd name="T56" fmla="*/ 479 w 2037"/>
                <a:gd name="T57" fmla="*/ 613 h 1353"/>
                <a:gd name="T58" fmla="*/ 437 w 2037"/>
                <a:gd name="T59" fmla="*/ 673 h 1353"/>
                <a:gd name="T60" fmla="*/ 296 w 2037"/>
                <a:gd name="T61" fmla="*/ 649 h 1353"/>
                <a:gd name="T62" fmla="*/ 109 w 2037"/>
                <a:gd name="T63" fmla="*/ 628 h 1353"/>
                <a:gd name="T64" fmla="*/ 18 w 2037"/>
                <a:gd name="T65" fmla="*/ 747 h 1353"/>
                <a:gd name="T66" fmla="*/ 54 w 2037"/>
                <a:gd name="T67" fmla="*/ 925 h 1353"/>
                <a:gd name="T68" fmla="*/ 258 w 2037"/>
                <a:gd name="T69" fmla="*/ 947 h 1353"/>
                <a:gd name="T70" fmla="*/ 289 w 2037"/>
                <a:gd name="T71" fmla="*/ 1135 h 1353"/>
                <a:gd name="T72" fmla="*/ 370 w 2037"/>
                <a:gd name="T73" fmla="*/ 1350 h 1353"/>
                <a:gd name="T74" fmla="*/ 515 w 2037"/>
                <a:gd name="T75" fmla="*/ 1239 h 1353"/>
                <a:gd name="T76" fmla="*/ 551 w 2037"/>
                <a:gd name="T77" fmla="*/ 1041 h 1353"/>
                <a:gd name="T78" fmla="*/ 652 w 2037"/>
                <a:gd name="T79" fmla="*/ 879 h 1353"/>
                <a:gd name="T80" fmla="*/ 483 w 2037"/>
                <a:gd name="T81" fmla="*/ 685 h 1353"/>
                <a:gd name="T82" fmla="*/ 612 w 2037"/>
                <a:gd name="T83" fmla="*/ 866 h 1353"/>
                <a:gd name="T84" fmla="*/ 743 w 2037"/>
                <a:gd name="T85" fmla="*/ 749 h 1353"/>
                <a:gd name="T86" fmla="*/ 777 w 2037"/>
                <a:gd name="T87" fmla="*/ 739 h 1353"/>
                <a:gd name="T88" fmla="*/ 894 w 2037"/>
                <a:gd name="T89" fmla="*/ 836 h 1353"/>
                <a:gd name="T90" fmla="*/ 1017 w 2037"/>
                <a:gd name="T91" fmla="*/ 776 h 1353"/>
                <a:gd name="T92" fmla="*/ 1151 w 2037"/>
                <a:gd name="T93" fmla="*/ 852 h 1353"/>
                <a:gd name="T94" fmla="*/ 1241 w 2037"/>
                <a:gd name="T95" fmla="*/ 872 h 1353"/>
                <a:gd name="T96" fmla="*/ 1339 w 2037"/>
                <a:gd name="T97" fmla="*/ 738 h 1353"/>
                <a:gd name="T98" fmla="*/ 1341 w 2037"/>
                <a:gd name="T99" fmla="*/ 628 h 1353"/>
                <a:gd name="T100" fmla="*/ 1415 w 2037"/>
                <a:gd name="T101" fmla="*/ 602 h 1353"/>
                <a:gd name="T102" fmla="*/ 1517 w 2037"/>
                <a:gd name="T103" fmla="*/ 510 h 1353"/>
                <a:gd name="T104" fmla="*/ 1528 w 2037"/>
                <a:gd name="T105" fmla="*/ 359 h 1353"/>
                <a:gd name="T106" fmla="*/ 1708 w 2037"/>
                <a:gd name="T107" fmla="*/ 289 h 1353"/>
                <a:gd name="T108" fmla="*/ 1714 w 2037"/>
                <a:gd name="T109" fmla="*/ 433 h 1353"/>
                <a:gd name="T110" fmla="*/ 1813 w 2037"/>
                <a:gd name="T111" fmla="*/ 309 h 1353"/>
                <a:gd name="T112" fmla="*/ 1939 w 2037"/>
                <a:gd name="T113" fmla="*/ 229 h 1353"/>
                <a:gd name="T114" fmla="*/ 683 w 2037"/>
                <a:gd name="T115" fmla="*/ 573 h 1353"/>
                <a:gd name="T116" fmla="*/ 700 w 2037"/>
                <a:gd name="T117" fmla="*/ 506 h 1353"/>
                <a:gd name="T118" fmla="*/ 776 w 2037"/>
                <a:gd name="T119" fmla="*/ 6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37" h="1353">
                  <a:moveTo>
                    <a:pt x="1961" y="184"/>
                  </a:moveTo>
                  <a:cubicBezTo>
                    <a:pt x="1958" y="168"/>
                    <a:pt x="1948" y="174"/>
                    <a:pt x="1937" y="169"/>
                  </a:cubicBezTo>
                  <a:cubicBezTo>
                    <a:pt x="1933" y="167"/>
                    <a:pt x="1925" y="158"/>
                    <a:pt x="1922" y="157"/>
                  </a:cubicBezTo>
                  <a:cubicBezTo>
                    <a:pt x="1917" y="156"/>
                    <a:pt x="1913" y="161"/>
                    <a:pt x="1907" y="159"/>
                  </a:cubicBezTo>
                  <a:cubicBezTo>
                    <a:pt x="1886" y="152"/>
                    <a:pt x="1868" y="142"/>
                    <a:pt x="1843" y="154"/>
                  </a:cubicBezTo>
                  <a:cubicBezTo>
                    <a:pt x="1857" y="168"/>
                    <a:pt x="1840" y="168"/>
                    <a:pt x="1832" y="166"/>
                  </a:cubicBezTo>
                  <a:cubicBezTo>
                    <a:pt x="1826" y="165"/>
                    <a:pt x="1836" y="155"/>
                    <a:pt x="1825" y="156"/>
                  </a:cubicBezTo>
                  <a:cubicBezTo>
                    <a:pt x="1818" y="157"/>
                    <a:pt x="1813" y="154"/>
                    <a:pt x="1807" y="152"/>
                  </a:cubicBezTo>
                  <a:cubicBezTo>
                    <a:pt x="1799" y="151"/>
                    <a:pt x="1799" y="157"/>
                    <a:pt x="1793" y="157"/>
                  </a:cubicBezTo>
                  <a:cubicBezTo>
                    <a:pt x="1786" y="157"/>
                    <a:pt x="1780" y="153"/>
                    <a:pt x="1775" y="153"/>
                  </a:cubicBezTo>
                  <a:cubicBezTo>
                    <a:pt x="1763" y="153"/>
                    <a:pt x="1752" y="152"/>
                    <a:pt x="1741" y="153"/>
                  </a:cubicBezTo>
                  <a:cubicBezTo>
                    <a:pt x="1742" y="129"/>
                    <a:pt x="1716" y="126"/>
                    <a:pt x="1696" y="129"/>
                  </a:cubicBezTo>
                  <a:cubicBezTo>
                    <a:pt x="1687" y="130"/>
                    <a:pt x="1673" y="133"/>
                    <a:pt x="1665" y="131"/>
                  </a:cubicBezTo>
                  <a:cubicBezTo>
                    <a:pt x="1657" y="128"/>
                    <a:pt x="1660" y="125"/>
                    <a:pt x="1655" y="121"/>
                  </a:cubicBezTo>
                  <a:cubicBezTo>
                    <a:pt x="1654" y="118"/>
                    <a:pt x="1653" y="115"/>
                    <a:pt x="1653" y="112"/>
                  </a:cubicBezTo>
                  <a:cubicBezTo>
                    <a:pt x="1650" y="112"/>
                    <a:pt x="1647" y="112"/>
                    <a:pt x="1644" y="112"/>
                  </a:cubicBezTo>
                  <a:cubicBezTo>
                    <a:pt x="1638" y="108"/>
                    <a:pt x="1624" y="103"/>
                    <a:pt x="1618" y="102"/>
                  </a:cubicBezTo>
                  <a:cubicBezTo>
                    <a:pt x="1611" y="100"/>
                    <a:pt x="1590" y="102"/>
                    <a:pt x="1588" y="100"/>
                  </a:cubicBezTo>
                  <a:cubicBezTo>
                    <a:pt x="1585" y="97"/>
                    <a:pt x="1581" y="96"/>
                    <a:pt x="1578" y="95"/>
                  </a:cubicBezTo>
                  <a:cubicBezTo>
                    <a:pt x="1574" y="80"/>
                    <a:pt x="1555" y="81"/>
                    <a:pt x="1546" y="93"/>
                  </a:cubicBezTo>
                  <a:cubicBezTo>
                    <a:pt x="1553" y="92"/>
                    <a:pt x="1561" y="95"/>
                    <a:pt x="1569" y="96"/>
                  </a:cubicBezTo>
                  <a:cubicBezTo>
                    <a:pt x="1558" y="100"/>
                    <a:pt x="1549" y="113"/>
                    <a:pt x="1543" y="121"/>
                  </a:cubicBezTo>
                  <a:cubicBezTo>
                    <a:pt x="1539" y="126"/>
                    <a:pt x="1493" y="129"/>
                    <a:pt x="1486" y="128"/>
                  </a:cubicBezTo>
                  <a:cubicBezTo>
                    <a:pt x="1475" y="125"/>
                    <a:pt x="1477" y="117"/>
                    <a:pt x="1464" y="119"/>
                  </a:cubicBezTo>
                  <a:cubicBezTo>
                    <a:pt x="1458" y="120"/>
                    <a:pt x="1453" y="136"/>
                    <a:pt x="1443" y="133"/>
                  </a:cubicBezTo>
                  <a:cubicBezTo>
                    <a:pt x="1420" y="125"/>
                    <a:pt x="1449" y="92"/>
                    <a:pt x="1431" y="88"/>
                  </a:cubicBezTo>
                  <a:cubicBezTo>
                    <a:pt x="1417" y="84"/>
                    <a:pt x="1375" y="66"/>
                    <a:pt x="1379" y="96"/>
                  </a:cubicBezTo>
                  <a:cubicBezTo>
                    <a:pt x="1360" y="80"/>
                    <a:pt x="1334" y="103"/>
                    <a:pt x="1316" y="89"/>
                  </a:cubicBezTo>
                  <a:cubicBezTo>
                    <a:pt x="1302" y="79"/>
                    <a:pt x="1263" y="87"/>
                    <a:pt x="1260" y="68"/>
                  </a:cubicBezTo>
                  <a:cubicBezTo>
                    <a:pt x="1251" y="81"/>
                    <a:pt x="1238" y="84"/>
                    <a:pt x="1226" y="93"/>
                  </a:cubicBezTo>
                  <a:cubicBezTo>
                    <a:pt x="1221" y="68"/>
                    <a:pt x="1270" y="68"/>
                    <a:pt x="1281" y="50"/>
                  </a:cubicBezTo>
                  <a:cubicBezTo>
                    <a:pt x="1290" y="35"/>
                    <a:pt x="1282" y="32"/>
                    <a:pt x="1271" y="26"/>
                  </a:cubicBezTo>
                  <a:cubicBezTo>
                    <a:pt x="1260" y="21"/>
                    <a:pt x="1243" y="15"/>
                    <a:pt x="1231" y="21"/>
                  </a:cubicBezTo>
                  <a:cubicBezTo>
                    <a:pt x="1218" y="28"/>
                    <a:pt x="1213" y="6"/>
                    <a:pt x="1204" y="6"/>
                  </a:cubicBezTo>
                  <a:cubicBezTo>
                    <a:pt x="1197" y="7"/>
                    <a:pt x="1195" y="0"/>
                    <a:pt x="1188" y="5"/>
                  </a:cubicBezTo>
                  <a:cubicBezTo>
                    <a:pt x="1183" y="9"/>
                    <a:pt x="1179" y="10"/>
                    <a:pt x="1173" y="11"/>
                  </a:cubicBezTo>
                  <a:cubicBezTo>
                    <a:pt x="1168" y="11"/>
                    <a:pt x="1113" y="59"/>
                    <a:pt x="1114" y="29"/>
                  </a:cubicBezTo>
                  <a:cubicBezTo>
                    <a:pt x="1102" y="40"/>
                    <a:pt x="1081" y="36"/>
                    <a:pt x="1065" y="40"/>
                  </a:cubicBezTo>
                  <a:cubicBezTo>
                    <a:pt x="1057" y="43"/>
                    <a:pt x="1051" y="48"/>
                    <a:pt x="1044" y="49"/>
                  </a:cubicBezTo>
                  <a:cubicBezTo>
                    <a:pt x="1028" y="52"/>
                    <a:pt x="1033" y="54"/>
                    <a:pt x="1024" y="65"/>
                  </a:cubicBezTo>
                  <a:cubicBezTo>
                    <a:pt x="1008" y="83"/>
                    <a:pt x="1002" y="71"/>
                    <a:pt x="982" y="76"/>
                  </a:cubicBezTo>
                  <a:cubicBezTo>
                    <a:pt x="968" y="79"/>
                    <a:pt x="950" y="94"/>
                    <a:pt x="964" y="109"/>
                  </a:cubicBezTo>
                  <a:cubicBezTo>
                    <a:pt x="945" y="121"/>
                    <a:pt x="931" y="93"/>
                    <a:pt x="914" y="122"/>
                  </a:cubicBezTo>
                  <a:cubicBezTo>
                    <a:pt x="912" y="114"/>
                    <a:pt x="910" y="107"/>
                    <a:pt x="906" y="100"/>
                  </a:cubicBezTo>
                  <a:cubicBezTo>
                    <a:pt x="904" y="111"/>
                    <a:pt x="892" y="114"/>
                    <a:pt x="882" y="117"/>
                  </a:cubicBezTo>
                  <a:cubicBezTo>
                    <a:pt x="901" y="126"/>
                    <a:pt x="891" y="133"/>
                    <a:pt x="892" y="149"/>
                  </a:cubicBezTo>
                  <a:cubicBezTo>
                    <a:pt x="893" y="156"/>
                    <a:pt x="906" y="191"/>
                    <a:pt x="886" y="177"/>
                  </a:cubicBezTo>
                  <a:cubicBezTo>
                    <a:pt x="889" y="180"/>
                    <a:pt x="880" y="156"/>
                    <a:pt x="880" y="158"/>
                  </a:cubicBezTo>
                  <a:cubicBezTo>
                    <a:pt x="879" y="149"/>
                    <a:pt x="881" y="142"/>
                    <a:pt x="881" y="134"/>
                  </a:cubicBezTo>
                  <a:cubicBezTo>
                    <a:pt x="880" y="125"/>
                    <a:pt x="872" y="124"/>
                    <a:pt x="875" y="115"/>
                  </a:cubicBezTo>
                  <a:cubicBezTo>
                    <a:pt x="878" y="107"/>
                    <a:pt x="881" y="104"/>
                    <a:pt x="876" y="96"/>
                  </a:cubicBezTo>
                  <a:cubicBezTo>
                    <a:pt x="874" y="98"/>
                    <a:pt x="871" y="99"/>
                    <a:pt x="869" y="100"/>
                  </a:cubicBezTo>
                  <a:cubicBezTo>
                    <a:pt x="866" y="98"/>
                    <a:pt x="863" y="95"/>
                    <a:pt x="860" y="93"/>
                  </a:cubicBezTo>
                  <a:cubicBezTo>
                    <a:pt x="857" y="96"/>
                    <a:pt x="856" y="99"/>
                    <a:pt x="855" y="102"/>
                  </a:cubicBezTo>
                  <a:cubicBezTo>
                    <a:pt x="844" y="104"/>
                    <a:pt x="834" y="105"/>
                    <a:pt x="828" y="119"/>
                  </a:cubicBezTo>
                  <a:cubicBezTo>
                    <a:pt x="815" y="150"/>
                    <a:pt x="835" y="148"/>
                    <a:pt x="844" y="175"/>
                  </a:cubicBezTo>
                  <a:cubicBezTo>
                    <a:pt x="822" y="180"/>
                    <a:pt x="761" y="128"/>
                    <a:pt x="763" y="174"/>
                  </a:cubicBezTo>
                  <a:cubicBezTo>
                    <a:pt x="763" y="187"/>
                    <a:pt x="744" y="171"/>
                    <a:pt x="744" y="171"/>
                  </a:cubicBezTo>
                  <a:cubicBezTo>
                    <a:pt x="736" y="172"/>
                    <a:pt x="727" y="179"/>
                    <a:pt x="722" y="179"/>
                  </a:cubicBezTo>
                  <a:cubicBezTo>
                    <a:pt x="716" y="177"/>
                    <a:pt x="715" y="176"/>
                    <a:pt x="709" y="180"/>
                  </a:cubicBezTo>
                  <a:cubicBezTo>
                    <a:pt x="699" y="186"/>
                    <a:pt x="706" y="176"/>
                    <a:pt x="697" y="175"/>
                  </a:cubicBezTo>
                  <a:cubicBezTo>
                    <a:pt x="692" y="175"/>
                    <a:pt x="692" y="166"/>
                    <a:pt x="686" y="171"/>
                  </a:cubicBezTo>
                  <a:cubicBezTo>
                    <a:pt x="682" y="174"/>
                    <a:pt x="681" y="177"/>
                    <a:pt x="677" y="176"/>
                  </a:cubicBezTo>
                  <a:cubicBezTo>
                    <a:pt x="663" y="173"/>
                    <a:pt x="665" y="182"/>
                    <a:pt x="655" y="188"/>
                  </a:cubicBezTo>
                  <a:cubicBezTo>
                    <a:pt x="657" y="187"/>
                    <a:pt x="627" y="203"/>
                    <a:pt x="632" y="203"/>
                  </a:cubicBezTo>
                  <a:cubicBezTo>
                    <a:pt x="606" y="204"/>
                    <a:pt x="624" y="165"/>
                    <a:pt x="600" y="180"/>
                  </a:cubicBezTo>
                  <a:cubicBezTo>
                    <a:pt x="598" y="182"/>
                    <a:pt x="597" y="201"/>
                    <a:pt x="599" y="205"/>
                  </a:cubicBezTo>
                  <a:cubicBezTo>
                    <a:pt x="605" y="215"/>
                    <a:pt x="586" y="217"/>
                    <a:pt x="580" y="216"/>
                  </a:cubicBezTo>
                  <a:cubicBezTo>
                    <a:pt x="561" y="211"/>
                    <a:pt x="559" y="253"/>
                    <a:pt x="531" y="235"/>
                  </a:cubicBezTo>
                  <a:cubicBezTo>
                    <a:pt x="532" y="239"/>
                    <a:pt x="530" y="244"/>
                    <a:pt x="531" y="249"/>
                  </a:cubicBezTo>
                  <a:cubicBezTo>
                    <a:pt x="507" y="243"/>
                    <a:pt x="520" y="221"/>
                    <a:pt x="503" y="212"/>
                  </a:cubicBezTo>
                  <a:cubicBezTo>
                    <a:pt x="517" y="217"/>
                    <a:pt x="548" y="225"/>
                    <a:pt x="560" y="217"/>
                  </a:cubicBezTo>
                  <a:cubicBezTo>
                    <a:pt x="568" y="211"/>
                    <a:pt x="573" y="204"/>
                    <a:pt x="566" y="196"/>
                  </a:cubicBezTo>
                  <a:cubicBezTo>
                    <a:pt x="563" y="192"/>
                    <a:pt x="560" y="192"/>
                    <a:pt x="556" y="189"/>
                  </a:cubicBezTo>
                  <a:cubicBezTo>
                    <a:pt x="554" y="186"/>
                    <a:pt x="553" y="183"/>
                    <a:pt x="551" y="179"/>
                  </a:cubicBezTo>
                  <a:cubicBezTo>
                    <a:pt x="548" y="181"/>
                    <a:pt x="544" y="182"/>
                    <a:pt x="541" y="183"/>
                  </a:cubicBezTo>
                  <a:cubicBezTo>
                    <a:pt x="525" y="175"/>
                    <a:pt x="505" y="166"/>
                    <a:pt x="489" y="157"/>
                  </a:cubicBezTo>
                  <a:cubicBezTo>
                    <a:pt x="479" y="150"/>
                    <a:pt x="434" y="167"/>
                    <a:pt x="462" y="141"/>
                  </a:cubicBezTo>
                  <a:cubicBezTo>
                    <a:pt x="448" y="142"/>
                    <a:pt x="437" y="126"/>
                    <a:pt x="430" y="145"/>
                  </a:cubicBezTo>
                  <a:cubicBezTo>
                    <a:pt x="430" y="141"/>
                    <a:pt x="429" y="137"/>
                    <a:pt x="429" y="133"/>
                  </a:cubicBezTo>
                  <a:cubicBezTo>
                    <a:pt x="425" y="138"/>
                    <a:pt x="420" y="141"/>
                    <a:pt x="416" y="146"/>
                  </a:cubicBezTo>
                  <a:cubicBezTo>
                    <a:pt x="418" y="143"/>
                    <a:pt x="420" y="139"/>
                    <a:pt x="423" y="136"/>
                  </a:cubicBezTo>
                  <a:cubicBezTo>
                    <a:pt x="415" y="135"/>
                    <a:pt x="410" y="137"/>
                    <a:pt x="404" y="142"/>
                  </a:cubicBezTo>
                  <a:cubicBezTo>
                    <a:pt x="402" y="143"/>
                    <a:pt x="392" y="139"/>
                    <a:pt x="386" y="140"/>
                  </a:cubicBezTo>
                  <a:cubicBezTo>
                    <a:pt x="388" y="141"/>
                    <a:pt x="389" y="142"/>
                    <a:pt x="391" y="144"/>
                  </a:cubicBezTo>
                  <a:cubicBezTo>
                    <a:pt x="384" y="147"/>
                    <a:pt x="383" y="148"/>
                    <a:pt x="377" y="153"/>
                  </a:cubicBezTo>
                  <a:cubicBezTo>
                    <a:pt x="377" y="151"/>
                    <a:pt x="377" y="149"/>
                    <a:pt x="377" y="147"/>
                  </a:cubicBezTo>
                  <a:cubicBezTo>
                    <a:pt x="369" y="152"/>
                    <a:pt x="369" y="148"/>
                    <a:pt x="365" y="156"/>
                  </a:cubicBezTo>
                  <a:cubicBezTo>
                    <a:pt x="365" y="154"/>
                    <a:pt x="365" y="153"/>
                    <a:pt x="365" y="152"/>
                  </a:cubicBezTo>
                  <a:cubicBezTo>
                    <a:pt x="352" y="158"/>
                    <a:pt x="344" y="156"/>
                    <a:pt x="335" y="167"/>
                  </a:cubicBezTo>
                  <a:cubicBezTo>
                    <a:pt x="338" y="166"/>
                    <a:pt x="341" y="165"/>
                    <a:pt x="344" y="164"/>
                  </a:cubicBezTo>
                  <a:cubicBezTo>
                    <a:pt x="341" y="171"/>
                    <a:pt x="335" y="175"/>
                    <a:pt x="329" y="175"/>
                  </a:cubicBezTo>
                  <a:cubicBezTo>
                    <a:pt x="325" y="182"/>
                    <a:pt x="323" y="190"/>
                    <a:pt x="317" y="195"/>
                  </a:cubicBezTo>
                  <a:cubicBezTo>
                    <a:pt x="309" y="201"/>
                    <a:pt x="295" y="204"/>
                    <a:pt x="295" y="215"/>
                  </a:cubicBezTo>
                  <a:cubicBezTo>
                    <a:pt x="295" y="233"/>
                    <a:pt x="268" y="247"/>
                    <a:pt x="255" y="256"/>
                  </a:cubicBezTo>
                  <a:cubicBezTo>
                    <a:pt x="257" y="257"/>
                    <a:pt x="260" y="257"/>
                    <a:pt x="263" y="258"/>
                  </a:cubicBezTo>
                  <a:cubicBezTo>
                    <a:pt x="245" y="260"/>
                    <a:pt x="196" y="302"/>
                    <a:pt x="230" y="312"/>
                  </a:cubicBezTo>
                  <a:cubicBezTo>
                    <a:pt x="227" y="314"/>
                    <a:pt x="224" y="319"/>
                    <a:pt x="221" y="321"/>
                  </a:cubicBezTo>
                  <a:cubicBezTo>
                    <a:pt x="234" y="319"/>
                    <a:pt x="233" y="325"/>
                    <a:pt x="221" y="330"/>
                  </a:cubicBezTo>
                  <a:cubicBezTo>
                    <a:pt x="235" y="342"/>
                    <a:pt x="264" y="337"/>
                    <a:pt x="271" y="319"/>
                  </a:cubicBezTo>
                  <a:cubicBezTo>
                    <a:pt x="274" y="322"/>
                    <a:pt x="276" y="326"/>
                    <a:pt x="279" y="329"/>
                  </a:cubicBezTo>
                  <a:cubicBezTo>
                    <a:pt x="277" y="328"/>
                    <a:pt x="287" y="346"/>
                    <a:pt x="287" y="346"/>
                  </a:cubicBezTo>
                  <a:cubicBezTo>
                    <a:pt x="289" y="361"/>
                    <a:pt x="290" y="368"/>
                    <a:pt x="299" y="383"/>
                  </a:cubicBezTo>
                  <a:cubicBezTo>
                    <a:pt x="319" y="372"/>
                    <a:pt x="329" y="363"/>
                    <a:pt x="330" y="343"/>
                  </a:cubicBezTo>
                  <a:cubicBezTo>
                    <a:pt x="331" y="329"/>
                    <a:pt x="346" y="331"/>
                    <a:pt x="350" y="319"/>
                  </a:cubicBezTo>
                  <a:cubicBezTo>
                    <a:pt x="354" y="306"/>
                    <a:pt x="339" y="305"/>
                    <a:pt x="338" y="294"/>
                  </a:cubicBezTo>
                  <a:cubicBezTo>
                    <a:pt x="336" y="268"/>
                    <a:pt x="358" y="263"/>
                    <a:pt x="375" y="248"/>
                  </a:cubicBezTo>
                  <a:cubicBezTo>
                    <a:pt x="385" y="240"/>
                    <a:pt x="373" y="234"/>
                    <a:pt x="390" y="226"/>
                  </a:cubicBezTo>
                  <a:cubicBezTo>
                    <a:pt x="405" y="220"/>
                    <a:pt x="409" y="221"/>
                    <a:pt x="421" y="233"/>
                  </a:cubicBezTo>
                  <a:cubicBezTo>
                    <a:pt x="407" y="238"/>
                    <a:pt x="353" y="277"/>
                    <a:pt x="381" y="288"/>
                  </a:cubicBezTo>
                  <a:cubicBezTo>
                    <a:pt x="358" y="300"/>
                    <a:pt x="398" y="313"/>
                    <a:pt x="407" y="312"/>
                  </a:cubicBezTo>
                  <a:cubicBezTo>
                    <a:pt x="430" y="310"/>
                    <a:pt x="438" y="293"/>
                    <a:pt x="456" y="312"/>
                  </a:cubicBezTo>
                  <a:cubicBezTo>
                    <a:pt x="438" y="329"/>
                    <a:pt x="410" y="306"/>
                    <a:pt x="397" y="330"/>
                  </a:cubicBezTo>
                  <a:cubicBezTo>
                    <a:pt x="415" y="337"/>
                    <a:pt x="400" y="359"/>
                    <a:pt x="390" y="344"/>
                  </a:cubicBezTo>
                  <a:cubicBezTo>
                    <a:pt x="390" y="342"/>
                    <a:pt x="391" y="341"/>
                    <a:pt x="392" y="340"/>
                  </a:cubicBezTo>
                  <a:cubicBezTo>
                    <a:pt x="392" y="336"/>
                    <a:pt x="397" y="335"/>
                    <a:pt x="391" y="332"/>
                  </a:cubicBezTo>
                  <a:cubicBezTo>
                    <a:pt x="388" y="337"/>
                    <a:pt x="390" y="335"/>
                    <a:pt x="390" y="340"/>
                  </a:cubicBezTo>
                  <a:cubicBezTo>
                    <a:pt x="387" y="341"/>
                    <a:pt x="385" y="342"/>
                    <a:pt x="382" y="342"/>
                  </a:cubicBezTo>
                  <a:cubicBezTo>
                    <a:pt x="383" y="343"/>
                    <a:pt x="384" y="344"/>
                    <a:pt x="384" y="345"/>
                  </a:cubicBezTo>
                  <a:cubicBezTo>
                    <a:pt x="375" y="357"/>
                    <a:pt x="363" y="389"/>
                    <a:pt x="365" y="393"/>
                  </a:cubicBezTo>
                  <a:cubicBezTo>
                    <a:pt x="361" y="393"/>
                    <a:pt x="354" y="394"/>
                    <a:pt x="350" y="393"/>
                  </a:cubicBezTo>
                  <a:cubicBezTo>
                    <a:pt x="351" y="390"/>
                    <a:pt x="353" y="388"/>
                    <a:pt x="354" y="386"/>
                  </a:cubicBezTo>
                  <a:cubicBezTo>
                    <a:pt x="340" y="380"/>
                    <a:pt x="336" y="392"/>
                    <a:pt x="324" y="396"/>
                  </a:cubicBezTo>
                  <a:cubicBezTo>
                    <a:pt x="315" y="399"/>
                    <a:pt x="301" y="400"/>
                    <a:pt x="302" y="391"/>
                  </a:cubicBezTo>
                  <a:cubicBezTo>
                    <a:pt x="297" y="390"/>
                    <a:pt x="292" y="391"/>
                    <a:pt x="287" y="394"/>
                  </a:cubicBezTo>
                  <a:cubicBezTo>
                    <a:pt x="291" y="390"/>
                    <a:pt x="294" y="385"/>
                    <a:pt x="293" y="380"/>
                  </a:cubicBezTo>
                  <a:cubicBezTo>
                    <a:pt x="288" y="368"/>
                    <a:pt x="271" y="383"/>
                    <a:pt x="285" y="390"/>
                  </a:cubicBezTo>
                  <a:cubicBezTo>
                    <a:pt x="284" y="392"/>
                    <a:pt x="282" y="393"/>
                    <a:pt x="281" y="395"/>
                  </a:cubicBezTo>
                  <a:cubicBezTo>
                    <a:pt x="281" y="396"/>
                    <a:pt x="282" y="397"/>
                    <a:pt x="283" y="396"/>
                  </a:cubicBezTo>
                  <a:cubicBezTo>
                    <a:pt x="281" y="398"/>
                    <a:pt x="280" y="399"/>
                    <a:pt x="278" y="400"/>
                  </a:cubicBezTo>
                  <a:cubicBezTo>
                    <a:pt x="268" y="393"/>
                    <a:pt x="255" y="375"/>
                    <a:pt x="276" y="366"/>
                  </a:cubicBezTo>
                  <a:cubicBezTo>
                    <a:pt x="269" y="361"/>
                    <a:pt x="270" y="352"/>
                    <a:pt x="274" y="344"/>
                  </a:cubicBezTo>
                  <a:cubicBezTo>
                    <a:pt x="267" y="352"/>
                    <a:pt x="244" y="357"/>
                    <a:pt x="249" y="371"/>
                  </a:cubicBezTo>
                  <a:cubicBezTo>
                    <a:pt x="251" y="379"/>
                    <a:pt x="252" y="386"/>
                    <a:pt x="254" y="393"/>
                  </a:cubicBezTo>
                  <a:cubicBezTo>
                    <a:pt x="258" y="407"/>
                    <a:pt x="248" y="401"/>
                    <a:pt x="242" y="403"/>
                  </a:cubicBezTo>
                  <a:cubicBezTo>
                    <a:pt x="229" y="409"/>
                    <a:pt x="226" y="408"/>
                    <a:pt x="218" y="417"/>
                  </a:cubicBezTo>
                  <a:cubicBezTo>
                    <a:pt x="207" y="430"/>
                    <a:pt x="209" y="439"/>
                    <a:pt x="187" y="437"/>
                  </a:cubicBezTo>
                  <a:cubicBezTo>
                    <a:pt x="193" y="460"/>
                    <a:pt x="172" y="447"/>
                    <a:pt x="168" y="463"/>
                  </a:cubicBezTo>
                  <a:cubicBezTo>
                    <a:pt x="164" y="459"/>
                    <a:pt x="157" y="458"/>
                    <a:pt x="153" y="454"/>
                  </a:cubicBezTo>
                  <a:cubicBezTo>
                    <a:pt x="155" y="457"/>
                    <a:pt x="155" y="460"/>
                    <a:pt x="159" y="464"/>
                  </a:cubicBezTo>
                  <a:cubicBezTo>
                    <a:pt x="149" y="478"/>
                    <a:pt x="138" y="464"/>
                    <a:pt x="125" y="473"/>
                  </a:cubicBezTo>
                  <a:cubicBezTo>
                    <a:pt x="132" y="479"/>
                    <a:pt x="140" y="485"/>
                    <a:pt x="150" y="485"/>
                  </a:cubicBezTo>
                  <a:cubicBezTo>
                    <a:pt x="155" y="485"/>
                    <a:pt x="162" y="503"/>
                    <a:pt x="164" y="508"/>
                  </a:cubicBezTo>
                  <a:cubicBezTo>
                    <a:pt x="163" y="509"/>
                    <a:pt x="161" y="509"/>
                    <a:pt x="159" y="509"/>
                  </a:cubicBezTo>
                  <a:cubicBezTo>
                    <a:pt x="178" y="525"/>
                    <a:pt x="148" y="534"/>
                    <a:pt x="135" y="531"/>
                  </a:cubicBezTo>
                  <a:cubicBezTo>
                    <a:pt x="129" y="529"/>
                    <a:pt x="123" y="530"/>
                    <a:pt x="117" y="530"/>
                  </a:cubicBezTo>
                  <a:cubicBezTo>
                    <a:pt x="113" y="530"/>
                    <a:pt x="109" y="534"/>
                    <a:pt x="105" y="534"/>
                  </a:cubicBezTo>
                  <a:cubicBezTo>
                    <a:pt x="101" y="534"/>
                    <a:pt x="98" y="527"/>
                    <a:pt x="96" y="527"/>
                  </a:cubicBezTo>
                  <a:cubicBezTo>
                    <a:pt x="89" y="529"/>
                    <a:pt x="77" y="534"/>
                    <a:pt x="81" y="542"/>
                  </a:cubicBezTo>
                  <a:cubicBezTo>
                    <a:pt x="88" y="554"/>
                    <a:pt x="83" y="558"/>
                    <a:pt x="82" y="570"/>
                  </a:cubicBezTo>
                  <a:cubicBezTo>
                    <a:pt x="81" y="584"/>
                    <a:pt x="87" y="597"/>
                    <a:pt x="87" y="611"/>
                  </a:cubicBezTo>
                  <a:cubicBezTo>
                    <a:pt x="103" y="591"/>
                    <a:pt x="110" y="622"/>
                    <a:pt x="121" y="616"/>
                  </a:cubicBezTo>
                  <a:cubicBezTo>
                    <a:pt x="134" y="609"/>
                    <a:pt x="147" y="613"/>
                    <a:pt x="159" y="603"/>
                  </a:cubicBezTo>
                  <a:cubicBezTo>
                    <a:pt x="173" y="590"/>
                    <a:pt x="167" y="573"/>
                    <a:pt x="181" y="562"/>
                  </a:cubicBezTo>
                  <a:cubicBezTo>
                    <a:pt x="187" y="558"/>
                    <a:pt x="198" y="556"/>
                    <a:pt x="202" y="549"/>
                  </a:cubicBezTo>
                  <a:cubicBezTo>
                    <a:pt x="202" y="548"/>
                    <a:pt x="190" y="530"/>
                    <a:pt x="206" y="532"/>
                  </a:cubicBezTo>
                  <a:cubicBezTo>
                    <a:pt x="216" y="534"/>
                    <a:pt x="220" y="537"/>
                    <a:pt x="230" y="534"/>
                  </a:cubicBezTo>
                  <a:cubicBezTo>
                    <a:pt x="238" y="533"/>
                    <a:pt x="242" y="526"/>
                    <a:pt x="247" y="524"/>
                  </a:cubicBezTo>
                  <a:cubicBezTo>
                    <a:pt x="253" y="523"/>
                    <a:pt x="265" y="523"/>
                    <a:pt x="270" y="526"/>
                  </a:cubicBezTo>
                  <a:cubicBezTo>
                    <a:pt x="279" y="529"/>
                    <a:pt x="268" y="540"/>
                    <a:pt x="279" y="546"/>
                  </a:cubicBezTo>
                  <a:cubicBezTo>
                    <a:pt x="292" y="553"/>
                    <a:pt x="308" y="557"/>
                    <a:pt x="315" y="568"/>
                  </a:cubicBezTo>
                  <a:cubicBezTo>
                    <a:pt x="318" y="574"/>
                    <a:pt x="324" y="575"/>
                    <a:pt x="327" y="582"/>
                  </a:cubicBezTo>
                  <a:cubicBezTo>
                    <a:pt x="331" y="588"/>
                    <a:pt x="320" y="589"/>
                    <a:pt x="324" y="598"/>
                  </a:cubicBezTo>
                  <a:cubicBezTo>
                    <a:pt x="337" y="588"/>
                    <a:pt x="327" y="575"/>
                    <a:pt x="338" y="564"/>
                  </a:cubicBezTo>
                  <a:cubicBezTo>
                    <a:pt x="341" y="568"/>
                    <a:pt x="346" y="569"/>
                    <a:pt x="348" y="573"/>
                  </a:cubicBezTo>
                  <a:cubicBezTo>
                    <a:pt x="347" y="560"/>
                    <a:pt x="337" y="558"/>
                    <a:pt x="327" y="554"/>
                  </a:cubicBezTo>
                  <a:cubicBezTo>
                    <a:pt x="322" y="552"/>
                    <a:pt x="334" y="548"/>
                    <a:pt x="323" y="547"/>
                  </a:cubicBezTo>
                  <a:cubicBezTo>
                    <a:pt x="323" y="547"/>
                    <a:pt x="312" y="549"/>
                    <a:pt x="312" y="550"/>
                  </a:cubicBezTo>
                  <a:cubicBezTo>
                    <a:pt x="301" y="541"/>
                    <a:pt x="297" y="521"/>
                    <a:pt x="287" y="510"/>
                  </a:cubicBezTo>
                  <a:cubicBezTo>
                    <a:pt x="294" y="504"/>
                    <a:pt x="317" y="507"/>
                    <a:pt x="318" y="514"/>
                  </a:cubicBezTo>
                  <a:cubicBezTo>
                    <a:pt x="319" y="537"/>
                    <a:pt x="330" y="531"/>
                    <a:pt x="345" y="536"/>
                  </a:cubicBezTo>
                  <a:cubicBezTo>
                    <a:pt x="358" y="540"/>
                    <a:pt x="358" y="559"/>
                    <a:pt x="360" y="569"/>
                  </a:cubicBezTo>
                  <a:cubicBezTo>
                    <a:pt x="362" y="579"/>
                    <a:pt x="371" y="574"/>
                    <a:pt x="374" y="587"/>
                  </a:cubicBezTo>
                  <a:cubicBezTo>
                    <a:pt x="374" y="589"/>
                    <a:pt x="380" y="593"/>
                    <a:pt x="384" y="594"/>
                  </a:cubicBezTo>
                  <a:cubicBezTo>
                    <a:pt x="373" y="605"/>
                    <a:pt x="385" y="611"/>
                    <a:pt x="397" y="608"/>
                  </a:cubicBezTo>
                  <a:cubicBezTo>
                    <a:pt x="394" y="602"/>
                    <a:pt x="394" y="597"/>
                    <a:pt x="391" y="591"/>
                  </a:cubicBezTo>
                  <a:cubicBezTo>
                    <a:pt x="395" y="595"/>
                    <a:pt x="400" y="596"/>
                    <a:pt x="404" y="600"/>
                  </a:cubicBezTo>
                  <a:cubicBezTo>
                    <a:pt x="405" y="598"/>
                    <a:pt x="407" y="594"/>
                    <a:pt x="408" y="593"/>
                  </a:cubicBezTo>
                  <a:cubicBezTo>
                    <a:pt x="402" y="591"/>
                    <a:pt x="397" y="586"/>
                    <a:pt x="391" y="584"/>
                  </a:cubicBezTo>
                  <a:cubicBezTo>
                    <a:pt x="393" y="582"/>
                    <a:pt x="395" y="581"/>
                    <a:pt x="398" y="579"/>
                  </a:cubicBezTo>
                  <a:cubicBezTo>
                    <a:pt x="394" y="577"/>
                    <a:pt x="391" y="575"/>
                    <a:pt x="388" y="573"/>
                  </a:cubicBezTo>
                  <a:cubicBezTo>
                    <a:pt x="393" y="574"/>
                    <a:pt x="398" y="573"/>
                    <a:pt x="403" y="575"/>
                  </a:cubicBezTo>
                  <a:cubicBezTo>
                    <a:pt x="397" y="563"/>
                    <a:pt x="408" y="557"/>
                    <a:pt x="419" y="561"/>
                  </a:cubicBezTo>
                  <a:cubicBezTo>
                    <a:pt x="429" y="564"/>
                    <a:pt x="433" y="558"/>
                    <a:pt x="442" y="561"/>
                  </a:cubicBezTo>
                  <a:cubicBezTo>
                    <a:pt x="454" y="563"/>
                    <a:pt x="446" y="554"/>
                    <a:pt x="443" y="548"/>
                  </a:cubicBezTo>
                  <a:cubicBezTo>
                    <a:pt x="439" y="542"/>
                    <a:pt x="444" y="543"/>
                    <a:pt x="444" y="536"/>
                  </a:cubicBezTo>
                  <a:cubicBezTo>
                    <a:pt x="447" y="534"/>
                    <a:pt x="449" y="532"/>
                    <a:pt x="452" y="530"/>
                  </a:cubicBezTo>
                  <a:cubicBezTo>
                    <a:pt x="450" y="527"/>
                    <a:pt x="449" y="523"/>
                    <a:pt x="448" y="520"/>
                  </a:cubicBezTo>
                  <a:cubicBezTo>
                    <a:pt x="474" y="469"/>
                    <a:pt x="496" y="538"/>
                    <a:pt x="522" y="508"/>
                  </a:cubicBezTo>
                  <a:cubicBezTo>
                    <a:pt x="516" y="506"/>
                    <a:pt x="512" y="503"/>
                    <a:pt x="506" y="502"/>
                  </a:cubicBezTo>
                  <a:cubicBezTo>
                    <a:pt x="515" y="500"/>
                    <a:pt x="518" y="494"/>
                    <a:pt x="526" y="491"/>
                  </a:cubicBezTo>
                  <a:cubicBezTo>
                    <a:pt x="533" y="488"/>
                    <a:pt x="536" y="494"/>
                    <a:pt x="541" y="490"/>
                  </a:cubicBezTo>
                  <a:cubicBezTo>
                    <a:pt x="536" y="497"/>
                    <a:pt x="541" y="504"/>
                    <a:pt x="525" y="508"/>
                  </a:cubicBezTo>
                  <a:cubicBezTo>
                    <a:pt x="542" y="520"/>
                    <a:pt x="559" y="537"/>
                    <a:pt x="578" y="544"/>
                  </a:cubicBezTo>
                  <a:cubicBezTo>
                    <a:pt x="577" y="548"/>
                    <a:pt x="576" y="551"/>
                    <a:pt x="574" y="554"/>
                  </a:cubicBezTo>
                  <a:cubicBezTo>
                    <a:pt x="579" y="555"/>
                    <a:pt x="576" y="551"/>
                    <a:pt x="579" y="556"/>
                  </a:cubicBezTo>
                  <a:cubicBezTo>
                    <a:pt x="565" y="558"/>
                    <a:pt x="551" y="560"/>
                    <a:pt x="536" y="558"/>
                  </a:cubicBezTo>
                  <a:cubicBezTo>
                    <a:pt x="523" y="556"/>
                    <a:pt x="507" y="540"/>
                    <a:pt x="492" y="552"/>
                  </a:cubicBezTo>
                  <a:cubicBezTo>
                    <a:pt x="482" y="559"/>
                    <a:pt x="467" y="556"/>
                    <a:pt x="456" y="560"/>
                  </a:cubicBezTo>
                  <a:cubicBezTo>
                    <a:pt x="448" y="563"/>
                    <a:pt x="425" y="570"/>
                    <a:pt x="422" y="576"/>
                  </a:cubicBezTo>
                  <a:cubicBezTo>
                    <a:pt x="426" y="575"/>
                    <a:pt x="430" y="577"/>
                    <a:pt x="434" y="576"/>
                  </a:cubicBezTo>
                  <a:cubicBezTo>
                    <a:pt x="425" y="590"/>
                    <a:pt x="437" y="603"/>
                    <a:pt x="442" y="607"/>
                  </a:cubicBezTo>
                  <a:cubicBezTo>
                    <a:pt x="448" y="620"/>
                    <a:pt x="466" y="610"/>
                    <a:pt x="479" y="613"/>
                  </a:cubicBezTo>
                  <a:cubicBezTo>
                    <a:pt x="501" y="617"/>
                    <a:pt x="504" y="612"/>
                    <a:pt x="523" y="608"/>
                  </a:cubicBezTo>
                  <a:cubicBezTo>
                    <a:pt x="520" y="616"/>
                    <a:pt x="516" y="624"/>
                    <a:pt x="524" y="630"/>
                  </a:cubicBezTo>
                  <a:cubicBezTo>
                    <a:pt x="506" y="638"/>
                    <a:pt x="517" y="661"/>
                    <a:pt x="507" y="670"/>
                  </a:cubicBezTo>
                  <a:cubicBezTo>
                    <a:pt x="502" y="675"/>
                    <a:pt x="492" y="672"/>
                    <a:pt x="486" y="673"/>
                  </a:cubicBezTo>
                  <a:cubicBezTo>
                    <a:pt x="481" y="673"/>
                    <a:pt x="477" y="672"/>
                    <a:pt x="473" y="671"/>
                  </a:cubicBezTo>
                  <a:cubicBezTo>
                    <a:pt x="464" y="669"/>
                    <a:pt x="467" y="677"/>
                    <a:pt x="461" y="677"/>
                  </a:cubicBezTo>
                  <a:cubicBezTo>
                    <a:pt x="453" y="677"/>
                    <a:pt x="448" y="671"/>
                    <a:pt x="437" y="673"/>
                  </a:cubicBezTo>
                  <a:cubicBezTo>
                    <a:pt x="435" y="674"/>
                    <a:pt x="416" y="667"/>
                    <a:pt x="413" y="666"/>
                  </a:cubicBezTo>
                  <a:cubicBezTo>
                    <a:pt x="402" y="660"/>
                    <a:pt x="390" y="650"/>
                    <a:pt x="383" y="649"/>
                  </a:cubicBezTo>
                  <a:cubicBezTo>
                    <a:pt x="377" y="661"/>
                    <a:pt x="353" y="660"/>
                    <a:pt x="368" y="675"/>
                  </a:cubicBezTo>
                  <a:cubicBezTo>
                    <a:pt x="360" y="678"/>
                    <a:pt x="351" y="682"/>
                    <a:pt x="344" y="676"/>
                  </a:cubicBezTo>
                  <a:cubicBezTo>
                    <a:pt x="339" y="671"/>
                    <a:pt x="338" y="672"/>
                    <a:pt x="332" y="672"/>
                  </a:cubicBezTo>
                  <a:cubicBezTo>
                    <a:pt x="325" y="672"/>
                    <a:pt x="331" y="662"/>
                    <a:pt x="326" y="661"/>
                  </a:cubicBezTo>
                  <a:cubicBezTo>
                    <a:pt x="319" y="657"/>
                    <a:pt x="303" y="649"/>
                    <a:pt x="296" y="649"/>
                  </a:cubicBezTo>
                  <a:cubicBezTo>
                    <a:pt x="283" y="651"/>
                    <a:pt x="282" y="644"/>
                    <a:pt x="272" y="636"/>
                  </a:cubicBezTo>
                  <a:cubicBezTo>
                    <a:pt x="285" y="630"/>
                    <a:pt x="274" y="617"/>
                    <a:pt x="284" y="605"/>
                  </a:cubicBezTo>
                  <a:cubicBezTo>
                    <a:pt x="272" y="609"/>
                    <a:pt x="256" y="604"/>
                    <a:pt x="242" y="605"/>
                  </a:cubicBezTo>
                  <a:cubicBezTo>
                    <a:pt x="227" y="606"/>
                    <a:pt x="211" y="609"/>
                    <a:pt x="196" y="610"/>
                  </a:cubicBezTo>
                  <a:cubicBezTo>
                    <a:pt x="189" y="611"/>
                    <a:pt x="177" y="612"/>
                    <a:pt x="172" y="616"/>
                  </a:cubicBezTo>
                  <a:cubicBezTo>
                    <a:pt x="168" y="621"/>
                    <a:pt x="156" y="631"/>
                    <a:pt x="152" y="628"/>
                  </a:cubicBezTo>
                  <a:cubicBezTo>
                    <a:pt x="136" y="621"/>
                    <a:pt x="120" y="621"/>
                    <a:pt x="109" y="628"/>
                  </a:cubicBezTo>
                  <a:cubicBezTo>
                    <a:pt x="104" y="632"/>
                    <a:pt x="100" y="640"/>
                    <a:pt x="95" y="645"/>
                  </a:cubicBezTo>
                  <a:cubicBezTo>
                    <a:pt x="89" y="650"/>
                    <a:pt x="94" y="653"/>
                    <a:pt x="91" y="658"/>
                  </a:cubicBezTo>
                  <a:cubicBezTo>
                    <a:pt x="88" y="662"/>
                    <a:pt x="83" y="662"/>
                    <a:pt x="79" y="667"/>
                  </a:cubicBezTo>
                  <a:cubicBezTo>
                    <a:pt x="74" y="675"/>
                    <a:pt x="84" y="677"/>
                    <a:pt x="79" y="685"/>
                  </a:cubicBezTo>
                  <a:cubicBezTo>
                    <a:pt x="74" y="694"/>
                    <a:pt x="72" y="698"/>
                    <a:pt x="63" y="702"/>
                  </a:cubicBezTo>
                  <a:cubicBezTo>
                    <a:pt x="47" y="707"/>
                    <a:pt x="38" y="722"/>
                    <a:pt x="29" y="736"/>
                  </a:cubicBezTo>
                  <a:cubicBezTo>
                    <a:pt x="26" y="740"/>
                    <a:pt x="21" y="743"/>
                    <a:pt x="18" y="747"/>
                  </a:cubicBezTo>
                  <a:cubicBezTo>
                    <a:pt x="17" y="749"/>
                    <a:pt x="23" y="756"/>
                    <a:pt x="21" y="758"/>
                  </a:cubicBezTo>
                  <a:cubicBezTo>
                    <a:pt x="17" y="769"/>
                    <a:pt x="6" y="761"/>
                    <a:pt x="12" y="779"/>
                  </a:cubicBezTo>
                  <a:cubicBezTo>
                    <a:pt x="18" y="800"/>
                    <a:pt x="13" y="811"/>
                    <a:pt x="9" y="829"/>
                  </a:cubicBezTo>
                  <a:cubicBezTo>
                    <a:pt x="7" y="838"/>
                    <a:pt x="0" y="862"/>
                    <a:pt x="9" y="869"/>
                  </a:cubicBezTo>
                  <a:cubicBezTo>
                    <a:pt x="14" y="872"/>
                    <a:pt x="24" y="877"/>
                    <a:pt x="28" y="882"/>
                  </a:cubicBezTo>
                  <a:cubicBezTo>
                    <a:pt x="36" y="891"/>
                    <a:pt x="32" y="898"/>
                    <a:pt x="44" y="904"/>
                  </a:cubicBezTo>
                  <a:cubicBezTo>
                    <a:pt x="55" y="910"/>
                    <a:pt x="49" y="918"/>
                    <a:pt x="54" y="925"/>
                  </a:cubicBezTo>
                  <a:cubicBezTo>
                    <a:pt x="58" y="930"/>
                    <a:pt x="74" y="935"/>
                    <a:pt x="79" y="939"/>
                  </a:cubicBezTo>
                  <a:cubicBezTo>
                    <a:pt x="87" y="944"/>
                    <a:pt x="87" y="947"/>
                    <a:pt x="97" y="949"/>
                  </a:cubicBezTo>
                  <a:cubicBezTo>
                    <a:pt x="103" y="950"/>
                    <a:pt x="116" y="942"/>
                    <a:pt x="122" y="942"/>
                  </a:cubicBezTo>
                  <a:cubicBezTo>
                    <a:pt x="129" y="941"/>
                    <a:pt x="138" y="942"/>
                    <a:pt x="145" y="945"/>
                  </a:cubicBezTo>
                  <a:cubicBezTo>
                    <a:pt x="159" y="949"/>
                    <a:pt x="160" y="939"/>
                    <a:pt x="170" y="935"/>
                  </a:cubicBezTo>
                  <a:cubicBezTo>
                    <a:pt x="181" y="931"/>
                    <a:pt x="207" y="926"/>
                    <a:pt x="215" y="936"/>
                  </a:cubicBezTo>
                  <a:cubicBezTo>
                    <a:pt x="223" y="946"/>
                    <a:pt x="246" y="955"/>
                    <a:pt x="258" y="947"/>
                  </a:cubicBezTo>
                  <a:cubicBezTo>
                    <a:pt x="258" y="958"/>
                    <a:pt x="270" y="958"/>
                    <a:pt x="271" y="963"/>
                  </a:cubicBezTo>
                  <a:cubicBezTo>
                    <a:pt x="272" y="967"/>
                    <a:pt x="266" y="982"/>
                    <a:pt x="265" y="985"/>
                  </a:cubicBezTo>
                  <a:cubicBezTo>
                    <a:pt x="262" y="996"/>
                    <a:pt x="258" y="993"/>
                    <a:pt x="262" y="1008"/>
                  </a:cubicBezTo>
                  <a:cubicBezTo>
                    <a:pt x="265" y="1017"/>
                    <a:pt x="275" y="1031"/>
                    <a:pt x="283" y="1035"/>
                  </a:cubicBezTo>
                  <a:cubicBezTo>
                    <a:pt x="284" y="1035"/>
                    <a:pt x="299" y="1080"/>
                    <a:pt x="298" y="1083"/>
                  </a:cubicBezTo>
                  <a:cubicBezTo>
                    <a:pt x="297" y="1093"/>
                    <a:pt x="308" y="1096"/>
                    <a:pt x="308" y="1108"/>
                  </a:cubicBezTo>
                  <a:cubicBezTo>
                    <a:pt x="308" y="1116"/>
                    <a:pt x="294" y="1128"/>
                    <a:pt x="289" y="1135"/>
                  </a:cubicBezTo>
                  <a:cubicBezTo>
                    <a:pt x="282" y="1146"/>
                    <a:pt x="283" y="1179"/>
                    <a:pt x="291" y="1189"/>
                  </a:cubicBezTo>
                  <a:cubicBezTo>
                    <a:pt x="306" y="1207"/>
                    <a:pt x="306" y="1219"/>
                    <a:pt x="309" y="1242"/>
                  </a:cubicBezTo>
                  <a:cubicBezTo>
                    <a:pt x="312" y="1260"/>
                    <a:pt x="324" y="1279"/>
                    <a:pt x="332" y="1295"/>
                  </a:cubicBezTo>
                  <a:cubicBezTo>
                    <a:pt x="335" y="1300"/>
                    <a:pt x="340" y="1296"/>
                    <a:pt x="341" y="1302"/>
                  </a:cubicBezTo>
                  <a:cubicBezTo>
                    <a:pt x="342" y="1309"/>
                    <a:pt x="341" y="1311"/>
                    <a:pt x="345" y="1316"/>
                  </a:cubicBezTo>
                  <a:cubicBezTo>
                    <a:pt x="350" y="1321"/>
                    <a:pt x="350" y="1337"/>
                    <a:pt x="353" y="1345"/>
                  </a:cubicBezTo>
                  <a:cubicBezTo>
                    <a:pt x="356" y="1346"/>
                    <a:pt x="365" y="1353"/>
                    <a:pt x="370" y="1350"/>
                  </a:cubicBezTo>
                  <a:cubicBezTo>
                    <a:pt x="376" y="1346"/>
                    <a:pt x="391" y="1338"/>
                    <a:pt x="397" y="1338"/>
                  </a:cubicBezTo>
                  <a:cubicBezTo>
                    <a:pt x="409" y="1338"/>
                    <a:pt x="407" y="1349"/>
                    <a:pt x="419" y="1342"/>
                  </a:cubicBezTo>
                  <a:cubicBezTo>
                    <a:pt x="427" y="1338"/>
                    <a:pt x="435" y="1340"/>
                    <a:pt x="442" y="1333"/>
                  </a:cubicBezTo>
                  <a:cubicBezTo>
                    <a:pt x="452" y="1321"/>
                    <a:pt x="474" y="1307"/>
                    <a:pt x="476" y="1289"/>
                  </a:cubicBezTo>
                  <a:cubicBezTo>
                    <a:pt x="477" y="1278"/>
                    <a:pt x="492" y="1284"/>
                    <a:pt x="489" y="1268"/>
                  </a:cubicBezTo>
                  <a:cubicBezTo>
                    <a:pt x="487" y="1255"/>
                    <a:pt x="487" y="1259"/>
                    <a:pt x="494" y="1247"/>
                  </a:cubicBezTo>
                  <a:cubicBezTo>
                    <a:pt x="499" y="1238"/>
                    <a:pt x="512" y="1244"/>
                    <a:pt x="515" y="1239"/>
                  </a:cubicBezTo>
                  <a:cubicBezTo>
                    <a:pt x="521" y="1232"/>
                    <a:pt x="517" y="1217"/>
                    <a:pt x="515" y="1209"/>
                  </a:cubicBezTo>
                  <a:cubicBezTo>
                    <a:pt x="513" y="1198"/>
                    <a:pt x="504" y="1198"/>
                    <a:pt x="509" y="1185"/>
                  </a:cubicBezTo>
                  <a:cubicBezTo>
                    <a:pt x="511" y="1180"/>
                    <a:pt x="522" y="1174"/>
                    <a:pt x="528" y="1174"/>
                  </a:cubicBezTo>
                  <a:cubicBezTo>
                    <a:pt x="538" y="1173"/>
                    <a:pt x="565" y="1155"/>
                    <a:pt x="564" y="1142"/>
                  </a:cubicBezTo>
                  <a:cubicBezTo>
                    <a:pt x="563" y="1127"/>
                    <a:pt x="561" y="1106"/>
                    <a:pt x="570" y="1096"/>
                  </a:cubicBezTo>
                  <a:cubicBezTo>
                    <a:pt x="561" y="1089"/>
                    <a:pt x="556" y="1082"/>
                    <a:pt x="553" y="1071"/>
                  </a:cubicBezTo>
                  <a:cubicBezTo>
                    <a:pt x="553" y="1070"/>
                    <a:pt x="551" y="1041"/>
                    <a:pt x="551" y="1041"/>
                  </a:cubicBezTo>
                  <a:cubicBezTo>
                    <a:pt x="555" y="1031"/>
                    <a:pt x="568" y="1036"/>
                    <a:pt x="567" y="1021"/>
                  </a:cubicBezTo>
                  <a:cubicBezTo>
                    <a:pt x="566" y="1009"/>
                    <a:pt x="574" y="1002"/>
                    <a:pt x="583" y="995"/>
                  </a:cubicBezTo>
                  <a:cubicBezTo>
                    <a:pt x="591" y="989"/>
                    <a:pt x="599" y="988"/>
                    <a:pt x="607" y="983"/>
                  </a:cubicBezTo>
                  <a:cubicBezTo>
                    <a:pt x="616" y="977"/>
                    <a:pt x="620" y="965"/>
                    <a:pt x="630" y="961"/>
                  </a:cubicBezTo>
                  <a:cubicBezTo>
                    <a:pt x="638" y="958"/>
                    <a:pt x="640" y="940"/>
                    <a:pt x="645" y="933"/>
                  </a:cubicBezTo>
                  <a:cubicBezTo>
                    <a:pt x="650" y="925"/>
                    <a:pt x="655" y="911"/>
                    <a:pt x="663" y="906"/>
                  </a:cubicBezTo>
                  <a:cubicBezTo>
                    <a:pt x="671" y="902"/>
                    <a:pt x="674" y="852"/>
                    <a:pt x="652" y="879"/>
                  </a:cubicBezTo>
                  <a:cubicBezTo>
                    <a:pt x="649" y="883"/>
                    <a:pt x="603" y="887"/>
                    <a:pt x="597" y="883"/>
                  </a:cubicBezTo>
                  <a:cubicBezTo>
                    <a:pt x="589" y="876"/>
                    <a:pt x="592" y="865"/>
                    <a:pt x="586" y="862"/>
                  </a:cubicBezTo>
                  <a:cubicBezTo>
                    <a:pt x="578" y="860"/>
                    <a:pt x="584" y="856"/>
                    <a:pt x="579" y="851"/>
                  </a:cubicBezTo>
                  <a:cubicBezTo>
                    <a:pt x="574" y="846"/>
                    <a:pt x="568" y="843"/>
                    <a:pt x="564" y="839"/>
                  </a:cubicBezTo>
                  <a:cubicBezTo>
                    <a:pt x="553" y="826"/>
                    <a:pt x="547" y="800"/>
                    <a:pt x="530" y="795"/>
                  </a:cubicBezTo>
                  <a:cubicBezTo>
                    <a:pt x="538" y="786"/>
                    <a:pt x="520" y="753"/>
                    <a:pt x="514" y="741"/>
                  </a:cubicBezTo>
                  <a:cubicBezTo>
                    <a:pt x="506" y="721"/>
                    <a:pt x="490" y="705"/>
                    <a:pt x="483" y="685"/>
                  </a:cubicBezTo>
                  <a:cubicBezTo>
                    <a:pt x="493" y="688"/>
                    <a:pt x="494" y="705"/>
                    <a:pt x="495" y="705"/>
                  </a:cubicBezTo>
                  <a:cubicBezTo>
                    <a:pt x="503" y="708"/>
                    <a:pt x="509" y="698"/>
                    <a:pt x="514" y="691"/>
                  </a:cubicBezTo>
                  <a:cubicBezTo>
                    <a:pt x="508" y="712"/>
                    <a:pt x="541" y="741"/>
                    <a:pt x="548" y="760"/>
                  </a:cubicBezTo>
                  <a:cubicBezTo>
                    <a:pt x="551" y="767"/>
                    <a:pt x="548" y="788"/>
                    <a:pt x="558" y="789"/>
                  </a:cubicBezTo>
                  <a:cubicBezTo>
                    <a:pt x="567" y="789"/>
                    <a:pt x="567" y="789"/>
                    <a:pt x="567" y="798"/>
                  </a:cubicBezTo>
                  <a:cubicBezTo>
                    <a:pt x="568" y="809"/>
                    <a:pt x="577" y="807"/>
                    <a:pt x="581" y="813"/>
                  </a:cubicBezTo>
                  <a:cubicBezTo>
                    <a:pt x="588" y="826"/>
                    <a:pt x="589" y="878"/>
                    <a:pt x="612" y="866"/>
                  </a:cubicBezTo>
                  <a:cubicBezTo>
                    <a:pt x="623" y="860"/>
                    <a:pt x="636" y="859"/>
                    <a:pt x="645" y="854"/>
                  </a:cubicBezTo>
                  <a:cubicBezTo>
                    <a:pt x="652" y="850"/>
                    <a:pt x="649" y="841"/>
                    <a:pt x="659" y="842"/>
                  </a:cubicBezTo>
                  <a:cubicBezTo>
                    <a:pt x="667" y="844"/>
                    <a:pt x="674" y="838"/>
                    <a:pt x="683" y="838"/>
                  </a:cubicBezTo>
                  <a:cubicBezTo>
                    <a:pt x="674" y="818"/>
                    <a:pt x="715" y="821"/>
                    <a:pt x="722" y="809"/>
                  </a:cubicBezTo>
                  <a:cubicBezTo>
                    <a:pt x="730" y="797"/>
                    <a:pt x="769" y="771"/>
                    <a:pt x="750" y="759"/>
                  </a:cubicBezTo>
                  <a:cubicBezTo>
                    <a:pt x="749" y="761"/>
                    <a:pt x="748" y="763"/>
                    <a:pt x="747" y="764"/>
                  </a:cubicBezTo>
                  <a:cubicBezTo>
                    <a:pt x="747" y="759"/>
                    <a:pt x="743" y="754"/>
                    <a:pt x="743" y="749"/>
                  </a:cubicBezTo>
                  <a:cubicBezTo>
                    <a:pt x="729" y="758"/>
                    <a:pt x="717" y="738"/>
                    <a:pt x="717" y="725"/>
                  </a:cubicBezTo>
                  <a:cubicBezTo>
                    <a:pt x="704" y="733"/>
                    <a:pt x="707" y="745"/>
                    <a:pt x="692" y="747"/>
                  </a:cubicBezTo>
                  <a:cubicBezTo>
                    <a:pt x="680" y="749"/>
                    <a:pt x="670" y="742"/>
                    <a:pt x="673" y="730"/>
                  </a:cubicBezTo>
                  <a:cubicBezTo>
                    <a:pt x="651" y="731"/>
                    <a:pt x="636" y="690"/>
                    <a:pt x="648" y="676"/>
                  </a:cubicBezTo>
                  <a:cubicBezTo>
                    <a:pt x="666" y="684"/>
                    <a:pt x="696" y="747"/>
                    <a:pt x="721" y="714"/>
                  </a:cubicBezTo>
                  <a:cubicBezTo>
                    <a:pt x="726" y="732"/>
                    <a:pt x="742" y="736"/>
                    <a:pt x="759" y="735"/>
                  </a:cubicBezTo>
                  <a:cubicBezTo>
                    <a:pt x="766" y="735"/>
                    <a:pt x="771" y="739"/>
                    <a:pt x="777" y="739"/>
                  </a:cubicBezTo>
                  <a:cubicBezTo>
                    <a:pt x="784" y="738"/>
                    <a:pt x="788" y="732"/>
                    <a:pt x="797" y="732"/>
                  </a:cubicBezTo>
                  <a:cubicBezTo>
                    <a:pt x="821" y="732"/>
                    <a:pt x="817" y="735"/>
                    <a:pt x="829" y="752"/>
                  </a:cubicBezTo>
                  <a:cubicBezTo>
                    <a:pt x="834" y="758"/>
                    <a:pt x="865" y="758"/>
                    <a:pt x="847" y="767"/>
                  </a:cubicBezTo>
                  <a:cubicBezTo>
                    <a:pt x="854" y="795"/>
                    <a:pt x="873" y="776"/>
                    <a:pt x="880" y="766"/>
                  </a:cubicBezTo>
                  <a:cubicBezTo>
                    <a:pt x="879" y="775"/>
                    <a:pt x="883" y="772"/>
                    <a:pt x="885" y="781"/>
                  </a:cubicBezTo>
                  <a:cubicBezTo>
                    <a:pt x="885" y="786"/>
                    <a:pt x="880" y="793"/>
                    <a:pt x="880" y="795"/>
                  </a:cubicBezTo>
                  <a:cubicBezTo>
                    <a:pt x="880" y="810"/>
                    <a:pt x="890" y="823"/>
                    <a:pt x="894" y="836"/>
                  </a:cubicBezTo>
                  <a:cubicBezTo>
                    <a:pt x="901" y="860"/>
                    <a:pt x="907" y="895"/>
                    <a:pt x="929" y="907"/>
                  </a:cubicBezTo>
                  <a:cubicBezTo>
                    <a:pt x="933" y="899"/>
                    <a:pt x="944" y="894"/>
                    <a:pt x="951" y="886"/>
                  </a:cubicBezTo>
                  <a:cubicBezTo>
                    <a:pt x="946" y="875"/>
                    <a:pt x="962" y="851"/>
                    <a:pt x="953" y="843"/>
                  </a:cubicBezTo>
                  <a:cubicBezTo>
                    <a:pt x="942" y="833"/>
                    <a:pt x="966" y="833"/>
                    <a:pt x="968" y="829"/>
                  </a:cubicBezTo>
                  <a:cubicBezTo>
                    <a:pt x="972" y="820"/>
                    <a:pt x="978" y="812"/>
                    <a:pt x="985" y="806"/>
                  </a:cubicBezTo>
                  <a:cubicBezTo>
                    <a:pt x="989" y="803"/>
                    <a:pt x="1001" y="797"/>
                    <a:pt x="1005" y="794"/>
                  </a:cubicBezTo>
                  <a:cubicBezTo>
                    <a:pt x="1016" y="789"/>
                    <a:pt x="1011" y="781"/>
                    <a:pt x="1017" y="776"/>
                  </a:cubicBezTo>
                  <a:cubicBezTo>
                    <a:pt x="1031" y="764"/>
                    <a:pt x="1054" y="781"/>
                    <a:pt x="1059" y="760"/>
                  </a:cubicBezTo>
                  <a:cubicBezTo>
                    <a:pt x="1069" y="765"/>
                    <a:pt x="1080" y="781"/>
                    <a:pt x="1087" y="790"/>
                  </a:cubicBezTo>
                  <a:cubicBezTo>
                    <a:pt x="1097" y="805"/>
                    <a:pt x="1091" y="821"/>
                    <a:pt x="1101" y="835"/>
                  </a:cubicBezTo>
                  <a:cubicBezTo>
                    <a:pt x="1108" y="828"/>
                    <a:pt x="1114" y="825"/>
                    <a:pt x="1119" y="817"/>
                  </a:cubicBezTo>
                  <a:cubicBezTo>
                    <a:pt x="1130" y="828"/>
                    <a:pt x="1125" y="836"/>
                    <a:pt x="1128" y="850"/>
                  </a:cubicBezTo>
                  <a:cubicBezTo>
                    <a:pt x="1132" y="863"/>
                    <a:pt x="1143" y="872"/>
                    <a:pt x="1138" y="886"/>
                  </a:cubicBezTo>
                  <a:cubicBezTo>
                    <a:pt x="1149" y="877"/>
                    <a:pt x="1154" y="865"/>
                    <a:pt x="1151" y="852"/>
                  </a:cubicBezTo>
                  <a:cubicBezTo>
                    <a:pt x="1160" y="871"/>
                    <a:pt x="1167" y="859"/>
                    <a:pt x="1180" y="868"/>
                  </a:cubicBezTo>
                  <a:cubicBezTo>
                    <a:pt x="1190" y="875"/>
                    <a:pt x="1188" y="888"/>
                    <a:pt x="1203" y="892"/>
                  </a:cubicBezTo>
                  <a:cubicBezTo>
                    <a:pt x="1196" y="900"/>
                    <a:pt x="1199" y="897"/>
                    <a:pt x="1201" y="907"/>
                  </a:cubicBezTo>
                  <a:cubicBezTo>
                    <a:pt x="1202" y="903"/>
                    <a:pt x="1207" y="893"/>
                    <a:pt x="1210" y="890"/>
                  </a:cubicBezTo>
                  <a:cubicBezTo>
                    <a:pt x="1214" y="888"/>
                    <a:pt x="1217" y="886"/>
                    <a:pt x="1222" y="886"/>
                  </a:cubicBezTo>
                  <a:cubicBezTo>
                    <a:pt x="1231" y="885"/>
                    <a:pt x="1224" y="880"/>
                    <a:pt x="1230" y="875"/>
                  </a:cubicBezTo>
                  <a:cubicBezTo>
                    <a:pt x="1235" y="870"/>
                    <a:pt x="1236" y="881"/>
                    <a:pt x="1241" y="872"/>
                  </a:cubicBezTo>
                  <a:cubicBezTo>
                    <a:pt x="1244" y="867"/>
                    <a:pt x="1242" y="864"/>
                    <a:pt x="1242" y="859"/>
                  </a:cubicBezTo>
                  <a:cubicBezTo>
                    <a:pt x="1244" y="850"/>
                    <a:pt x="1242" y="831"/>
                    <a:pt x="1232" y="830"/>
                  </a:cubicBezTo>
                  <a:cubicBezTo>
                    <a:pt x="1223" y="828"/>
                    <a:pt x="1207" y="805"/>
                    <a:pt x="1208" y="794"/>
                  </a:cubicBezTo>
                  <a:cubicBezTo>
                    <a:pt x="1210" y="779"/>
                    <a:pt x="1248" y="758"/>
                    <a:pt x="1248" y="780"/>
                  </a:cubicBezTo>
                  <a:cubicBezTo>
                    <a:pt x="1260" y="771"/>
                    <a:pt x="1283" y="772"/>
                    <a:pt x="1286" y="755"/>
                  </a:cubicBezTo>
                  <a:cubicBezTo>
                    <a:pt x="1297" y="771"/>
                    <a:pt x="1309" y="753"/>
                    <a:pt x="1318" y="746"/>
                  </a:cubicBezTo>
                  <a:cubicBezTo>
                    <a:pt x="1324" y="741"/>
                    <a:pt x="1333" y="743"/>
                    <a:pt x="1339" y="738"/>
                  </a:cubicBezTo>
                  <a:cubicBezTo>
                    <a:pt x="1340" y="737"/>
                    <a:pt x="1335" y="729"/>
                    <a:pt x="1336" y="727"/>
                  </a:cubicBezTo>
                  <a:cubicBezTo>
                    <a:pt x="1339" y="722"/>
                    <a:pt x="1344" y="723"/>
                    <a:pt x="1346" y="718"/>
                  </a:cubicBezTo>
                  <a:cubicBezTo>
                    <a:pt x="1352" y="704"/>
                    <a:pt x="1361" y="698"/>
                    <a:pt x="1362" y="681"/>
                  </a:cubicBezTo>
                  <a:cubicBezTo>
                    <a:pt x="1362" y="678"/>
                    <a:pt x="1364" y="661"/>
                    <a:pt x="1363" y="658"/>
                  </a:cubicBezTo>
                  <a:cubicBezTo>
                    <a:pt x="1361" y="652"/>
                    <a:pt x="1352" y="652"/>
                    <a:pt x="1351" y="643"/>
                  </a:cubicBezTo>
                  <a:cubicBezTo>
                    <a:pt x="1350" y="643"/>
                    <a:pt x="1348" y="644"/>
                    <a:pt x="1346" y="644"/>
                  </a:cubicBezTo>
                  <a:cubicBezTo>
                    <a:pt x="1348" y="635"/>
                    <a:pt x="1349" y="636"/>
                    <a:pt x="1341" y="628"/>
                  </a:cubicBezTo>
                  <a:cubicBezTo>
                    <a:pt x="1352" y="620"/>
                    <a:pt x="1358" y="605"/>
                    <a:pt x="1373" y="603"/>
                  </a:cubicBezTo>
                  <a:cubicBezTo>
                    <a:pt x="1364" y="604"/>
                    <a:pt x="1356" y="601"/>
                    <a:pt x="1352" y="594"/>
                  </a:cubicBezTo>
                  <a:cubicBezTo>
                    <a:pt x="1350" y="617"/>
                    <a:pt x="1326" y="597"/>
                    <a:pt x="1329" y="583"/>
                  </a:cubicBezTo>
                  <a:cubicBezTo>
                    <a:pt x="1330" y="577"/>
                    <a:pt x="1359" y="561"/>
                    <a:pt x="1370" y="569"/>
                  </a:cubicBezTo>
                  <a:cubicBezTo>
                    <a:pt x="1363" y="574"/>
                    <a:pt x="1363" y="576"/>
                    <a:pt x="1359" y="583"/>
                  </a:cubicBezTo>
                  <a:cubicBezTo>
                    <a:pt x="1371" y="578"/>
                    <a:pt x="1388" y="568"/>
                    <a:pt x="1400" y="575"/>
                  </a:cubicBezTo>
                  <a:cubicBezTo>
                    <a:pt x="1387" y="590"/>
                    <a:pt x="1398" y="600"/>
                    <a:pt x="1415" y="602"/>
                  </a:cubicBezTo>
                  <a:cubicBezTo>
                    <a:pt x="1399" y="605"/>
                    <a:pt x="1415" y="622"/>
                    <a:pt x="1409" y="636"/>
                  </a:cubicBezTo>
                  <a:cubicBezTo>
                    <a:pt x="1422" y="629"/>
                    <a:pt x="1439" y="630"/>
                    <a:pt x="1442" y="614"/>
                  </a:cubicBezTo>
                  <a:cubicBezTo>
                    <a:pt x="1444" y="594"/>
                    <a:pt x="1422" y="593"/>
                    <a:pt x="1420" y="580"/>
                  </a:cubicBezTo>
                  <a:cubicBezTo>
                    <a:pt x="1418" y="567"/>
                    <a:pt x="1438" y="559"/>
                    <a:pt x="1447" y="553"/>
                  </a:cubicBezTo>
                  <a:cubicBezTo>
                    <a:pt x="1453" y="549"/>
                    <a:pt x="1452" y="539"/>
                    <a:pt x="1460" y="541"/>
                  </a:cubicBezTo>
                  <a:cubicBezTo>
                    <a:pt x="1465" y="542"/>
                    <a:pt x="1476" y="544"/>
                    <a:pt x="1480" y="543"/>
                  </a:cubicBezTo>
                  <a:cubicBezTo>
                    <a:pt x="1496" y="539"/>
                    <a:pt x="1510" y="522"/>
                    <a:pt x="1517" y="510"/>
                  </a:cubicBezTo>
                  <a:cubicBezTo>
                    <a:pt x="1521" y="502"/>
                    <a:pt x="1523" y="495"/>
                    <a:pt x="1527" y="487"/>
                  </a:cubicBezTo>
                  <a:cubicBezTo>
                    <a:pt x="1531" y="480"/>
                    <a:pt x="1539" y="482"/>
                    <a:pt x="1543" y="475"/>
                  </a:cubicBezTo>
                  <a:cubicBezTo>
                    <a:pt x="1548" y="467"/>
                    <a:pt x="1542" y="460"/>
                    <a:pt x="1545" y="451"/>
                  </a:cubicBezTo>
                  <a:cubicBezTo>
                    <a:pt x="1546" y="445"/>
                    <a:pt x="1554" y="437"/>
                    <a:pt x="1554" y="432"/>
                  </a:cubicBezTo>
                  <a:cubicBezTo>
                    <a:pt x="1554" y="421"/>
                    <a:pt x="1565" y="408"/>
                    <a:pt x="1551" y="398"/>
                  </a:cubicBezTo>
                  <a:cubicBezTo>
                    <a:pt x="1540" y="391"/>
                    <a:pt x="1527" y="400"/>
                    <a:pt x="1515" y="391"/>
                  </a:cubicBezTo>
                  <a:cubicBezTo>
                    <a:pt x="1498" y="377"/>
                    <a:pt x="1517" y="366"/>
                    <a:pt x="1528" y="359"/>
                  </a:cubicBezTo>
                  <a:cubicBezTo>
                    <a:pt x="1540" y="350"/>
                    <a:pt x="1547" y="337"/>
                    <a:pt x="1559" y="327"/>
                  </a:cubicBezTo>
                  <a:cubicBezTo>
                    <a:pt x="1566" y="322"/>
                    <a:pt x="1571" y="322"/>
                    <a:pt x="1580" y="321"/>
                  </a:cubicBezTo>
                  <a:cubicBezTo>
                    <a:pt x="1586" y="320"/>
                    <a:pt x="1595" y="323"/>
                    <a:pt x="1599" y="322"/>
                  </a:cubicBezTo>
                  <a:cubicBezTo>
                    <a:pt x="1604" y="321"/>
                    <a:pt x="1611" y="315"/>
                    <a:pt x="1618" y="314"/>
                  </a:cubicBezTo>
                  <a:cubicBezTo>
                    <a:pt x="1624" y="312"/>
                    <a:pt x="1633" y="310"/>
                    <a:pt x="1638" y="312"/>
                  </a:cubicBezTo>
                  <a:cubicBezTo>
                    <a:pt x="1653" y="317"/>
                    <a:pt x="1662" y="324"/>
                    <a:pt x="1679" y="321"/>
                  </a:cubicBezTo>
                  <a:cubicBezTo>
                    <a:pt x="1690" y="320"/>
                    <a:pt x="1700" y="297"/>
                    <a:pt x="1708" y="289"/>
                  </a:cubicBezTo>
                  <a:cubicBezTo>
                    <a:pt x="1713" y="284"/>
                    <a:pt x="1735" y="283"/>
                    <a:pt x="1745" y="285"/>
                  </a:cubicBezTo>
                  <a:cubicBezTo>
                    <a:pt x="1742" y="294"/>
                    <a:pt x="1745" y="292"/>
                    <a:pt x="1747" y="299"/>
                  </a:cubicBezTo>
                  <a:cubicBezTo>
                    <a:pt x="1755" y="290"/>
                    <a:pt x="1784" y="254"/>
                    <a:pt x="1785" y="288"/>
                  </a:cubicBezTo>
                  <a:cubicBezTo>
                    <a:pt x="1777" y="288"/>
                    <a:pt x="1774" y="292"/>
                    <a:pt x="1767" y="296"/>
                  </a:cubicBezTo>
                  <a:cubicBezTo>
                    <a:pt x="1763" y="298"/>
                    <a:pt x="1749" y="306"/>
                    <a:pt x="1749" y="307"/>
                  </a:cubicBezTo>
                  <a:cubicBezTo>
                    <a:pt x="1745" y="323"/>
                    <a:pt x="1723" y="332"/>
                    <a:pt x="1712" y="344"/>
                  </a:cubicBezTo>
                  <a:cubicBezTo>
                    <a:pt x="1696" y="362"/>
                    <a:pt x="1695" y="415"/>
                    <a:pt x="1714" y="433"/>
                  </a:cubicBezTo>
                  <a:cubicBezTo>
                    <a:pt x="1711" y="420"/>
                    <a:pt x="1734" y="392"/>
                    <a:pt x="1744" y="385"/>
                  </a:cubicBezTo>
                  <a:cubicBezTo>
                    <a:pt x="1747" y="383"/>
                    <a:pt x="1754" y="380"/>
                    <a:pt x="1756" y="377"/>
                  </a:cubicBezTo>
                  <a:cubicBezTo>
                    <a:pt x="1755" y="374"/>
                    <a:pt x="1754" y="371"/>
                    <a:pt x="1753" y="368"/>
                  </a:cubicBezTo>
                  <a:cubicBezTo>
                    <a:pt x="1756" y="367"/>
                    <a:pt x="1759" y="366"/>
                    <a:pt x="1763" y="365"/>
                  </a:cubicBezTo>
                  <a:cubicBezTo>
                    <a:pt x="1767" y="352"/>
                    <a:pt x="1762" y="341"/>
                    <a:pt x="1767" y="331"/>
                  </a:cubicBezTo>
                  <a:cubicBezTo>
                    <a:pt x="1772" y="322"/>
                    <a:pt x="1781" y="323"/>
                    <a:pt x="1784" y="310"/>
                  </a:cubicBezTo>
                  <a:cubicBezTo>
                    <a:pt x="1786" y="300"/>
                    <a:pt x="1806" y="307"/>
                    <a:pt x="1813" y="309"/>
                  </a:cubicBezTo>
                  <a:cubicBezTo>
                    <a:pt x="1826" y="312"/>
                    <a:pt x="1827" y="320"/>
                    <a:pt x="1843" y="312"/>
                  </a:cubicBezTo>
                  <a:cubicBezTo>
                    <a:pt x="1848" y="309"/>
                    <a:pt x="1853" y="305"/>
                    <a:pt x="1860" y="303"/>
                  </a:cubicBezTo>
                  <a:cubicBezTo>
                    <a:pt x="1868" y="301"/>
                    <a:pt x="1862" y="296"/>
                    <a:pt x="1868" y="291"/>
                  </a:cubicBezTo>
                  <a:cubicBezTo>
                    <a:pt x="1873" y="287"/>
                    <a:pt x="1889" y="276"/>
                    <a:pt x="1896" y="274"/>
                  </a:cubicBezTo>
                  <a:cubicBezTo>
                    <a:pt x="1905" y="272"/>
                    <a:pt x="1918" y="280"/>
                    <a:pt x="1927" y="272"/>
                  </a:cubicBezTo>
                  <a:cubicBezTo>
                    <a:pt x="1938" y="262"/>
                    <a:pt x="1928" y="261"/>
                    <a:pt x="1922" y="251"/>
                  </a:cubicBezTo>
                  <a:cubicBezTo>
                    <a:pt x="1911" y="234"/>
                    <a:pt x="1933" y="238"/>
                    <a:pt x="1939" y="229"/>
                  </a:cubicBezTo>
                  <a:cubicBezTo>
                    <a:pt x="1948" y="217"/>
                    <a:pt x="1941" y="218"/>
                    <a:pt x="1956" y="220"/>
                  </a:cubicBezTo>
                  <a:cubicBezTo>
                    <a:pt x="1967" y="222"/>
                    <a:pt x="1977" y="232"/>
                    <a:pt x="1988" y="237"/>
                  </a:cubicBezTo>
                  <a:cubicBezTo>
                    <a:pt x="1993" y="238"/>
                    <a:pt x="2011" y="252"/>
                    <a:pt x="2014" y="235"/>
                  </a:cubicBezTo>
                  <a:cubicBezTo>
                    <a:pt x="2015" y="224"/>
                    <a:pt x="2026" y="220"/>
                    <a:pt x="2037" y="218"/>
                  </a:cubicBezTo>
                  <a:cubicBezTo>
                    <a:pt x="2026" y="197"/>
                    <a:pt x="1980" y="188"/>
                    <a:pt x="1961" y="184"/>
                  </a:cubicBezTo>
                  <a:close/>
                  <a:moveTo>
                    <a:pt x="703" y="565"/>
                  </a:moveTo>
                  <a:cubicBezTo>
                    <a:pt x="694" y="563"/>
                    <a:pt x="687" y="566"/>
                    <a:pt x="683" y="573"/>
                  </a:cubicBezTo>
                  <a:cubicBezTo>
                    <a:pt x="706" y="570"/>
                    <a:pt x="706" y="617"/>
                    <a:pt x="678" y="610"/>
                  </a:cubicBezTo>
                  <a:cubicBezTo>
                    <a:pt x="668" y="608"/>
                    <a:pt x="649" y="603"/>
                    <a:pt x="648" y="589"/>
                  </a:cubicBezTo>
                  <a:cubicBezTo>
                    <a:pt x="648" y="582"/>
                    <a:pt x="663" y="568"/>
                    <a:pt x="654" y="565"/>
                  </a:cubicBezTo>
                  <a:cubicBezTo>
                    <a:pt x="638" y="558"/>
                    <a:pt x="643" y="541"/>
                    <a:pt x="639" y="529"/>
                  </a:cubicBezTo>
                  <a:cubicBezTo>
                    <a:pt x="636" y="522"/>
                    <a:pt x="627" y="530"/>
                    <a:pt x="629" y="520"/>
                  </a:cubicBezTo>
                  <a:cubicBezTo>
                    <a:pt x="630" y="508"/>
                    <a:pt x="631" y="510"/>
                    <a:pt x="637" y="502"/>
                  </a:cubicBezTo>
                  <a:cubicBezTo>
                    <a:pt x="655" y="479"/>
                    <a:pt x="682" y="484"/>
                    <a:pt x="700" y="506"/>
                  </a:cubicBezTo>
                  <a:cubicBezTo>
                    <a:pt x="689" y="505"/>
                    <a:pt x="644" y="509"/>
                    <a:pt x="671" y="525"/>
                  </a:cubicBezTo>
                  <a:cubicBezTo>
                    <a:pt x="667" y="537"/>
                    <a:pt x="683" y="542"/>
                    <a:pt x="684" y="557"/>
                  </a:cubicBezTo>
                  <a:cubicBezTo>
                    <a:pt x="693" y="549"/>
                    <a:pt x="704" y="552"/>
                    <a:pt x="703" y="565"/>
                  </a:cubicBezTo>
                  <a:close/>
                  <a:moveTo>
                    <a:pt x="776" y="627"/>
                  </a:moveTo>
                  <a:cubicBezTo>
                    <a:pt x="774" y="624"/>
                    <a:pt x="771" y="622"/>
                    <a:pt x="772" y="617"/>
                  </a:cubicBezTo>
                  <a:cubicBezTo>
                    <a:pt x="776" y="618"/>
                    <a:pt x="779" y="620"/>
                    <a:pt x="783" y="623"/>
                  </a:cubicBezTo>
                  <a:cubicBezTo>
                    <a:pt x="780" y="624"/>
                    <a:pt x="778" y="626"/>
                    <a:pt x="776" y="62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7" name="Freeform 72">
              <a:extLst>
                <a:ext uri="{FF2B5EF4-FFF2-40B4-BE49-F238E27FC236}">
                  <a16:creationId xmlns:a16="http://schemas.microsoft.com/office/drawing/2014/main" id="{CC8E4589-4A2D-4183-B8F5-F40EEF855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" y="609"/>
              <a:ext cx="5" cy="6"/>
            </a:xfrm>
            <a:custGeom>
              <a:avLst/>
              <a:gdLst>
                <a:gd name="T0" fmla="*/ 3 w 3"/>
                <a:gd name="T1" fmla="*/ 0 h 3"/>
                <a:gd name="T2" fmla="*/ 0 w 3"/>
                <a:gd name="T3" fmla="*/ 3 h 3"/>
                <a:gd name="T4" fmla="*/ 3 w 3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1" y="2"/>
                    <a:pt x="2" y="1"/>
                    <a:pt x="3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8" name="Freeform 73">
              <a:extLst>
                <a:ext uri="{FF2B5EF4-FFF2-40B4-BE49-F238E27FC236}">
                  <a16:creationId xmlns:a16="http://schemas.microsoft.com/office/drawing/2014/main" id="{12A37B94-D8C4-40CA-B9C6-C075BE33A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" y="599"/>
              <a:ext cx="34" cy="30"/>
            </a:xfrm>
            <a:custGeom>
              <a:avLst/>
              <a:gdLst>
                <a:gd name="T0" fmla="*/ 14 w 19"/>
                <a:gd name="T1" fmla="*/ 0 h 17"/>
                <a:gd name="T2" fmla="*/ 0 w 19"/>
                <a:gd name="T3" fmla="*/ 16 h 17"/>
                <a:gd name="T4" fmla="*/ 19 w 19"/>
                <a:gd name="T5" fmla="*/ 10 h 17"/>
                <a:gd name="T6" fmla="*/ 14 w 19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7">
                  <a:moveTo>
                    <a:pt x="14" y="0"/>
                  </a:moveTo>
                  <a:cubicBezTo>
                    <a:pt x="5" y="6"/>
                    <a:pt x="7" y="8"/>
                    <a:pt x="0" y="16"/>
                  </a:cubicBezTo>
                  <a:cubicBezTo>
                    <a:pt x="7" y="17"/>
                    <a:pt x="14" y="15"/>
                    <a:pt x="19" y="10"/>
                  </a:cubicBezTo>
                  <a:cubicBezTo>
                    <a:pt x="15" y="10"/>
                    <a:pt x="12" y="7"/>
                    <a:pt x="14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9" name="Freeform 74">
              <a:extLst>
                <a:ext uri="{FF2B5EF4-FFF2-40B4-BE49-F238E27FC236}">
                  <a16:creationId xmlns:a16="http://schemas.microsoft.com/office/drawing/2014/main" id="{5C8DBF6F-3939-4CC3-A04E-0733657D7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" y="1878"/>
              <a:ext cx="1" cy="4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2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0" name="Freeform 75">
              <a:extLst>
                <a:ext uri="{FF2B5EF4-FFF2-40B4-BE49-F238E27FC236}">
                  <a16:creationId xmlns:a16="http://schemas.microsoft.com/office/drawing/2014/main" id="{4A2121A2-4309-40A8-B241-DE7CF05E0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1" y="1882"/>
              <a:ext cx="113" cy="158"/>
            </a:xfrm>
            <a:custGeom>
              <a:avLst/>
              <a:gdLst>
                <a:gd name="T0" fmla="*/ 0 w 64"/>
                <a:gd name="T1" fmla="*/ 17 h 89"/>
                <a:gd name="T2" fmla="*/ 25 w 64"/>
                <a:gd name="T3" fmla="*/ 53 h 89"/>
                <a:gd name="T4" fmla="*/ 53 w 64"/>
                <a:gd name="T5" fmla="*/ 89 h 89"/>
                <a:gd name="T6" fmla="*/ 56 w 64"/>
                <a:gd name="T7" fmla="*/ 82 h 89"/>
                <a:gd name="T8" fmla="*/ 64 w 64"/>
                <a:gd name="T9" fmla="*/ 86 h 89"/>
                <a:gd name="T10" fmla="*/ 52 w 64"/>
                <a:gd name="T11" fmla="*/ 69 h 89"/>
                <a:gd name="T12" fmla="*/ 53 w 64"/>
                <a:gd name="T13" fmla="*/ 45 h 89"/>
                <a:gd name="T14" fmla="*/ 32 w 64"/>
                <a:gd name="T15" fmla="*/ 34 h 89"/>
                <a:gd name="T16" fmla="*/ 16 w 64"/>
                <a:gd name="T17" fmla="*/ 17 h 89"/>
                <a:gd name="T18" fmla="*/ 20 w 64"/>
                <a:gd name="T19" fmla="*/ 16 h 89"/>
                <a:gd name="T20" fmla="*/ 5 w 64"/>
                <a:gd name="T21" fmla="*/ 0 h 89"/>
                <a:gd name="T22" fmla="*/ 3 w 64"/>
                <a:gd name="T23" fmla="*/ 2 h 89"/>
                <a:gd name="T24" fmla="*/ 0 w 64"/>
                <a:gd name="T25" fmla="*/ 1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89">
                  <a:moveTo>
                    <a:pt x="0" y="17"/>
                  </a:moveTo>
                  <a:cubicBezTo>
                    <a:pt x="9" y="16"/>
                    <a:pt x="20" y="43"/>
                    <a:pt x="25" y="53"/>
                  </a:cubicBezTo>
                  <a:cubicBezTo>
                    <a:pt x="34" y="73"/>
                    <a:pt x="35" y="76"/>
                    <a:pt x="53" y="89"/>
                  </a:cubicBezTo>
                  <a:cubicBezTo>
                    <a:pt x="54" y="86"/>
                    <a:pt x="55" y="84"/>
                    <a:pt x="56" y="82"/>
                  </a:cubicBezTo>
                  <a:cubicBezTo>
                    <a:pt x="58" y="83"/>
                    <a:pt x="61" y="84"/>
                    <a:pt x="64" y="86"/>
                  </a:cubicBezTo>
                  <a:cubicBezTo>
                    <a:pt x="61" y="82"/>
                    <a:pt x="53" y="73"/>
                    <a:pt x="52" y="69"/>
                  </a:cubicBezTo>
                  <a:cubicBezTo>
                    <a:pt x="51" y="62"/>
                    <a:pt x="56" y="52"/>
                    <a:pt x="53" y="45"/>
                  </a:cubicBezTo>
                  <a:cubicBezTo>
                    <a:pt x="55" y="48"/>
                    <a:pt x="31" y="34"/>
                    <a:pt x="32" y="34"/>
                  </a:cubicBezTo>
                  <a:cubicBezTo>
                    <a:pt x="25" y="32"/>
                    <a:pt x="24" y="21"/>
                    <a:pt x="16" y="17"/>
                  </a:cubicBezTo>
                  <a:cubicBezTo>
                    <a:pt x="17" y="17"/>
                    <a:pt x="19" y="16"/>
                    <a:pt x="20" y="16"/>
                  </a:cubicBezTo>
                  <a:cubicBezTo>
                    <a:pt x="18" y="9"/>
                    <a:pt x="12" y="3"/>
                    <a:pt x="5" y="0"/>
                  </a:cubicBezTo>
                  <a:cubicBezTo>
                    <a:pt x="4" y="1"/>
                    <a:pt x="4" y="2"/>
                    <a:pt x="3" y="2"/>
                  </a:cubicBezTo>
                  <a:cubicBezTo>
                    <a:pt x="4" y="3"/>
                    <a:pt x="2" y="13"/>
                    <a:pt x="0" y="1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1" name="Freeform 76">
              <a:extLst>
                <a:ext uri="{FF2B5EF4-FFF2-40B4-BE49-F238E27FC236}">
                  <a16:creationId xmlns:a16="http://schemas.microsoft.com/office/drawing/2014/main" id="{4509BD35-213E-4898-9AD3-E68DB1FC8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" y="1885"/>
              <a:ext cx="0" cy="2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2" name="Freeform 77">
              <a:extLst>
                <a:ext uri="{FF2B5EF4-FFF2-40B4-BE49-F238E27FC236}">
                  <a16:creationId xmlns:a16="http://schemas.microsoft.com/office/drawing/2014/main" id="{B194CBF3-5444-4E83-BCA4-B05D17114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5" y="615"/>
              <a:ext cx="2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3" name="Freeform 78">
              <a:extLst>
                <a:ext uri="{FF2B5EF4-FFF2-40B4-BE49-F238E27FC236}">
                  <a16:creationId xmlns:a16="http://schemas.microsoft.com/office/drawing/2014/main" id="{C923E15E-6DF8-45A9-9DAE-6AA42BE65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1" y="513"/>
              <a:ext cx="72" cy="31"/>
            </a:xfrm>
            <a:custGeom>
              <a:avLst/>
              <a:gdLst>
                <a:gd name="T0" fmla="*/ 41 w 41"/>
                <a:gd name="T1" fmla="*/ 11 h 17"/>
                <a:gd name="T2" fmla="*/ 10 w 41"/>
                <a:gd name="T3" fmla="*/ 17 h 17"/>
                <a:gd name="T4" fmla="*/ 41 w 41"/>
                <a:gd name="T5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17">
                  <a:moveTo>
                    <a:pt x="41" y="11"/>
                  </a:moveTo>
                  <a:cubicBezTo>
                    <a:pt x="31" y="0"/>
                    <a:pt x="0" y="2"/>
                    <a:pt x="10" y="17"/>
                  </a:cubicBezTo>
                  <a:cubicBezTo>
                    <a:pt x="20" y="17"/>
                    <a:pt x="31" y="16"/>
                    <a:pt x="41" y="1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4" name="Freeform 79">
              <a:extLst>
                <a:ext uri="{FF2B5EF4-FFF2-40B4-BE49-F238E27FC236}">
                  <a16:creationId xmlns:a16="http://schemas.microsoft.com/office/drawing/2014/main" id="{AFB73E2F-F406-4DF1-9495-A6356104B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" y="565"/>
              <a:ext cx="27" cy="16"/>
            </a:xfrm>
            <a:custGeom>
              <a:avLst/>
              <a:gdLst>
                <a:gd name="T0" fmla="*/ 0 w 15"/>
                <a:gd name="T1" fmla="*/ 2 h 9"/>
                <a:gd name="T2" fmla="*/ 10 w 15"/>
                <a:gd name="T3" fmla="*/ 9 h 9"/>
                <a:gd name="T4" fmla="*/ 0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4"/>
                    <a:pt x="6" y="7"/>
                    <a:pt x="10" y="9"/>
                  </a:cubicBezTo>
                  <a:cubicBezTo>
                    <a:pt x="15" y="1"/>
                    <a:pt x="9" y="0"/>
                    <a:pt x="0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5" name="Freeform 80">
              <a:extLst>
                <a:ext uri="{FF2B5EF4-FFF2-40B4-BE49-F238E27FC236}">
                  <a16:creationId xmlns:a16="http://schemas.microsoft.com/office/drawing/2014/main" id="{89AC2D9F-B867-461E-9F07-F3ADCA52C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4" y="371"/>
              <a:ext cx="14" cy="16"/>
            </a:xfrm>
            <a:custGeom>
              <a:avLst/>
              <a:gdLst>
                <a:gd name="T0" fmla="*/ 8 w 8"/>
                <a:gd name="T1" fmla="*/ 4 h 9"/>
                <a:gd name="T2" fmla="*/ 4 w 8"/>
                <a:gd name="T3" fmla="*/ 9 h 9"/>
                <a:gd name="T4" fmla="*/ 8 w 8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8" y="4"/>
                  </a:moveTo>
                  <a:cubicBezTo>
                    <a:pt x="5" y="5"/>
                    <a:pt x="0" y="0"/>
                    <a:pt x="4" y="9"/>
                  </a:cubicBezTo>
                  <a:cubicBezTo>
                    <a:pt x="6" y="6"/>
                    <a:pt x="8" y="4"/>
                    <a:pt x="8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6" name="Freeform 81">
              <a:extLst>
                <a:ext uri="{FF2B5EF4-FFF2-40B4-BE49-F238E27FC236}">
                  <a16:creationId xmlns:a16="http://schemas.microsoft.com/office/drawing/2014/main" id="{0CC842A6-7630-4F65-923E-062A74F0F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6" y="414"/>
              <a:ext cx="27" cy="21"/>
            </a:xfrm>
            <a:custGeom>
              <a:avLst/>
              <a:gdLst>
                <a:gd name="T0" fmla="*/ 0 w 15"/>
                <a:gd name="T1" fmla="*/ 7 h 12"/>
                <a:gd name="T2" fmla="*/ 15 w 15"/>
                <a:gd name="T3" fmla="*/ 9 h 12"/>
                <a:gd name="T4" fmla="*/ 0 w 15"/>
                <a:gd name="T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7"/>
                  </a:moveTo>
                  <a:cubicBezTo>
                    <a:pt x="5" y="12"/>
                    <a:pt x="9" y="11"/>
                    <a:pt x="15" y="9"/>
                  </a:cubicBezTo>
                  <a:cubicBezTo>
                    <a:pt x="14" y="8"/>
                    <a:pt x="9" y="0"/>
                    <a:pt x="0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7" name="Freeform 82">
              <a:extLst>
                <a:ext uri="{FF2B5EF4-FFF2-40B4-BE49-F238E27FC236}">
                  <a16:creationId xmlns:a16="http://schemas.microsoft.com/office/drawing/2014/main" id="{C75781C2-983E-4926-9E23-9493DE2A2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3" y="43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8" name="Freeform 83">
              <a:extLst>
                <a:ext uri="{FF2B5EF4-FFF2-40B4-BE49-F238E27FC236}">
                  <a16:creationId xmlns:a16="http://schemas.microsoft.com/office/drawing/2014/main" id="{E28AA0FB-58A3-4F17-9442-1C10BA48C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238"/>
              <a:ext cx="128" cy="63"/>
            </a:xfrm>
            <a:custGeom>
              <a:avLst/>
              <a:gdLst>
                <a:gd name="T0" fmla="*/ 11 w 72"/>
                <a:gd name="T1" fmla="*/ 35 h 35"/>
                <a:gd name="T2" fmla="*/ 60 w 72"/>
                <a:gd name="T3" fmla="*/ 26 h 35"/>
                <a:gd name="T4" fmla="*/ 40 w 72"/>
                <a:gd name="T5" fmla="*/ 9 h 35"/>
                <a:gd name="T6" fmla="*/ 41 w 72"/>
                <a:gd name="T7" fmla="*/ 1 h 35"/>
                <a:gd name="T8" fmla="*/ 11 w 72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5">
                  <a:moveTo>
                    <a:pt x="11" y="35"/>
                  </a:moveTo>
                  <a:cubicBezTo>
                    <a:pt x="21" y="31"/>
                    <a:pt x="54" y="32"/>
                    <a:pt x="60" y="26"/>
                  </a:cubicBezTo>
                  <a:cubicBezTo>
                    <a:pt x="72" y="14"/>
                    <a:pt x="51" y="2"/>
                    <a:pt x="40" y="9"/>
                  </a:cubicBezTo>
                  <a:cubicBezTo>
                    <a:pt x="41" y="6"/>
                    <a:pt x="41" y="4"/>
                    <a:pt x="41" y="1"/>
                  </a:cubicBezTo>
                  <a:cubicBezTo>
                    <a:pt x="28" y="0"/>
                    <a:pt x="0" y="25"/>
                    <a:pt x="11" y="3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9" name="Freeform 84">
              <a:extLst>
                <a:ext uri="{FF2B5EF4-FFF2-40B4-BE49-F238E27FC236}">
                  <a16:creationId xmlns:a16="http://schemas.microsoft.com/office/drawing/2014/main" id="{AB78AB9A-0E61-4C18-AD8A-FD0FF5BBA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1" y="212"/>
              <a:ext cx="43" cy="25"/>
            </a:xfrm>
            <a:custGeom>
              <a:avLst/>
              <a:gdLst>
                <a:gd name="T0" fmla="*/ 10 w 24"/>
                <a:gd name="T1" fmla="*/ 0 h 14"/>
                <a:gd name="T2" fmla="*/ 0 w 24"/>
                <a:gd name="T3" fmla="*/ 3 h 14"/>
                <a:gd name="T4" fmla="*/ 24 w 24"/>
                <a:gd name="T5" fmla="*/ 5 h 14"/>
                <a:gd name="T6" fmla="*/ 10 w 24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4">
                  <a:moveTo>
                    <a:pt x="10" y="0"/>
                  </a:moveTo>
                  <a:cubicBezTo>
                    <a:pt x="7" y="1"/>
                    <a:pt x="4" y="2"/>
                    <a:pt x="0" y="3"/>
                  </a:cubicBezTo>
                  <a:cubicBezTo>
                    <a:pt x="5" y="14"/>
                    <a:pt x="16" y="13"/>
                    <a:pt x="24" y="5"/>
                  </a:cubicBezTo>
                  <a:cubicBezTo>
                    <a:pt x="19" y="3"/>
                    <a:pt x="14" y="0"/>
                    <a:pt x="1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0" name="Freeform 85">
              <a:extLst>
                <a:ext uri="{FF2B5EF4-FFF2-40B4-BE49-F238E27FC236}">
                  <a16:creationId xmlns:a16="http://schemas.microsoft.com/office/drawing/2014/main" id="{D21293D8-D55C-427C-A4B6-C9025FF8B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5" y="143"/>
              <a:ext cx="179" cy="140"/>
            </a:xfrm>
            <a:custGeom>
              <a:avLst/>
              <a:gdLst>
                <a:gd name="T0" fmla="*/ 14 w 101"/>
                <a:gd name="T1" fmla="*/ 52 h 79"/>
                <a:gd name="T2" fmla="*/ 78 w 101"/>
                <a:gd name="T3" fmla="*/ 65 h 79"/>
                <a:gd name="T4" fmla="*/ 72 w 101"/>
                <a:gd name="T5" fmla="*/ 61 h 79"/>
                <a:gd name="T6" fmla="*/ 46 w 101"/>
                <a:gd name="T7" fmla="*/ 40 h 79"/>
                <a:gd name="T8" fmla="*/ 57 w 101"/>
                <a:gd name="T9" fmla="*/ 26 h 79"/>
                <a:gd name="T10" fmla="*/ 0 w 101"/>
                <a:gd name="T11" fmla="*/ 33 h 79"/>
                <a:gd name="T12" fmla="*/ 40 w 101"/>
                <a:gd name="T13" fmla="*/ 41 h 79"/>
                <a:gd name="T14" fmla="*/ 14 w 101"/>
                <a:gd name="T15" fmla="*/ 5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79">
                  <a:moveTo>
                    <a:pt x="14" y="52"/>
                  </a:moveTo>
                  <a:cubicBezTo>
                    <a:pt x="28" y="63"/>
                    <a:pt x="63" y="79"/>
                    <a:pt x="78" y="65"/>
                  </a:cubicBezTo>
                  <a:cubicBezTo>
                    <a:pt x="76" y="64"/>
                    <a:pt x="74" y="63"/>
                    <a:pt x="72" y="61"/>
                  </a:cubicBezTo>
                  <a:cubicBezTo>
                    <a:pt x="101" y="48"/>
                    <a:pt x="56" y="40"/>
                    <a:pt x="46" y="40"/>
                  </a:cubicBezTo>
                  <a:cubicBezTo>
                    <a:pt x="50" y="34"/>
                    <a:pt x="54" y="29"/>
                    <a:pt x="57" y="26"/>
                  </a:cubicBezTo>
                  <a:cubicBezTo>
                    <a:pt x="35" y="0"/>
                    <a:pt x="23" y="23"/>
                    <a:pt x="0" y="33"/>
                  </a:cubicBezTo>
                  <a:cubicBezTo>
                    <a:pt x="12" y="40"/>
                    <a:pt x="26" y="41"/>
                    <a:pt x="40" y="41"/>
                  </a:cubicBezTo>
                  <a:cubicBezTo>
                    <a:pt x="31" y="44"/>
                    <a:pt x="22" y="48"/>
                    <a:pt x="14" y="5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1" name="Freeform 86">
              <a:extLst>
                <a:ext uri="{FF2B5EF4-FFF2-40B4-BE49-F238E27FC236}">
                  <a16:creationId xmlns:a16="http://schemas.microsoft.com/office/drawing/2014/main" id="{FE648FB6-6517-4840-B130-F0C8D730D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9" y="325"/>
              <a:ext cx="18" cy="18"/>
            </a:xfrm>
            <a:custGeom>
              <a:avLst/>
              <a:gdLst>
                <a:gd name="T0" fmla="*/ 10 w 10"/>
                <a:gd name="T1" fmla="*/ 1 h 10"/>
                <a:gd name="T2" fmla="*/ 0 w 10"/>
                <a:gd name="T3" fmla="*/ 5 h 10"/>
                <a:gd name="T4" fmla="*/ 10 w 10"/>
                <a:gd name="T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0">
                  <a:moveTo>
                    <a:pt x="10" y="1"/>
                  </a:moveTo>
                  <a:cubicBezTo>
                    <a:pt x="5" y="0"/>
                    <a:pt x="3" y="2"/>
                    <a:pt x="0" y="5"/>
                  </a:cubicBezTo>
                  <a:cubicBezTo>
                    <a:pt x="3" y="4"/>
                    <a:pt x="5" y="10"/>
                    <a:pt x="1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2" name="Freeform 87">
              <a:extLst>
                <a:ext uri="{FF2B5EF4-FFF2-40B4-BE49-F238E27FC236}">
                  <a16:creationId xmlns:a16="http://schemas.microsoft.com/office/drawing/2014/main" id="{16C92BF6-E145-46F9-8BAF-F32648910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7" y="166"/>
              <a:ext cx="25" cy="9"/>
            </a:xfrm>
            <a:custGeom>
              <a:avLst/>
              <a:gdLst>
                <a:gd name="T0" fmla="*/ 14 w 14"/>
                <a:gd name="T1" fmla="*/ 4 h 5"/>
                <a:gd name="T2" fmla="*/ 0 w 14"/>
                <a:gd name="T3" fmla="*/ 1 h 5"/>
                <a:gd name="T4" fmla="*/ 14 w 1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5">
                  <a:moveTo>
                    <a:pt x="14" y="4"/>
                  </a:moveTo>
                  <a:cubicBezTo>
                    <a:pt x="10" y="3"/>
                    <a:pt x="6" y="0"/>
                    <a:pt x="0" y="1"/>
                  </a:cubicBezTo>
                  <a:cubicBezTo>
                    <a:pt x="5" y="5"/>
                    <a:pt x="8" y="4"/>
                    <a:pt x="14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3" name="Freeform 88">
              <a:extLst>
                <a:ext uri="{FF2B5EF4-FFF2-40B4-BE49-F238E27FC236}">
                  <a16:creationId xmlns:a16="http://schemas.microsoft.com/office/drawing/2014/main" id="{4778D551-5D0C-4C92-915D-486DF0169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6" y="286"/>
              <a:ext cx="20" cy="15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1 h 8"/>
                <a:gd name="T4" fmla="*/ 11 w 11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7" y="1"/>
                    <a:pt x="3" y="1"/>
                    <a:pt x="0" y="1"/>
                  </a:cubicBezTo>
                  <a:cubicBezTo>
                    <a:pt x="6" y="8"/>
                    <a:pt x="6" y="2"/>
                    <a:pt x="11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4" name="Freeform 89">
              <a:extLst>
                <a:ext uri="{FF2B5EF4-FFF2-40B4-BE49-F238E27FC236}">
                  <a16:creationId xmlns:a16="http://schemas.microsoft.com/office/drawing/2014/main" id="{42049458-5F00-4728-9661-9AC48DEB6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201"/>
              <a:ext cx="6" cy="9"/>
            </a:xfrm>
            <a:custGeom>
              <a:avLst/>
              <a:gdLst>
                <a:gd name="T0" fmla="*/ 0 w 3"/>
                <a:gd name="T1" fmla="*/ 1 h 5"/>
                <a:gd name="T2" fmla="*/ 3 w 3"/>
                <a:gd name="T3" fmla="*/ 0 h 5"/>
                <a:gd name="T4" fmla="*/ 1 w 3"/>
                <a:gd name="T5" fmla="*/ 1 h 5"/>
                <a:gd name="T6" fmla="*/ 0 w 3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1"/>
                  </a:moveTo>
                  <a:cubicBezTo>
                    <a:pt x="0" y="5"/>
                    <a:pt x="1" y="1"/>
                    <a:pt x="3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5" name="Freeform 90">
              <a:extLst>
                <a:ext uri="{FF2B5EF4-FFF2-40B4-BE49-F238E27FC236}">
                  <a16:creationId xmlns:a16="http://schemas.microsoft.com/office/drawing/2014/main" id="{5B9F91FB-7C77-4F14-B158-41B8F75C0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" y="178"/>
              <a:ext cx="122" cy="43"/>
            </a:xfrm>
            <a:custGeom>
              <a:avLst/>
              <a:gdLst>
                <a:gd name="T0" fmla="*/ 31 w 69"/>
                <a:gd name="T1" fmla="*/ 10 h 24"/>
                <a:gd name="T2" fmla="*/ 25 w 69"/>
                <a:gd name="T3" fmla="*/ 13 h 24"/>
                <a:gd name="T4" fmla="*/ 32 w 69"/>
                <a:gd name="T5" fmla="*/ 13 h 24"/>
                <a:gd name="T6" fmla="*/ 24 w 69"/>
                <a:gd name="T7" fmla="*/ 16 h 24"/>
                <a:gd name="T8" fmla="*/ 37 w 69"/>
                <a:gd name="T9" fmla="*/ 24 h 24"/>
                <a:gd name="T10" fmla="*/ 57 w 69"/>
                <a:gd name="T11" fmla="*/ 14 h 24"/>
                <a:gd name="T12" fmla="*/ 69 w 69"/>
                <a:gd name="T13" fmla="*/ 7 h 24"/>
                <a:gd name="T14" fmla="*/ 31 w 69"/>
                <a:gd name="T15" fmla="*/ 4 h 24"/>
                <a:gd name="T16" fmla="*/ 0 w 69"/>
                <a:gd name="T17" fmla="*/ 10 h 24"/>
                <a:gd name="T18" fmla="*/ 31 w 69"/>
                <a:gd name="T19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24">
                  <a:moveTo>
                    <a:pt x="31" y="10"/>
                  </a:moveTo>
                  <a:cubicBezTo>
                    <a:pt x="29" y="11"/>
                    <a:pt x="27" y="12"/>
                    <a:pt x="25" y="13"/>
                  </a:cubicBezTo>
                  <a:cubicBezTo>
                    <a:pt x="27" y="13"/>
                    <a:pt x="30" y="13"/>
                    <a:pt x="32" y="13"/>
                  </a:cubicBezTo>
                  <a:cubicBezTo>
                    <a:pt x="29" y="14"/>
                    <a:pt x="27" y="15"/>
                    <a:pt x="24" y="16"/>
                  </a:cubicBezTo>
                  <a:cubicBezTo>
                    <a:pt x="27" y="19"/>
                    <a:pt x="34" y="22"/>
                    <a:pt x="37" y="24"/>
                  </a:cubicBezTo>
                  <a:cubicBezTo>
                    <a:pt x="42" y="17"/>
                    <a:pt x="49" y="14"/>
                    <a:pt x="57" y="14"/>
                  </a:cubicBezTo>
                  <a:cubicBezTo>
                    <a:pt x="59" y="11"/>
                    <a:pt x="67" y="8"/>
                    <a:pt x="69" y="7"/>
                  </a:cubicBezTo>
                  <a:cubicBezTo>
                    <a:pt x="58" y="0"/>
                    <a:pt x="44" y="7"/>
                    <a:pt x="31" y="4"/>
                  </a:cubicBezTo>
                  <a:cubicBezTo>
                    <a:pt x="20" y="2"/>
                    <a:pt x="9" y="3"/>
                    <a:pt x="0" y="10"/>
                  </a:cubicBezTo>
                  <a:cubicBezTo>
                    <a:pt x="11" y="12"/>
                    <a:pt x="20" y="4"/>
                    <a:pt x="31" y="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6" name="Freeform 91">
              <a:extLst>
                <a:ext uri="{FF2B5EF4-FFF2-40B4-BE49-F238E27FC236}">
                  <a16:creationId xmlns:a16="http://schemas.microsoft.com/office/drawing/2014/main" id="{1FB9B7EA-58BF-49BD-9F9F-A5873DB74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48"/>
              <a:ext cx="43" cy="39"/>
            </a:xfrm>
            <a:custGeom>
              <a:avLst/>
              <a:gdLst>
                <a:gd name="T0" fmla="*/ 24 w 24"/>
                <a:gd name="T1" fmla="*/ 17 h 22"/>
                <a:gd name="T2" fmla="*/ 0 w 24"/>
                <a:gd name="T3" fmla="*/ 17 h 22"/>
                <a:gd name="T4" fmla="*/ 6 w 24"/>
                <a:gd name="T5" fmla="*/ 22 h 22"/>
                <a:gd name="T6" fmla="*/ 24 w 24"/>
                <a:gd name="T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2">
                  <a:moveTo>
                    <a:pt x="24" y="17"/>
                  </a:moveTo>
                  <a:cubicBezTo>
                    <a:pt x="22" y="0"/>
                    <a:pt x="7" y="8"/>
                    <a:pt x="0" y="17"/>
                  </a:cubicBezTo>
                  <a:cubicBezTo>
                    <a:pt x="2" y="18"/>
                    <a:pt x="4" y="20"/>
                    <a:pt x="6" y="22"/>
                  </a:cubicBezTo>
                  <a:cubicBezTo>
                    <a:pt x="12" y="22"/>
                    <a:pt x="18" y="19"/>
                    <a:pt x="24" y="1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7" name="Freeform 92">
              <a:extLst>
                <a:ext uri="{FF2B5EF4-FFF2-40B4-BE49-F238E27FC236}">
                  <a16:creationId xmlns:a16="http://schemas.microsoft.com/office/drawing/2014/main" id="{EBF72B05-7BA5-4D2C-9449-513358877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3" y="175"/>
              <a:ext cx="45" cy="30"/>
            </a:xfrm>
            <a:custGeom>
              <a:avLst/>
              <a:gdLst>
                <a:gd name="T0" fmla="*/ 19 w 25"/>
                <a:gd name="T1" fmla="*/ 15 h 17"/>
                <a:gd name="T2" fmla="*/ 25 w 25"/>
                <a:gd name="T3" fmla="*/ 4 h 17"/>
                <a:gd name="T4" fmla="*/ 14 w 25"/>
                <a:gd name="T5" fmla="*/ 4 h 17"/>
                <a:gd name="T6" fmla="*/ 18 w 25"/>
                <a:gd name="T7" fmla="*/ 2 h 17"/>
                <a:gd name="T8" fmla="*/ 0 w 25"/>
                <a:gd name="T9" fmla="*/ 15 h 17"/>
                <a:gd name="T10" fmla="*/ 19 w 25"/>
                <a:gd name="T11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19" y="15"/>
                  </a:moveTo>
                  <a:cubicBezTo>
                    <a:pt x="20" y="11"/>
                    <a:pt x="23" y="10"/>
                    <a:pt x="25" y="4"/>
                  </a:cubicBezTo>
                  <a:cubicBezTo>
                    <a:pt x="22" y="4"/>
                    <a:pt x="18" y="4"/>
                    <a:pt x="14" y="4"/>
                  </a:cubicBezTo>
                  <a:cubicBezTo>
                    <a:pt x="16" y="3"/>
                    <a:pt x="17" y="3"/>
                    <a:pt x="18" y="2"/>
                  </a:cubicBezTo>
                  <a:cubicBezTo>
                    <a:pt x="8" y="0"/>
                    <a:pt x="3" y="6"/>
                    <a:pt x="0" y="15"/>
                  </a:cubicBezTo>
                  <a:cubicBezTo>
                    <a:pt x="5" y="17"/>
                    <a:pt x="13" y="17"/>
                    <a:pt x="19" y="1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8" name="Freeform 93">
              <a:extLst>
                <a:ext uri="{FF2B5EF4-FFF2-40B4-BE49-F238E27FC236}">
                  <a16:creationId xmlns:a16="http://schemas.microsoft.com/office/drawing/2014/main" id="{2A1C22F8-F619-4AE1-98CB-924036D5D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198"/>
              <a:ext cx="48" cy="19"/>
            </a:xfrm>
            <a:custGeom>
              <a:avLst/>
              <a:gdLst>
                <a:gd name="T0" fmla="*/ 0 w 27"/>
                <a:gd name="T1" fmla="*/ 9 h 11"/>
                <a:gd name="T2" fmla="*/ 16 w 27"/>
                <a:gd name="T3" fmla="*/ 11 h 11"/>
                <a:gd name="T4" fmla="*/ 27 w 27"/>
                <a:gd name="T5" fmla="*/ 6 h 11"/>
                <a:gd name="T6" fmla="*/ 0 w 27"/>
                <a:gd name="T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1">
                  <a:moveTo>
                    <a:pt x="0" y="9"/>
                  </a:moveTo>
                  <a:cubicBezTo>
                    <a:pt x="5" y="9"/>
                    <a:pt x="10" y="11"/>
                    <a:pt x="16" y="11"/>
                  </a:cubicBezTo>
                  <a:cubicBezTo>
                    <a:pt x="20" y="10"/>
                    <a:pt x="23" y="8"/>
                    <a:pt x="27" y="6"/>
                  </a:cubicBezTo>
                  <a:cubicBezTo>
                    <a:pt x="18" y="0"/>
                    <a:pt x="8" y="1"/>
                    <a:pt x="0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9" name="Freeform 94">
              <a:extLst>
                <a:ext uri="{FF2B5EF4-FFF2-40B4-BE49-F238E27FC236}">
                  <a16:creationId xmlns:a16="http://schemas.microsoft.com/office/drawing/2014/main" id="{AA3697B1-F5C2-4CA3-9F5C-00A86343C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5" y="146"/>
              <a:ext cx="72" cy="52"/>
            </a:xfrm>
            <a:custGeom>
              <a:avLst/>
              <a:gdLst>
                <a:gd name="T0" fmla="*/ 0 w 41"/>
                <a:gd name="T1" fmla="*/ 21 h 29"/>
                <a:gd name="T2" fmla="*/ 31 w 41"/>
                <a:gd name="T3" fmla="*/ 24 h 29"/>
                <a:gd name="T4" fmla="*/ 41 w 41"/>
                <a:gd name="T5" fmla="*/ 22 h 29"/>
                <a:gd name="T6" fmla="*/ 21 w 41"/>
                <a:gd name="T7" fmla="*/ 17 h 29"/>
                <a:gd name="T8" fmla="*/ 39 w 41"/>
                <a:gd name="T9" fmla="*/ 0 h 29"/>
                <a:gd name="T10" fmla="*/ 13 w 41"/>
                <a:gd name="T11" fmla="*/ 17 h 29"/>
                <a:gd name="T12" fmla="*/ 14 w 41"/>
                <a:gd name="T13" fmla="*/ 17 h 29"/>
                <a:gd name="T14" fmla="*/ 0 w 41"/>
                <a:gd name="T15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29">
                  <a:moveTo>
                    <a:pt x="0" y="21"/>
                  </a:moveTo>
                  <a:cubicBezTo>
                    <a:pt x="9" y="27"/>
                    <a:pt x="20" y="29"/>
                    <a:pt x="31" y="24"/>
                  </a:cubicBezTo>
                  <a:cubicBezTo>
                    <a:pt x="34" y="23"/>
                    <a:pt x="37" y="23"/>
                    <a:pt x="41" y="22"/>
                  </a:cubicBezTo>
                  <a:cubicBezTo>
                    <a:pt x="35" y="20"/>
                    <a:pt x="28" y="18"/>
                    <a:pt x="21" y="17"/>
                  </a:cubicBezTo>
                  <a:cubicBezTo>
                    <a:pt x="30" y="13"/>
                    <a:pt x="39" y="10"/>
                    <a:pt x="39" y="0"/>
                  </a:cubicBezTo>
                  <a:cubicBezTo>
                    <a:pt x="31" y="8"/>
                    <a:pt x="16" y="7"/>
                    <a:pt x="13" y="17"/>
                  </a:cubicBezTo>
                  <a:cubicBezTo>
                    <a:pt x="13" y="17"/>
                    <a:pt x="14" y="17"/>
                    <a:pt x="14" y="17"/>
                  </a:cubicBezTo>
                  <a:cubicBezTo>
                    <a:pt x="9" y="17"/>
                    <a:pt x="4" y="18"/>
                    <a:pt x="0" y="2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0" name="Freeform 95">
              <a:extLst>
                <a:ext uri="{FF2B5EF4-FFF2-40B4-BE49-F238E27FC236}">
                  <a16:creationId xmlns:a16="http://schemas.microsoft.com/office/drawing/2014/main" id="{DEBA7E54-E779-4278-ABD6-4B22507A6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6" y="208"/>
              <a:ext cx="243" cy="146"/>
            </a:xfrm>
            <a:custGeom>
              <a:avLst/>
              <a:gdLst>
                <a:gd name="T0" fmla="*/ 18 w 137"/>
                <a:gd name="T1" fmla="*/ 40 h 82"/>
                <a:gd name="T2" fmla="*/ 56 w 137"/>
                <a:gd name="T3" fmla="*/ 39 h 82"/>
                <a:gd name="T4" fmla="*/ 29 w 137"/>
                <a:gd name="T5" fmla="*/ 52 h 82"/>
                <a:gd name="T6" fmla="*/ 58 w 137"/>
                <a:gd name="T7" fmla="*/ 58 h 82"/>
                <a:gd name="T8" fmla="*/ 33 w 137"/>
                <a:gd name="T9" fmla="*/ 60 h 82"/>
                <a:gd name="T10" fmla="*/ 60 w 137"/>
                <a:gd name="T11" fmla="*/ 82 h 82"/>
                <a:gd name="T12" fmla="*/ 103 w 137"/>
                <a:gd name="T13" fmla="*/ 41 h 82"/>
                <a:gd name="T14" fmla="*/ 98 w 137"/>
                <a:gd name="T15" fmla="*/ 42 h 82"/>
                <a:gd name="T16" fmla="*/ 100 w 137"/>
                <a:gd name="T17" fmla="*/ 61 h 82"/>
                <a:gd name="T18" fmla="*/ 116 w 137"/>
                <a:gd name="T19" fmla="*/ 62 h 82"/>
                <a:gd name="T20" fmla="*/ 115 w 137"/>
                <a:gd name="T21" fmla="*/ 68 h 82"/>
                <a:gd name="T22" fmla="*/ 137 w 137"/>
                <a:gd name="T23" fmla="*/ 56 h 82"/>
                <a:gd name="T24" fmla="*/ 107 w 137"/>
                <a:gd name="T25" fmla="*/ 39 h 82"/>
                <a:gd name="T26" fmla="*/ 110 w 137"/>
                <a:gd name="T27" fmla="*/ 38 h 82"/>
                <a:gd name="T28" fmla="*/ 75 w 137"/>
                <a:gd name="T29" fmla="*/ 15 h 82"/>
                <a:gd name="T30" fmla="*/ 69 w 137"/>
                <a:gd name="T31" fmla="*/ 20 h 82"/>
                <a:gd name="T32" fmla="*/ 53 w 137"/>
                <a:gd name="T33" fmla="*/ 26 h 82"/>
                <a:gd name="T34" fmla="*/ 34 w 137"/>
                <a:gd name="T35" fmla="*/ 22 h 82"/>
                <a:gd name="T36" fmla="*/ 25 w 137"/>
                <a:gd name="T37" fmla="*/ 17 h 82"/>
                <a:gd name="T38" fmla="*/ 29 w 137"/>
                <a:gd name="T39" fmla="*/ 12 h 82"/>
                <a:gd name="T40" fmla="*/ 0 w 137"/>
                <a:gd name="T41" fmla="*/ 18 h 82"/>
                <a:gd name="T42" fmla="*/ 18 w 137"/>
                <a:gd name="T43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7" h="82">
                  <a:moveTo>
                    <a:pt x="18" y="40"/>
                  </a:moveTo>
                  <a:cubicBezTo>
                    <a:pt x="30" y="51"/>
                    <a:pt x="41" y="36"/>
                    <a:pt x="56" y="39"/>
                  </a:cubicBezTo>
                  <a:cubicBezTo>
                    <a:pt x="48" y="45"/>
                    <a:pt x="39" y="48"/>
                    <a:pt x="29" y="52"/>
                  </a:cubicBezTo>
                  <a:cubicBezTo>
                    <a:pt x="37" y="60"/>
                    <a:pt x="47" y="55"/>
                    <a:pt x="58" y="58"/>
                  </a:cubicBezTo>
                  <a:cubicBezTo>
                    <a:pt x="50" y="61"/>
                    <a:pt x="41" y="61"/>
                    <a:pt x="33" y="60"/>
                  </a:cubicBezTo>
                  <a:cubicBezTo>
                    <a:pt x="37" y="72"/>
                    <a:pt x="50" y="77"/>
                    <a:pt x="60" y="82"/>
                  </a:cubicBezTo>
                  <a:cubicBezTo>
                    <a:pt x="66" y="69"/>
                    <a:pt x="86" y="26"/>
                    <a:pt x="103" y="41"/>
                  </a:cubicBezTo>
                  <a:cubicBezTo>
                    <a:pt x="101" y="42"/>
                    <a:pt x="100" y="42"/>
                    <a:pt x="98" y="42"/>
                  </a:cubicBezTo>
                  <a:cubicBezTo>
                    <a:pt x="105" y="48"/>
                    <a:pt x="106" y="54"/>
                    <a:pt x="100" y="61"/>
                  </a:cubicBezTo>
                  <a:cubicBezTo>
                    <a:pt x="105" y="60"/>
                    <a:pt x="111" y="63"/>
                    <a:pt x="116" y="62"/>
                  </a:cubicBezTo>
                  <a:cubicBezTo>
                    <a:pt x="115" y="64"/>
                    <a:pt x="115" y="66"/>
                    <a:pt x="115" y="68"/>
                  </a:cubicBezTo>
                  <a:cubicBezTo>
                    <a:pt x="123" y="64"/>
                    <a:pt x="129" y="60"/>
                    <a:pt x="137" y="56"/>
                  </a:cubicBezTo>
                  <a:cubicBezTo>
                    <a:pt x="126" y="47"/>
                    <a:pt x="116" y="44"/>
                    <a:pt x="107" y="39"/>
                  </a:cubicBezTo>
                  <a:cubicBezTo>
                    <a:pt x="108" y="39"/>
                    <a:pt x="109" y="39"/>
                    <a:pt x="110" y="38"/>
                  </a:cubicBezTo>
                  <a:cubicBezTo>
                    <a:pt x="99" y="30"/>
                    <a:pt x="79" y="28"/>
                    <a:pt x="75" y="15"/>
                  </a:cubicBezTo>
                  <a:cubicBezTo>
                    <a:pt x="73" y="17"/>
                    <a:pt x="71" y="18"/>
                    <a:pt x="69" y="20"/>
                  </a:cubicBezTo>
                  <a:cubicBezTo>
                    <a:pt x="72" y="0"/>
                    <a:pt x="39" y="5"/>
                    <a:pt x="53" y="26"/>
                  </a:cubicBezTo>
                  <a:cubicBezTo>
                    <a:pt x="47" y="18"/>
                    <a:pt x="32" y="4"/>
                    <a:pt x="34" y="22"/>
                  </a:cubicBezTo>
                  <a:cubicBezTo>
                    <a:pt x="31" y="20"/>
                    <a:pt x="28" y="18"/>
                    <a:pt x="25" y="17"/>
                  </a:cubicBezTo>
                  <a:cubicBezTo>
                    <a:pt x="26" y="15"/>
                    <a:pt x="28" y="13"/>
                    <a:pt x="29" y="12"/>
                  </a:cubicBezTo>
                  <a:cubicBezTo>
                    <a:pt x="18" y="9"/>
                    <a:pt x="7" y="9"/>
                    <a:pt x="0" y="18"/>
                  </a:cubicBezTo>
                  <a:cubicBezTo>
                    <a:pt x="7" y="24"/>
                    <a:pt x="17" y="38"/>
                    <a:pt x="18" y="4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1" name="Freeform 96">
              <a:extLst>
                <a:ext uri="{FF2B5EF4-FFF2-40B4-BE49-F238E27FC236}">
                  <a16:creationId xmlns:a16="http://schemas.microsoft.com/office/drawing/2014/main" id="{E6C87DD4-FCBB-4C2D-8332-77E26251B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3" y="198"/>
              <a:ext cx="158" cy="60"/>
            </a:xfrm>
            <a:custGeom>
              <a:avLst/>
              <a:gdLst>
                <a:gd name="T0" fmla="*/ 33 w 89"/>
                <a:gd name="T1" fmla="*/ 19 h 34"/>
                <a:gd name="T2" fmla="*/ 18 w 89"/>
                <a:gd name="T3" fmla="*/ 21 h 34"/>
                <a:gd name="T4" fmla="*/ 50 w 89"/>
                <a:gd name="T5" fmla="*/ 32 h 34"/>
                <a:gd name="T6" fmla="*/ 89 w 89"/>
                <a:gd name="T7" fmla="*/ 15 h 34"/>
                <a:gd name="T8" fmla="*/ 52 w 89"/>
                <a:gd name="T9" fmla="*/ 9 h 34"/>
                <a:gd name="T10" fmla="*/ 52 w 89"/>
                <a:gd name="T11" fmla="*/ 1 h 34"/>
                <a:gd name="T12" fmla="*/ 16 w 89"/>
                <a:gd name="T13" fmla="*/ 2 h 34"/>
                <a:gd name="T14" fmla="*/ 17 w 89"/>
                <a:gd name="T15" fmla="*/ 5 h 34"/>
                <a:gd name="T16" fmla="*/ 0 w 89"/>
                <a:gd name="T17" fmla="*/ 6 h 34"/>
                <a:gd name="T18" fmla="*/ 33 w 89"/>
                <a:gd name="T19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34">
                  <a:moveTo>
                    <a:pt x="33" y="19"/>
                  </a:moveTo>
                  <a:cubicBezTo>
                    <a:pt x="28" y="19"/>
                    <a:pt x="22" y="21"/>
                    <a:pt x="18" y="21"/>
                  </a:cubicBezTo>
                  <a:cubicBezTo>
                    <a:pt x="22" y="28"/>
                    <a:pt x="42" y="31"/>
                    <a:pt x="50" y="32"/>
                  </a:cubicBezTo>
                  <a:cubicBezTo>
                    <a:pt x="64" y="34"/>
                    <a:pt x="78" y="22"/>
                    <a:pt x="89" y="15"/>
                  </a:cubicBezTo>
                  <a:cubicBezTo>
                    <a:pt x="80" y="4"/>
                    <a:pt x="64" y="4"/>
                    <a:pt x="52" y="9"/>
                  </a:cubicBezTo>
                  <a:cubicBezTo>
                    <a:pt x="52" y="6"/>
                    <a:pt x="52" y="3"/>
                    <a:pt x="52" y="1"/>
                  </a:cubicBezTo>
                  <a:cubicBezTo>
                    <a:pt x="37" y="12"/>
                    <a:pt x="32" y="0"/>
                    <a:pt x="16" y="2"/>
                  </a:cubicBezTo>
                  <a:cubicBezTo>
                    <a:pt x="16" y="3"/>
                    <a:pt x="17" y="4"/>
                    <a:pt x="17" y="5"/>
                  </a:cubicBezTo>
                  <a:cubicBezTo>
                    <a:pt x="11" y="5"/>
                    <a:pt x="7" y="7"/>
                    <a:pt x="0" y="6"/>
                  </a:cubicBezTo>
                  <a:cubicBezTo>
                    <a:pt x="5" y="23"/>
                    <a:pt x="19" y="17"/>
                    <a:pt x="33" y="1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2" name="Freeform 97">
              <a:extLst>
                <a:ext uri="{FF2B5EF4-FFF2-40B4-BE49-F238E27FC236}">
                  <a16:creationId xmlns:a16="http://schemas.microsoft.com/office/drawing/2014/main" id="{AEF5702F-C882-46AF-8FA7-4ED3BB121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6" y="263"/>
              <a:ext cx="19" cy="27"/>
            </a:xfrm>
            <a:custGeom>
              <a:avLst/>
              <a:gdLst>
                <a:gd name="T0" fmla="*/ 11 w 11"/>
                <a:gd name="T1" fmla="*/ 15 h 15"/>
                <a:gd name="T2" fmla="*/ 0 w 11"/>
                <a:gd name="T3" fmla="*/ 0 h 15"/>
                <a:gd name="T4" fmla="*/ 11 w 11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5">
                  <a:moveTo>
                    <a:pt x="11" y="15"/>
                  </a:moveTo>
                  <a:cubicBezTo>
                    <a:pt x="8" y="9"/>
                    <a:pt x="4" y="4"/>
                    <a:pt x="0" y="0"/>
                  </a:cubicBezTo>
                  <a:cubicBezTo>
                    <a:pt x="0" y="4"/>
                    <a:pt x="4" y="12"/>
                    <a:pt x="11" y="1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3" name="Freeform 98">
              <a:extLst>
                <a:ext uri="{FF2B5EF4-FFF2-40B4-BE49-F238E27FC236}">
                  <a16:creationId xmlns:a16="http://schemas.microsoft.com/office/drawing/2014/main" id="{B0350720-DA23-4F81-AD74-711ACE43F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6" y="978"/>
              <a:ext cx="90" cy="100"/>
            </a:xfrm>
            <a:custGeom>
              <a:avLst/>
              <a:gdLst>
                <a:gd name="T0" fmla="*/ 9 w 51"/>
                <a:gd name="T1" fmla="*/ 51 h 56"/>
                <a:gd name="T2" fmla="*/ 39 w 51"/>
                <a:gd name="T3" fmla="*/ 38 h 56"/>
                <a:gd name="T4" fmla="*/ 34 w 51"/>
                <a:gd name="T5" fmla="*/ 2 h 56"/>
                <a:gd name="T6" fmla="*/ 9 w 51"/>
                <a:gd name="T7" fmla="*/ 17 h 56"/>
                <a:gd name="T8" fmla="*/ 10 w 51"/>
                <a:gd name="T9" fmla="*/ 32 h 56"/>
                <a:gd name="T10" fmla="*/ 9 w 51"/>
                <a:gd name="T11" fmla="*/ 5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56">
                  <a:moveTo>
                    <a:pt x="9" y="51"/>
                  </a:moveTo>
                  <a:cubicBezTo>
                    <a:pt x="14" y="56"/>
                    <a:pt x="39" y="42"/>
                    <a:pt x="39" y="38"/>
                  </a:cubicBezTo>
                  <a:cubicBezTo>
                    <a:pt x="39" y="26"/>
                    <a:pt x="51" y="5"/>
                    <a:pt x="34" y="2"/>
                  </a:cubicBezTo>
                  <a:cubicBezTo>
                    <a:pt x="22" y="0"/>
                    <a:pt x="17" y="13"/>
                    <a:pt x="9" y="17"/>
                  </a:cubicBezTo>
                  <a:cubicBezTo>
                    <a:pt x="7" y="24"/>
                    <a:pt x="14" y="26"/>
                    <a:pt x="10" y="32"/>
                  </a:cubicBezTo>
                  <a:cubicBezTo>
                    <a:pt x="4" y="41"/>
                    <a:pt x="0" y="44"/>
                    <a:pt x="9" y="5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4" name="Freeform 99">
              <a:extLst>
                <a:ext uri="{FF2B5EF4-FFF2-40B4-BE49-F238E27FC236}">
                  <a16:creationId xmlns:a16="http://schemas.microsoft.com/office/drawing/2014/main" id="{9D2E5330-4160-4FE1-A1C8-7465B61D5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904"/>
              <a:ext cx="18" cy="14"/>
            </a:xfrm>
            <a:custGeom>
              <a:avLst/>
              <a:gdLst>
                <a:gd name="T0" fmla="*/ 10 w 10"/>
                <a:gd name="T1" fmla="*/ 0 h 8"/>
                <a:gd name="T2" fmla="*/ 3 w 10"/>
                <a:gd name="T3" fmla="*/ 8 h 8"/>
                <a:gd name="T4" fmla="*/ 10 w 10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10" y="0"/>
                  </a:moveTo>
                  <a:cubicBezTo>
                    <a:pt x="0" y="1"/>
                    <a:pt x="5" y="5"/>
                    <a:pt x="3" y="8"/>
                  </a:cubicBezTo>
                  <a:cubicBezTo>
                    <a:pt x="5" y="5"/>
                    <a:pt x="8" y="3"/>
                    <a:pt x="1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5" name="Freeform 100">
              <a:extLst>
                <a:ext uri="{FF2B5EF4-FFF2-40B4-BE49-F238E27FC236}">
                  <a16:creationId xmlns:a16="http://schemas.microsoft.com/office/drawing/2014/main" id="{ECF54E58-E2F4-490C-92F2-85B5DF91A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" y="883"/>
              <a:ext cx="150" cy="223"/>
            </a:xfrm>
            <a:custGeom>
              <a:avLst/>
              <a:gdLst>
                <a:gd name="T0" fmla="*/ 6 w 85"/>
                <a:gd name="T1" fmla="*/ 37 h 126"/>
                <a:gd name="T2" fmla="*/ 12 w 85"/>
                <a:gd name="T3" fmla="*/ 51 h 126"/>
                <a:gd name="T4" fmla="*/ 12 w 85"/>
                <a:gd name="T5" fmla="*/ 46 h 126"/>
                <a:gd name="T6" fmla="*/ 31 w 85"/>
                <a:gd name="T7" fmla="*/ 63 h 126"/>
                <a:gd name="T8" fmla="*/ 22 w 85"/>
                <a:gd name="T9" fmla="*/ 83 h 126"/>
                <a:gd name="T10" fmla="*/ 15 w 85"/>
                <a:gd name="T11" fmla="*/ 104 h 126"/>
                <a:gd name="T12" fmla="*/ 36 w 85"/>
                <a:gd name="T13" fmla="*/ 105 h 126"/>
                <a:gd name="T14" fmla="*/ 13 w 85"/>
                <a:gd name="T15" fmla="*/ 126 h 126"/>
                <a:gd name="T16" fmla="*/ 41 w 85"/>
                <a:gd name="T17" fmla="*/ 119 h 126"/>
                <a:gd name="T18" fmla="*/ 78 w 85"/>
                <a:gd name="T19" fmla="*/ 109 h 126"/>
                <a:gd name="T20" fmla="*/ 71 w 85"/>
                <a:gd name="T21" fmla="*/ 108 h 126"/>
                <a:gd name="T22" fmla="*/ 70 w 85"/>
                <a:gd name="T23" fmla="*/ 89 h 126"/>
                <a:gd name="T24" fmla="*/ 68 w 85"/>
                <a:gd name="T25" fmla="*/ 90 h 126"/>
                <a:gd name="T26" fmla="*/ 34 w 85"/>
                <a:gd name="T27" fmla="*/ 47 h 126"/>
                <a:gd name="T28" fmla="*/ 46 w 85"/>
                <a:gd name="T29" fmla="*/ 23 h 126"/>
                <a:gd name="T30" fmla="*/ 33 w 85"/>
                <a:gd name="T31" fmla="*/ 11 h 126"/>
                <a:gd name="T32" fmla="*/ 8 w 85"/>
                <a:gd name="T33" fmla="*/ 27 h 126"/>
                <a:gd name="T34" fmla="*/ 0 w 85"/>
                <a:gd name="T35" fmla="*/ 23 h 126"/>
                <a:gd name="T36" fmla="*/ 6 w 85"/>
                <a:gd name="T37" fmla="*/ 3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126">
                  <a:moveTo>
                    <a:pt x="6" y="37"/>
                  </a:moveTo>
                  <a:cubicBezTo>
                    <a:pt x="10" y="42"/>
                    <a:pt x="12" y="47"/>
                    <a:pt x="12" y="51"/>
                  </a:cubicBezTo>
                  <a:cubicBezTo>
                    <a:pt x="12" y="49"/>
                    <a:pt x="12" y="48"/>
                    <a:pt x="12" y="46"/>
                  </a:cubicBezTo>
                  <a:cubicBezTo>
                    <a:pt x="26" y="50"/>
                    <a:pt x="7" y="70"/>
                    <a:pt x="31" y="63"/>
                  </a:cubicBezTo>
                  <a:cubicBezTo>
                    <a:pt x="36" y="69"/>
                    <a:pt x="41" y="83"/>
                    <a:pt x="22" y="83"/>
                  </a:cubicBezTo>
                  <a:cubicBezTo>
                    <a:pt x="26" y="92"/>
                    <a:pt x="23" y="99"/>
                    <a:pt x="15" y="104"/>
                  </a:cubicBezTo>
                  <a:cubicBezTo>
                    <a:pt x="21" y="106"/>
                    <a:pt x="28" y="107"/>
                    <a:pt x="36" y="105"/>
                  </a:cubicBezTo>
                  <a:cubicBezTo>
                    <a:pt x="30" y="109"/>
                    <a:pt x="17" y="116"/>
                    <a:pt x="13" y="126"/>
                  </a:cubicBezTo>
                  <a:cubicBezTo>
                    <a:pt x="24" y="125"/>
                    <a:pt x="30" y="121"/>
                    <a:pt x="41" y="119"/>
                  </a:cubicBezTo>
                  <a:cubicBezTo>
                    <a:pt x="52" y="118"/>
                    <a:pt x="73" y="119"/>
                    <a:pt x="78" y="109"/>
                  </a:cubicBezTo>
                  <a:cubicBezTo>
                    <a:pt x="76" y="109"/>
                    <a:pt x="73" y="108"/>
                    <a:pt x="71" y="108"/>
                  </a:cubicBezTo>
                  <a:cubicBezTo>
                    <a:pt x="82" y="101"/>
                    <a:pt x="85" y="88"/>
                    <a:pt x="70" y="89"/>
                  </a:cubicBezTo>
                  <a:cubicBezTo>
                    <a:pt x="72" y="85"/>
                    <a:pt x="70" y="88"/>
                    <a:pt x="68" y="90"/>
                  </a:cubicBezTo>
                  <a:cubicBezTo>
                    <a:pt x="70" y="77"/>
                    <a:pt x="47" y="45"/>
                    <a:pt x="34" y="47"/>
                  </a:cubicBezTo>
                  <a:cubicBezTo>
                    <a:pt x="40" y="40"/>
                    <a:pt x="43" y="32"/>
                    <a:pt x="46" y="23"/>
                  </a:cubicBezTo>
                  <a:cubicBezTo>
                    <a:pt x="34" y="23"/>
                    <a:pt x="14" y="25"/>
                    <a:pt x="33" y="11"/>
                  </a:cubicBezTo>
                  <a:cubicBezTo>
                    <a:pt x="20" y="0"/>
                    <a:pt x="10" y="18"/>
                    <a:pt x="8" y="27"/>
                  </a:cubicBezTo>
                  <a:cubicBezTo>
                    <a:pt x="5" y="24"/>
                    <a:pt x="4" y="25"/>
                    <a:pt x="0" y="23"/>
                  </a:cubicBezTo>
                  <a:cubicBezTo>
                    <a:pt x="8" y="30"/>
                    <a:pt x="8" y="29"/>
                    <a:pt x="6" y="3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6" name="Freeform 101">
              <a:extLst>
                <a:ext uri="{FF2B5EF4-FFF2-40B4-BE49-F238E27FC236}">
                  <a16:creationId xmlns:a16="http://schemas.microsoft.com/office/drawing/2014/main" id="{EB88F79A-297E-43D0-922F-D23F141A6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6" y="1005"/>
              <a:ext cx="13" cy="9"/>
            </a:xfrm>
            <a:custGeom>
              <a:avLst/>
              <a:gdLst>
                <a:gd name="T0" fmla="*/ 6 w 7"/>
                <a:gd name="T1" fmla="*/ 4 h 5"/>
                <a:gd name="T2" fmla="*/ 5 w 7"/>
                <a:gd name="T3" fmla="*/ 0 h 5"/>
                <a:gd name="T4" fmla="*/ 6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4"/>
                  </a:moveTo>
                  <a:cubicBezTo>
                    <a:pt x="7" y="2"/>
                    <a:pt x="5" y="0"/>
                    <a:pt x="5" y="0"/>
                  </a:cubicBezTo>
                  <a:cubicBezTo>
                    <a:pt x="5" y="3"/>
                    <a:pt x="0" y="5"/>
                    <a:pt x="6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7" name="Freeform 102">
              <a:extLst>
                <a:ext uri="{FF2B5EF4-FFF2-40B4-BE49-F238E27FC236}">
                  <a16:creationId xmlns:a16="http://schemas.microsoft.com/office/drawing/2014/main" id="{AE2D4761-5BE1-474D-B75E-93AD59991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0" y="680"/>
              <a:ext cx="177" cy="98"/>
            </a:xfrm>
            <a:custGeom>
              <a:avLst/>
              <a:gdLst>
                <a:gd name="T0" fmla="*/ 100 w 100"/>
                <a:gd name="T1" fmla="*/ 25 h 55"/>
                <a:gd name="T2" fmla="*/ 90 w 100"/>
                <a:gd name="T3" fmla="*/ 4 h 55"/>
                <a:gd name="T4" fmla="*/ 47 w 100"/>
                <a:gd name="T5" fmla="*/ 10 h 55"/>
                <a:gd name="T6" fmla="*/ 30 w 100"/>
                <a:gd name="T7" fmla="*/ 6 h 55"/>
                <a:gd name="T8" fmla="*/ 16 w 100"/>
                <a:gd name="T9" fmla="*/ 1 h 55"/>
                <a:gd name="T10" fmla="*/ 0 w 100"/>
                <a:gd name="T11" fmla="*/ 7 h 55"/>
                <a:gd name="T12" fmla="*/ 19 w 100"/>
                <a:gd name="T13" fmla="*/ 17 h 55"/>
                <a:gd name="T14" fmla="*/ 1 w 100"/>
                <a:gd name="T15" fmla="*/ 20 h 55"/>
                <a:gd name="T16" fmla="*/ 16 w 100"/>
                <a:gd name="T17" fmla="*/ 22 h 55"/>
                <a:gd name="T18" fmla="*/ 11 w 100"/>
                <a:gd name="T19" fmla="*/ 34 h 55"/>
                <a:gd name="T20" fmla="*/ 100 w 100"/>
                <a:gd name="T21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100" y="25"/>
                  </a:moveTo>
                  <a:cubicBezTo>
                    <a:pt x="96" y="18"/>
                    <a:pt x="88" y="11"/>
                    <a:pt x="90" y="4"/>
                  </a:cubicBezTo>
                  <a:cubicBezTo>
                    <a:pt x="78" y="2"/>
                    <a:pt x="55" y="3"/>
                    <a:pt x="47" y="10"/>
                  </a:cubicBezTo>
                  <a:cubicBezTo>
                    <a:pt x="40" y="8"/>
                    <a:pt x="36" y="9"/>
                    <a:pt x="30" y="6"/>
                  </a:cubicBezTo>
                  <a:cubicBezTo>
                    <a:pt x="23" y="23"/>
                    <a:pt x="22" y="2"/>
                    <a:pt x="16" y="1"/>
                  </a:cubicBezTo>
                  <a:cubicBezTo>
                    <a:pt x="13" y="0"/>
                    <a:pt x="2" y="6"/>
                    <a:pt x="0" y="7"/>
                  </a:cubicBezTo>
                  <a:cubicBezTo>
                    <a:pt x="6" y="11"/>
                    <a:pt x="14" y="14"/>
                    <a:pt x="19" y="17"/>
                  </a:cubicBezTo>
                  <a:cubicBezTo>
                    <a:pt x="13" y="18"/>
                    <a:pt x="7" y="21"/>
                    <a:pt x="1" y="20"/>
                  </a:cubicBezTo>
                  <a:cubicBezTo>
                    <a:pt x="6" y="20"/>
                    <a:pt x="11" y="22"/>
                    <a:pt x="16" y="22"/>
                  </a:cubicBezTo>
                  <a:cubicBezTo>
                    <a:pt x="13" y="26"/>
                    <a:pt x="15" y="30"/>
                    <a:pt x="11" y="34"/>
                  </a:cubicBezTo>
                  <a:cubicBezTo>
                    <a:pt x="43" y="43"/>
                    <a:pt x="73" y="55"/>
                    <a:pt x="100" y="2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8" name="Freeform 103">
              <a:extLst>
                <a:ext uri="{FF2B5EF4-FFF2-40B4-BE49-F238E27FC236}">
                  <a16:creationId xmlns:a16="http://schemas.microsoft.com/office/drawing/2014/main" id="{63376B9A-9FE2-42F1-A8D7-62B131B90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0" y="1623"/>
              <a:ext cx="182" cy="101"/>
            </a:xfrm>
            <a:custGeom>
              <a:avLst/>
              <a:gdLst>
                <a:gd name="T0" fmla="*/ 103 w 103"/>
                <a:gd name="T1" fmla="*/ 50 h 57"/>
                <a:gd name="T2" fmla="*/ 0 w 103"/>
                <a:gd name="T3" fmla="*/ 34 h 57"/>
                <a:gd name="T4" fmla="*/ 73 w 103"/>
                <a:gd name="T5" fmla="*/ 46 h 57"/>
                <a:gd name="T6" fmla="*/ 69 w 103"/>
                <a:gd name="T7" fmla="*/ 52 h 57"/>
                <a:gd name="T8" fmla="*/ 103 w 103"/>
                <a:gd name="T9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57">
                  <a:moveTo>
                    <a:pt x="103" y="50"/>
                  </a:moveTo>
                  <a:cubicBezTo>
                    <a:pt x="84" y="34"/>
                    <a:pt x="19" y="0"/>
                    <a:pt x="0" y="34"/>
                  </a:cubicBezTo>
                  <a:cubicBezTo>
                    <a:pt x="26" y="23"/>
                    <a:pt x="48" y="31"/>
                    <a:pt x="73" y="46"/>
                  </a:cubicBezTo>
                  <a:cubicBezTo>
                    <a:pt x="71" y="48"/>
                    <a:pt x="70" y="50"/>
                    <a:pt x="69" y="52"/>
                  </a:cubicBezTo>
                  <a:cubicBezTo>
                    <a:pt x="81" y="53"/>
                    <a:pt x="92" y="57"/>
                    <a:pt x="103" y="5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9" name="Freeform 104">
              <a:extLst>
                <a:ext uri="{FF2B5EF4-FFF2-40B4-BE49-F238E27FC236}">
                  <a16:creationId xmlns:a16="http://schemas.microsoft.com/office/drawing/2014/main" id="{D93D4CA9-E0FD-4810-AF1C-05EF9A6A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" y="1679"/>
              <a:ext cx="8" cy="11"/>
            </a:xfrm>
            <a:custGeom>
              <a:avLst/>
              <a:gdLst>
                <a:gd name="T0" fmla="*/ 0 w 5"/>
                <a:gd name="T1" fmla="*/ 6 h 6"/>
                <a:gd name="T2" fmla="*/ 5 w 5"/>
                <a:gd name="T3" fmla="*/ 6 h 6"/>
                <a:gd name="T4" fmla="*/ 5 w 5"/>
                <a:gd name="T5" fmla="*/ 0 h 6"/>
                <a:gd name="T6" fmla="*/ 0 w 5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0" y="6"/>
                  </a:moveTo>
                  <a:cubicBezTo>
                    <a:pt x="2" y="6"/>
                    <a:pt x="3" y="6"/>
                    <a:pt x="5" y="6"/>
                  </a:cubicBezTo>
                  <a:cubicBezTo>
                    <a:pt x="5" y="4"/>
                    <a:pt x="5" y="2"/>
                    <a:pt x="5" y="0"/>
                  </a:cubicBezTo>
                  <a:cubicBezTo>
                    <a:pt x="5" y="1"/>
                    <a:pt x="1" y="4"/>
                    <a:pt x="0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0" name="Freeform 105">
              <a:extLst>
                <a:ext uri="{FF2B5EF4-FFF2-40B4-BE49-F238E27FC236}">
                  <a16:creationId xmlns:a16="http://schemas.microsoft.com/office/drawing/2014/main" id="{565744FE-9590-410A-976B-7415D8CCE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7" y="1742"/>
              <a:ext cx="25" cy="14"/>
            </a:xfrm>
            <a:custGeom>
              <a:avLst/>
              <a:gdLst>
                <a:gd name="T0" fmla="*/ 13 w 14"/>
                <a:gd name="T1" fmla="*/ 2 h 8"/>
                <a:gd name="T2" fmla="*/ 0 w 14"/>
                <a:gd name="T3" fmla="*/ 2 h 8"/>
                <a:gd name="T4" fmla="*/ 13 w 14"/>
                <a:gd name="T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8">
                  <a:moveTo>
                    <a:pt x="13" y="2"/>
                  </a:moveTo>
                  <a:cubicBezTo>
                    <a:pt x="11" y="1"/>
                    <a:pt x="4" y="0"/>
                    <a:pt x="0" y="2"/>
                  </a:cubicBezTo>
                  <a:cubicBezTo>
                    <a:pt x="7" y="8"/>
                    <a:pt x="14" y="8"/>
                    <a:pt x="13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1" name="Freeform 106">
              <a:extLst>
                <a:ext uri="{FF2B5EF4-FFF2-40B4-BE49-F238E27FC236}">
                  <a16:creationId xmlns:a16="http://schemas.microsoft.com/office/drawing/2014/main" id="{CA67B2D0-69C7-4DBB-82C3-F48B816F0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8" y="1738"/>
              <a:ext cx="25" cy="14"/>
            </a:xfrm>
            <a:custGeom>
              <a:avLst/>
              <a:gdLst>
                <a:gd name="T0" fmla="*/ 0 w 14"/>
                <a:gd name="T1" fmla="*/ 3 h 8"/>
                <a:gd name="T2" fmla="*/ 14 w 14"/>
                <a:gd name="T3" fmla="*/ 5 h 8"/>
                <a:gd name="T4" fmla="*/ 0 w 14"/>
                <a:gd name="T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8">
                  <a:moveTo>
                    <a:pt x="0" y="3"/>
                  </a:moveTo>
                  <a:cubicBezTo>
                    <a:pt x="6" y="8"/>
                    <a:pt x="9" y="5"/>
                    <a:pt x="14" y="5"/>
                  </a:cubicBezTo>
                  <a:cubicBezTo>
                    <a:pt x="8" y="3"/>
                    <a:pt x="6" y="0"/>
                    <a:pt x="0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2" name="Freeform 107">
              <a:extLst>
                <a:ext uri="{FF2B5EF4-FFF2-40B4-BE49-F238E27FC236}">
                  <a16:creationId xmlns:a16="http://schemas.microsoft.com/office/drawing/2014/main" id="{2D50FF01-4A72-4517-99E3-FC4ACB572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1715"/>
              <a:ext cx="105" cy="43"/>
            </a:xfrm>
            <a:custGeom>
              <a:avLst/>
              <a:gdLst>
                <a:gd name="T0" fmla="*/ 4 w 59"/>
                <a:gd name="T1" fmla="*/ 20 h 24"/>
                <a:gd name="T2" fmla="*/ 28 w 59"/>
                <a:gd name="T3" fmla="*/ 23 h 24"/>
                <a:gd name="T4" fmla="*/ 59 w 59"/>
                <a:gd name="T5" fmla="*/ 16 h 24"/>
                <a:gd name="T6" fmla="*/ 49 w 59"/>
                <a:gd name="T7" fmla="*/ 8 h 24"/>
                <a:gd name="T8" fmla="*/ 51 w 59"/>
                <a:gd name="T9" fmla="*/ 10 h 24"/>
                <a:gd name="T10" fmla="*/ 10 w 59"/>
                <a:gd name="T11" fmla="*/ 2 h 24"/>
                <a:gd name="T12" fmla="*/ 17 w 59"/>
                <a:gd name="T13" fmla="*/ 13 h 24"/>
                <a:gd name="T14" fmla="*/ 0 w 59"/>
                <a:gd name="T15" fmla="*/ 15 h 24"/>
                <a:gd name="T16" fmla="*/ 4 w 59"/>
                <a:gd name="T17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24">
                  <a:moveTo>
                    <a:pt x="4" y="20"/>
                  </a:moveTo>
                  <a:cubicBezTo>
                    <a:pt x="12" y="13"/>
                    <a:pt x="21" y="24"/>
                    <a:pt x="28" y="23"/>
                  </a:cubicBezTo>
                  <a:cubicBezTo>
                    <a:pt x="38" y="23"/>
                    <a:pt x="46" y="15"/>
                    <a:pt x="59" y="16"/>
                  </a:cubicBezTo>
                  <a:cubicBezTo>
                    <a:pt x="56" y="13"/>
                    <a:pt x="53" y="10"/>
                    <a:pt x="49" y="8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39" y="0"/>
                    <a:pt x="23" y="0"/>
                    <a:pt x="10" y="2"/>
                  </a:cubicBezTo>
                  <a:cubicBezTo>
                    <a:pt x="15" y="6"/>
                    <a:pt x="14" y="9"/>
                    <a:pt x="17" y="13"/>
                  </a:cubicBezTo>
                  <a:cubicBezTo>
                    <a:pt x="12" y="13"/>
                    <a:pt x="5" y="15"/>
                    <a:pt x="0" y="15"/>
                  </a:cubicBezTo>
                  <a:cubicBezTo>
                    <a:pt x="2" y="17"/>
                    <a:pt x="3" y="19"/>
                    <a:pt x="4" y="2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3" name="Freeform 108">
              <a:extLst>
                <a:ext uri="{FF2B5EF4-FFF2-40B4-BE49-F238E27FC236}">
                  <a16:creationId xmlns:a16="http://schemas.microsoft.com/office/drawing/2014/main" id="{41AD7E16-6BC2-4B32-84A1-68B4C1C82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" y="1878"/>
              <a:ext cx="12" cy="16"/>
            </a:xfrm>
            <a:custGeom>
              <a:avLst/>
              <a:gdLst>
                <a:gd name="T0" fmla="*/ 0 w 7"/>
                <a:gd name="T1" fmla="*/ 9 h 9"/>
                <a:gd name="T2" fmla="*/ 7 w 7"/>
                <a:gd name="T3" fmla="*/ 4 h 9"/>
                <a:gd name="T4" fmla="*/ 0 w 7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0" y="9"/>
                  </a:moveTo>
                  <a:cubicBezTo>
                    <a:pt x="4" y="9"/>
                    <a:pt x="4" y="6"/>
                    <a:pt x="7" y="4"/>
                  </a:cubicBezTo>
                  <a:cubicBezTo>
                    <a:pt x="6" y="4"/>
                    <a:pt x="3" y="0"/>
                    <a:pt x="0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4" name="Freeform 109">
              <a:extLst>
                <a:ext uri="{FF2B5EF4-FFF2-40B4-BE49-F238E27FC236}">
                  <a16:creationId xmlns:a16="http://schemas.microsoft.com/office/drawing/2014/main" id="{784ADE6A-999F-4438-A9C4-D3881EFDB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5" y="3065"/>
              <a:ext cx="28" cy="22"/>
            </a:xfrm>
            <a:custGeom>
              <a:avLst/>
              <a:gdLst>
                <a:gd name="T0" fmla="*/ 4 w 16"/>
                <a:gd name="T1" fmla="*/ 4 h 12"/>
                <a:gd name="T2" fmla="*/ 1 w 16"/>
                <a:gd name="T3" fmla="*/ 12 h 12"/>
                <a:gd name="T4" fmla="*/ 16 w 16"/>
                <a:gd name="T5" fmla="*/ 1 h 12"/>
                <a:gd name="T6" fmla="*/ 4 w 16"/>
                <a:gd name="T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4" y="4"/>
                  </a:moveTo>
                  <a:cubicBezTo>
                    <a:pt x="2" y="7"/>
                    <a:pt x="0" y="8"/>
                    <a:pt x="1" y="12"/>
                  </a:cubicBezTo>
                  <a:cubicBezTo>
                    <a:pt x="7" y="10"/>
                    <a:pt x="14" y="6"/>
                    <a:pt x="16" y="1"/>
                  </a:cubicBezTo>
                  <a:cubicBezTo>
                    <a:pt x="11" y="0"/>
                    <a:pt x="9" y="2"/>
                    <a:pt x="4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5" name="Freeform 110">
              <a:extLst>
                <a:ext uri="{FF2B5EF4-FFF2-40B4-BE49-F238E27FC236}">
                  <a16:creationId xmlns:a16="http://schemas.microsoft.com/office/drawing/2014/main" id="{878292EB-5BE3-40CB-B87D-FAB7A4244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3060"/>
              <a:ext cx="26" cy="25"/>
            </a:xfrm>
            <a:custGeom>
              <a:avLst/>
              <a:gdLst>
                <a:gd name="T0" fmla="*/ 6 w 15"/>
                <a:gd name="T1" fmla="*/ 6 h 14"/>
                <a:gd name="T2" fmla="*/ 2 w 15"/>
                <a:gd name="T3" fmla="*/ 14 h 14"/>
                <a:gd name="T4" fmla="*/ 15 w 15"/>
                <a:gd name="T5" fmla="*/ 2 h 14"/>
                <a:gd name="T6" fmla="*/ 6 w 15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6" y="6"/>
                  </a:moveTo>
                  <a:cubicBezTo>
                    <a:pt x="3" y="10"/>
                    <a:pt x="0" y="10"/>
                    <a:pt x="2" y="14"/>
                  </a:cubicBezTo>
                  <a:cubicBezTo>
                    <a:pt x="8" y="11"/>
                    <a:pt x="13" y="7"/>
                    <a:pt x="15" y="2"/>
                  </a:cubicBezTo>
                  <a:cubicBezTo>
                    <a:pt x="3" y="0"/>
                    <a:pt x="7" y="4"/>
                    <a:pt x="6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6" name="Freeform 111">
              <a:extLst>
                <a:ext uri="{FF2B5EF4-FFF2-40B4-BE49-F238E27FC236}">
                  <a16:creationId xmlns:a16="http://schemas.microsoft.com/office/drawing/2014/main" id="{2F13F443-07BC-4F25-9F70-075345EAA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1619"/>
              <a:ext cx="11" cy="14"/>
            </a:xfrm>
            <a:custGeom>
              <a:avLst/>
              <a:gdLst>
                <a:gd name="T0" fmla="*/ 3 w 6"/>
                <a:gd name="T1" fmla="*/ 8 h 8"/>
                <a:gd name="T2" fmla="*/ 1 w 6"/>
                <a:gd name="T3" fmla="*/ 2 h 8"/>
                <a:gd name="T4" fmla="*/ 3 w 6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3" y="8"/>
                  </a:moveTo>
                  <a:cubicBezTo>
                    <a:pt x="6" y="5"/>
                    <a:pt x="2" y="5"/>
                    <a:pt x="1" y="2"/>
                  </a:cubicBezTo>
                  <a:cubicBezTo>
                    <a:pt x="0" y="0"/>
                    <a:pt x="2" y="7"/>
                    <a:pt x="3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7" name="Freeform 112">
              <a:extLst>
                <a:ext uri="{FF2B5EF4-FFF2-40B4-BE49-F238E27FC236}">
                  <a16:creationId xmlns:a16="http://schemas.microsoft.com/office/drawing/2014/main" id="{515D6372-1629-440E-B6D3-0DBB8912A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1" y="1585"/>
              <a:ext cx="16" cy="7"/>
            </a:xfrm>
            <a:custGeom>
              <a:avLst/>
              <a:gdLst>
                <a:gd name="T0" fmla="*/ 0 w 9"/>
                <a:gd name="T1" fmla="*/ 4 h 4"/>
                <a:gd name="T2" fmla="*/ 9 w 9"/>
                <a:gd name="T3" fmla="*/ 4 h 4"/>
                <a:gd name="T4" fmla="*/ 0 w 9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0" y="4"/>
                  </a:moveTo>
                  <a:cubicBezTo>
                    <a:pt x="3" y="4"/>
                    <a:pt x="6" y="4"/>
                    <a:pt x="9" y="4"/>
                  </a:cubicBezTo>
                  <a:cubicBezTo>
                    <a:pt x="5" y="0"/>
                    <a:pt x="5" y="3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8" name="Freeform 113">
              <a:extLst>
                <a:ext uri="{FF2B5EF4-FFF2-40B4-BE49-F238E27FC236}">
                  <a16:creationId xmlns:a16="http://schemas.microsoft.com/office/drawing/2014/main" id="{E4DEB833-2773-4E65-9AA3-18811B83A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1701"/>
              <a:ext cx="13" cy="10"/>
            </a:xfrm>
            <a:custGeom>
              <a:avLst/>
              <a:gdLst>
                <a:gd name="T0" fmla="*/ 7 w 7"/>
                <a:gd name="T1" fmla="*/ 0 h 6"/>
                <a:gd name="T2" fmla="*/ 0 w 7"/>
                <a:gd name="T3" fmla="*/ 3 h 6"/>
                <a:gd name="T4" fmla="*/ 7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cubicBezTo>
                    <a:pt x="4" y="1"/>
                    <a:pt x="2" y="2"/>
                    <a:pt x="0" y="3"/>
                  </a:cubicBezTo>
                  <a:cubicBezTo>
                    <a:pt x="1" y="3"/>
                    <a:pt x="4" y="6"/>
                    <a:pt x="7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9" name="Freeform 114">
              <a:extLst>
                <a:ext uri="{FF2B5EF4-FFF2-40B4-BE49-F238E27FC236}">
                  <a16:creationId xmlns:a16="http://schemas.microsoft.com/office/drawing/2014/main" id="{05305008-3870-4FA0-B042-E955EF65F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" y="922"/>
              <a:ext cx="51" cy="55"/>
            </a:xfrm>
            <a:custGeom>
              <a:avLst/>
              <a:gdLst>
                <a:gd name="T0" fmla="*/ 24 w 29"/>
                <a:gd name="T1" fmla="*/ 3 h 31"/>
                <a:gd name="T2" fmla="*/ 27 w 29"/>
                <a:gd name="T3" fmla="*/ 31 h 31"/>
                <a:gd name="T4" fmla="*/ 24 w 29"/>
                <a:gd name="T5" fmla="*/ 18 h 31"/>
                <a:gd name="T6" fmla="*/ 24 w 29"/>
                <a:gd name="T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31">
                  <a:moveTo>
                    <a:pt x="24" y="3"/>
                  </a:moveTo>
                  <a:cubicBezTo>
                    <a:pt x="0" y="0"/>
                    <a:pt x="24" y="22"/>
                    <a:pt x="27" y="31"/>
                  </a:cubicBezTo>
                  <a:cubicBezTo>
                    <a:pt x="29" y="23"/>
                    <a:pt x="26" y="21"/>
                    <a:pt x="24" y="18"/>
                  </a:cubicBezTo>
                  <a:cubicBezTo>
                    <a:pt x="25" y="14"/>
                    <a:pt x="23" y="8"/>
                    <a:pt x="24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0" name="Freeform 115">
              <a:extLst>
                <a:ext uri="{FF2B5EF4-FFF2-40B4-BE49-F238E27FC236}">
                  <a16:creationId xmlns:a16="http://schemas.microsoft.com/office/drawing/2014/main" id="{57F86D3D-A2DB-4218-BFC5-2FE89B4B6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" y="434"/>
              <a:ext cx="376" cy="209"/>
            </a:xfrm>
            <a:custGeom>
              <a:avLst/>
              <a:gdLst>
                <a:gd name="T0" fmla="*/ 212 w 212"/>
                <a:gd name="T1" fmla="*/ 92 h 118"/>
                <a:gd name="T2" fmla="*/ 171 w 212"/>
                <a:gd name="T3" fmla="*/ 54 h 118"/>
                <a:gd name="T4" fmla="*/ 155 w 212"/>
                <a:gd name="T5" fmla="*/ 24 h 118"/>
                <a:gd name="T6" fmla="*/ 137 w 212"/>
                <a:gd name="T7" fmla="*/ 33 h 118"/>
                <a:gd name="T8" fmla="*/ 145 w 212"/>
                <a:gd name="T9" fmla="*/ 57 h 118"/>
                <a:gd name="T10" fmla="*/ 116 w 212"/>
                <a:gd name="T11" fmla="*/ 38 h 118"/>
                <a:gd name="T12" fmla="*/ 117 w 212"/>
                <a:gd name="T13" fmla="*/ 44 h 118"/>
                <a:gd name="T14" fmla="*/ 81 w 212"/>
                <a:gd name="T15" fmla="*/ 42 h 118"/>
                <a:gd name="T16" fmla="*/ 50 w 212"/>
                <a:gd name="T17" fmla="*/ 67 h 118"/>
                <a:gd name="T18" fmla="*/ 40 w 212"/>
                <a:gd name="T19" fmla="*/ 74 h 118"/>
                <a:gd name="T20" fmla="*/ 93 w 212"/>
                <a:gd name="T21" fmla="*/ 84 h 118"/>
                <a:gd name="T22" fmla="*/ 48 w 212"/>
                <a:gd name="T23" fmla="*/ 92 h 118"/>
                <a:gd name="T24" fmla="*/ 86 w 212"/>
                <a:gd name="T25" fmla="*/ 110 h 118"/>
                <a:gd name="T26" fmla="*/ 124 w 212"/>
                <a:gd name="T27" fmla="*/ 113 h 118"/>
                <a:gd name="T28" fmla="*/ 164 w 212"/>
                <a:gd name="T29" fmla="*/ 104 h 118"/>
                <a:gd name="T30" fmla="*/ 202 w 212"/>
                <a:gd name="T31" fmla="*/ 106 h 118"/>
                <a:gd name="T32" fmla="*/ 194 w 212"/>
                <a:gd name="T33" fmla="*/ 98 h 118"/>
                <a:gd name="T34" fmla="*/ 198 w 212"/>
                <a:gd name="T35" fmla="*/ 95 h 118"/>
                <a:gd name="T36" fmla="*/ 212 w 212"/>
                <a:gd name="T3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118">
                  <a:moveTo>
                    <a:pt x="212" y="92"/>
                  </a:moveTo>
                  <a:cubicBezTo>
                    <a:pt x="191" y="80"/>
                    <a:pt x="182" y="76"/>
                    <a:pt x="171" y="54"/>
                  </a:cubicBezTo>
                  <a:cubicBezTo>
                    <a:pt x="165" y="41"/>
                    <a:pt x="183" y="10"/>
                    <a:pt x="155" y="24"/>
                  </a:cubicBezTo>
                  <a:cubicBezTo>
                    <a:pt x="153" y="25"/>
                    <a:pt x="138" y="30"/>
                    <a:pt x="137" y="33"/>
                  </a:cubicBezTo>
                  <a:cubicBezTo>
                    <a:pt x="135" y="40"/>
                    <a:pt x="147" y="52"/>
                    <a:pt x="145" y="57"/>
                  </a:cubicBezTo>
                  <a:cubicBezTo>
                    <a:pt x="143" y="61"/>
                    <a:pt x="127" y="36"/>
                    <a:pt x="116" y="38"/>
                  </a:cubicBezTo>
                  <a:cubicBezTo>
                    <a:pt x="116" y="40"/>
                    <a:pt x="117" y="42"/>
                    <a:pt x="117" y="44"/>
                  </a:cubicBezTo>
                  <a:cubicBezTo>
                    <a:pt x="102" y="51"/>
                    <a:pt x="97" y="26"/>
                    <a:pt x="81" y="42"/>
                  </a:cubicBezTo>
                  <a:cubicBezTo>
                    <a:pt x="77" y="0"/>
                    <a:pt x="0" y="74"/>
                    <a:pt x="50" y="67"/>
                  </a:cubicBezTo>
                  <a:cubicBezTo>
                    <a:pt x="45" y="68"/>
                    <a:pt x="44" y="71"/>
                    <a:pt x="40" y="74"/>
                  </a:cubicBezTo>
                  <a:cubicBezTo>
                    <a:pt x="52" y="88"/>
                    <a:pt x="77" y="76"/>
                    <a:pt x="93" y="84"/>
                  </a:cubicBezTo>
                  <a:cubicBezTo>
                    <a:pt x="78" y="84"/>
                    <a:pt x="61" y="83"/>
                    <a:pt x="48" y="92"/>
                  </a:cubicBezTo>
                  <a:cubicBezTo>
                    <a:pt x="58" y="108"/>
                    <a:pt x="77" y="98"/>
                    <a:pt x="86" y="110"/>
                  </a:cubicBezTo>
                  <a:cubicBezTo>
                    <a:pt x="92" y="118"/>
                    <a:pt x="116" y="117"/>
                    <a:pt x="124" y="113"/>
                  </a:cubicBezTo>
                  <a:cubicBezTo>
                    <a:pt x="137" y="108"/>
                    <a:pt x="152" y="103"/>
                    <a:pt x="164" y="104"/>
                  </a:cubicBezTo>
                  <a:cubicBezTo>
                    <a:pt x="179" y="106"/>
                    <a:pt x="187" y="118"/>
                    <a:pt x="202" y="106"/>
                  </a:cubicBezTo>
                  <a:cubicBezTo>
                    <a:pt x="199" y="103"/>
                    <a:pt x="198" y="100"/>
                    <a:pt x="194" y="98"/>
                  </a:cubicBezTo>
                  <a:cubicBezTo>
                    <a:pt x="196" y="97"/>
                    <a:pt x="197" y="96"/>
                    <a:pt x="198" y="95"/>
                  </a:cubicBezTo>
                  <a:cubicBezTo>
                    <a:pt x="204" y="95"/>
                    <a:pt x="208" y="95"/>
                    <a:pt x="212" y="9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1" name="Freeform 116">
              <a:extLst>
                <a:ext uri="{FF2B5EF4-FFF2-40B4-BE49-F238E27FC236}">
                  <a16:creationId xmlns:a16="http://schemas.microsoft.com/office/drawing/2014/main" id="{13AED652-E779-48BF-8F6B-75E58E468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" y="441"/>
              <a:ext cx="177" cy="131"/>
            </a:xfrm>
            <a:custGeom>
              <a:avLst/>
              <a:gdLst>
                <a:gd name="T0" fmla="*/ 20 w 100"/>
                <a:gd name="T1" fmla="*/ 64 h 74"/>
                <a:gd name="T2" fmla="*/ 58 w 100"/>
                <a:gd name="T3" fmla="*/ 44 h 74"/>
                <a:gd name="T4" fmla="*/ 100 w 100"/>
                <a:gd name="T5" fmla="*/ 23 h 74"/>
                <a:gd name="T6" fmla="*/ 10 w 100"/>
                <a:gd name="T7" fmla="*/ 4 h 74"/>
                <a:gd name="T8" fmla="*/ 2 w 100"/>
                <a:gd name="T9" fmla="*/ 41 h 74"/>
                <a:gd name="T10" fmla="*/ 20 w 100"/>
                <a:gd name="T11" fmla="*/ 6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74">
                  <a:moveTo>
                    <a:pt x="20" y="64"/>
                  </a:moveTo>
                  <a:cubicBezTo>
                    <a:pt x="36" y="74"/>
                    <a:pt x="50" y="55"/>
                    <a:pt x="58" y="44"/>
                  </a:cubicBezTo>
                  <a:cubicBezTo>
                    <a:pt x="70" y="30"/>
                    <a:pt x="85" y="31"/>
                    <a:pt x="100" y="23"/>
                  </a:cubicBezTo>
                  <a:cubicBezTo>
                    <a:pt x="88" y="1"/>
                    <a:pt x="32" y="0"/>
                    <a:pt x="10" y="4"/>
                  </a:cubicBezTo>
                  <a:cubicBezTo>
                    <a:pt x="24" y="23"/>
                    <a:pt x="3" y="26"/>
                    <a:pt x="2" y="41"/>
                  </a:cubicBezTo>
                  <a:cubicBezTo>
                    <a:pt x="0" y="58"/>
                    <a:pt x="10" y="50"/>
                    <a:pt x="20" y="6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2" name="Freeform 117">
              <a:extLst>
                <a:ext uri="{FF2B5EF4-FFF2-40B4-BE49-F238E27FC236}">
                  <a16:creationId xmlns:a16="http://schemas.microsoft.com/office/drawing/2014/main" id="{154C43D7-5A0E-4347-9594-05CAF9A7C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" y="350"/>
              <a:ext cx="249" cy="108"/>
            </a:xfrm>
            <a:custGeom>
              <a:avLst/>
              <a:gdLst>
                <a:gd name="T0" fmla="*/ 22 w 140"/>
                <a:gd name="T1" fmla="*/ 21 h 61"/>
                <a:gd name="T2" fmla="*/ 29 w 140"/>
                <a:gd name="T3" fmla="*/ 23 h 61"/>
                <a:gd name="T4" fmla="*/ 18 w 140"/>
                <a:gd name="T5" fmla="*/ 22 h 61"/>
                <a:gd name="T6" fmla="*/ 22 w 140"/>
                <a:gd name="T7" fmla="*/ 28 h 61"/>
                <a:gd name="T8" fmla="*/ 45 w 140"/>
                <a:gd name="T9" fmla="*/ 38 h 61"/>
                <a:gd name="T10" fmla="*/ 51 w 140"/>
                <a:gd name="T11" fmla="*/ 46 h 61"/>
                <a:gd name="T12" fmla="*/ 42 w 140"/>
                <a:gd name="T13" fmla="*/ 50 h 61"/>
                <a:gd name="T14" fmla="*/ 51 w 140"/>
                <a:gd name="T15" fmla="*/ 55 h 61"/>
                <a:gd name="T16" fmla="*/ 127 w 140"/>
                <a:gd name="T17" fmla="*/ 38 h 61"/>
                <a:gd name="T18" fmla="*/ 103 w 140"/>
                <a:gd name="T19" fmla="*/ 16 h 61"/>
                <a:gd name="T20" fmla="*/ 81 w 140"/>
                <a:gd name="T21" fmla="*/ 16 h 61"/>
                <a:gd name="T22" fmla="*/ 87 w 140"/>
                <a:gd name="T23" fmla="*/ 26 h 61"/>
                <a:gd name="T24" fmla="*/ 93 w 140"/>
                <a:gd name="T25" fmla="*/ 28 h 61"/>
                <a:gd name="T26" fmla="*/ 28 w 140"/>
                <a:gd name="T27" fmla="*/ 14 h 61"/>
                <a:gd name="T28" fmla="*/ 38 w 140"/>
                <a:gd name="T29" fmla="*/ 18 h 61"/>
                <a:gd name="T30" fmla="*/ 22 w 140"/>
                <a:gd name="T31" fmla="*/ 2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0" h="61">
                  <a:moveTo>
                    <a:pt x="22" y="21"/>
                  </a:moveTo>
                  <a:cubicBezTo>
                    <a:pt x="25" y="22"/>
                    <a:pt x="27" y="23"/>
                    <a:pt x="29" y="23"/>
                  </a:cubicBezTo>
                  <a:cubicBezTo>
                    <a:pt x="26" y="23"/>
                    <a:pt x="22" y="23"/>
                    <a:pt x="18" y="22"/>
                  </a:cubicBezTo>
                  <a:cubicBezTo>
                    <a:pt x="19" y="25"/>
                    <a:pt x="20" y="27"/>
                    <a:pt x="22" y="28"/>
                  </a:cubicBezTo>
                  <a:cubicBezTo>
                    <a:pt x="0" y="26"/>
                    <a:pt x="25" y="61"/>
                    <a:pt x="45" y="38"/>
                  </a:cubicBezTo>
                  <a:cubicBezTo>
                    <a:pt x="47" y="41"/>
                    <a:pt x="49" y="43"/>
                    <a:pt x="51" y="46"/>
                  </a:cubicBezTo>
                  <a:cubicBezTo>
                    <a:pt x="48" y="47"/>
                    <a:pt x="45" y="49"/>
                    <a:pt x="42" y="50"/>
                  </a:cubicBezTo>
                  <a:cubicBezTo>
                    <a:pt x="45" y="52"/>
                    <a:pt x="48" y="53"/>
                    <a:pt x="51" y="55"/>
                  </a:cubicBezTo>
                  <a:cubicBezTo>
                    <a:pt x="64" y="55"/>
                    <a:pt x="121" y="47"/>
                    <a:pt x="127" y="38"/>
                  </a:cubicBezTo>
                  <a:cubicBezTo>
                    <a:pt x="140" y="16"/>
                    <a:pt x="109" y="28"/>
                    <a:pt x="103" y="16"/>
                  </a:cubicBezTo>
                  <a:cubicBezTo>
                    <a:pt x="97" y="5"/>
                    <a:pt x="89" y="0"/>
                    <a:pt x="81" y="16"/>
                  </a:cubicBezTo>
                  <a:cubicBezTo>
                    <a:pt x="90" y="22"/>
                    <a:pt x="90" y="20"/>
                    <a:pt x="87" y="26"/>
                  </a:cubicBezTo>
                  <a:cubicBezTo>
                    <a:pt x="89" y="27"/>
                    <a:pt x="91" y="27"/>
                    <a:pt x="93" y="28"/>
                  </a:cubicBezTo>
                  <a:cubicBezTo>
                    <a:pt x="77" y="40"/>
                    <a:pt x="46" y="13"/>
                    <a:pt x="28" y="14"/>
                  </a:cubicBezTo>
                  <a:cubicBezTo>
                    <a:pt x="31" y="15"/>
                    <a:pt x="35" y="17"/>
                    <a:pt x="38" y="18"/>
                  </a:cubicBezTo>
                  <a:cubicBezTo>
                    <a:pt x="31" y="17"/>
                    <a:pt x="29" y="20"/>
                    <a:pt x="22" y="2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3" name="Freeform 118">
              <a:extLst>
                <a:ext uri="{FF2B5EF4-FFF2-40B4-BE49-F238E27FC236}">
                  <a16:creationId xmlns:a16="http://schemas.microsoft.com/office/drawing/2014/main" id="{C63FCF4B-B911-4E5E-ADCC-A48E1D51F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389"/>
              <a:ext cx="28" cy="23"/>
            </a:xfrm>
            <a:custGeom>
              <a:avLst/>
              <a:gdLst>
                <a:gd name="T0" fmla="*/ 5 w 16"/>
                <a:gd name="T1" fmla="*/ 13 h 13"/>
                <a:gd name="T2" fmla="*/ 16 w 16"/>
                <a:gd name="T3" fmla="*/ 0 h 13"/>
                <a:gd name="T4" fmla="*/ 0 w 16"/>
                <a:gd name="T5" fmla="*/ 8 h 13"/>
                <a:gd name="T6" fmla="*/ 5 w 16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3">
                  <a:moveTo>
                    <a:pt x="5" y="13"/>
                  </a:moveTo>
                  <a:cubicBezTo>
                    <a:pt x="11" y="9"/>
                    <a:pt x="14" y="7"/>
                    <a:pt x="16" y="0"/>
                  </a:cubicBezTo>
                  <a:cubicBezTo>
                    <a:pt x="8" y="1"/>
                    <a:pt x="5" y="3"/>
                    <a:pt x="0" y="8"/>
                  </a:cubicBezTo>
                  <a:cubicBezTo>
                    <a:pt x="2" y="10"/>
                    <a:pt x="3" y="11"/>
                    <a:pt x="5" y="1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4" name="Freeform 119">
              <a:extLst>
                <a:ext uri="{FF2B5EF4-FFF2-40B4-BE49-F238E27FC236}">
                  <a16:creationId xmlns:a16="http://schemas.microsoft.com/office/drawing/2014/main" id="{15EE1D37-596D-4A27-B722-9762A12E7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" y="359"/>
              <a:ext cx="22" cy="9"/>
            </a:xfrm>
            <a:custGeom>
              <a:avLst/>
              <a:gdLst>
                <a:gd name="T0" fmla="*/ 0 w 12"/>
                <a:gd name="T1" fmla="*/ 0 h 5"/>
                <a:gd name="T2" fmla="*/ 5 w 12"/>
                <a:gd name="T3" fmla="*/ 5 h 5"/>
                <a:gd name="T4" fmla="*/ 12 w 12"/>
                <a:gd name="T5" fmla="*/ 5 h 5"/>
                <a:gd name="T6" fmla="*/ 12 w 12"/>
                <a:gd name="T7" fmla="*/ 0 h 5"/>
                <a:gd name="T8" fmla="*/ 0 w 1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0" y="0"/>
                  </a:moveTo>
                  <a:cubicBezTo>
                    <a:pt x="2" y="2"/>
                    <a:pt x="3" y="3"/>
                    <a:pt x="5" y="5"/>
                  </a:cubicBezTo>
                  <a:cubicBezTo>
                    <a:pt x="7" y="5"/>
                    <a:pt x="10" y="5"/>
                    <a:pt x="12" y="5"/>
                  </a:cubicBezTo>
                  <a:cubicBezTo>
                    <a:pt x="12" y="3"/>
                    <a:pt x="12" y="2"/>
                    <a:pt x="12" y="0"/>
                  </a:cubicBezTo>
                  <a:cubicBezTo>
                    <a:pt x="9" y="0"/>
                    <a:pt x="4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5" name="Freeform 120">
              <a:extLst>
                <a:ext uri="{FF2B5EF4-FFF2-40B4-BE49-F238E27FC236}">
                  <a16:creationId xmlns:a16="http://schemas.microsoft.com/office/drawing/2014/main" id="{018F4326-127D-416D-8F84-A25FE8A65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" y="329"/>
              <a:ext cx="133" cy="76"/>
            </a:xfrm>
            <a:custGeom>
              <a:avLst/>
              <a:gdLst>
                <a:gd name="T0" fmla="*/ 25 w 75"/>
                <a:gd name="T1" fmla="*/ 34 h 43"/>
                <a:gd name="T2" fmla="*/ 31 w 75"/>
                <a:gd name="T3" fmla="*/ 40 h 43"/>
                <a:gd name="T4" fmla="*/ 38 w 75"/>
                <a:gd name="T5" fmla="*/ 32 h 43"/>
                <a:gd name="T6" fmla="*/ 50 w 75"/>
                <a:gd name="T7" fmla="*/ 21 h 43"/>
                <a:gd name="T8" fmla="*/ 75 w 75"/>
                <a:gd name="T9" fmla="*/ 8 h 43"/>
                <a:gd name="T10" fmla="*/ 14 w 75"/>
                <a:gd name="T11" fmla="*/ 26 h 43"/>
                <a:gd name="T12" fmla="*/ 25 w 75"/>
                <a:gd name="T13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43">
                  <a:moveTo>
                    <a:pt x="25" y="34"/>
                  </a:moveTo>
                  <a:cubicBezTo>
                    <a:pt x="27" y="36"/>
                    <a:pt x="29" y="38"/>
                    <a:pt x="31" y="40"/>
                  </a:cubicBezTo>
                  <a:cubicBezTo>
                    <a:pt x="33" y="37"/>
                    <a:pt x="36" y="35"/>
                    <a:pt x="38" y="32"/>
                  </a:cubicBezTo>
                  <a:cubicBezTo>
                    <a:pt x="45" y="29"/>
                    <a:pt x="46" y="28"/>
                    <a:pt x="50" y="21"/>
                  </a:cubicBezTo>
                  <a:cubicBezTo>
                    <a:pt x="60" y="43"/>
                    <a:pt x="73" y="17"/>
                    <a:pt x="75" y="8"/>
                  </a:cubicBezTo>
                  <a:cubicBezTo>
                    <a:pt x="57" y="0"/>
                    <a:pt x="27" y="13"/>
                    <a:pt x="14" y="26"/>
                  </a:cubicBezTo>
                  <a:cubicBezTo>
                    <a:pt x="0" y="39"/>
                    <a:pt x="13" y="35"/>
                    <a:pt x="25" y="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6" name="Freeform 121">
              <a:extLst>
                <a:ext uri="{FF2B5EF4-FFF2-40B4-BE49-F238E27FC236}">
                  <a16:creationId xmlns:a16="http://schemas.microsoft.com/office/drawing/2014/main" id="{68DFAC0E-571A-4A9D-98E1-9E351DD17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" y="277"/>
              <a:ext cx="71" cy="34"/>
            </a:xfrm>
            <a:custGeom>
              <a:avLst/>
              <a:gdLst>
                <a:gd name="T0" fmla="*/ 16 w 40"/>
                <a:gd name="T1" fmla="*/ 18 h 19"/>
                <a:gd name="T2" fmla="*/ 40 w 40"/>
                <a:gd name="T3" fmla="*/ 14 h 19"/>
                <a:gd name="T4" fmla="*/ 0 w 40"/>
                <a:gd name="T5" fmla="*/ 18 h 19"/>
                <a:gd name="T6" fmla="*/ 16 w 40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19">
                  <a:moveTo>
                    <a:pt x="16" y="18"/>
                  </a:moveTo>
                  <a:cubicBezTo>
                    <a:pt x="24" y="19"/>
                    <a:pt x="32" y="18"/>
                    <a:pt x="40" y="14"/>
                  </a:cubicBezTo>
                  <a:cubicBezTo>
                    <a:pt x="30" y="0"/>
                    <a:pt x="10" y="8"/>
                    <a:pt x="0" y="18"/>
                  </a:cubicBezTo>
                  <a:cubicBezTo>
                    <a:pt x="7" y="14"/>
                    <a:pt x="9" y="17"/>
                    <a:pt x="16" y="1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7" name="Freeform 122">
              <a:extLst>
                <a:ext uri="{FF2B5EF4-FFF2-40B4-BE49-F238E27FC236}">
                  <a16:creationId xmlns:a16="http://schemas.microsoft.com/office/drawing/2014/main" id="{1F5C2969-BC61-4C95-8BD4-D97D6F7E0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" y="311"/>
              <a:ext cx="71" cy="41"/>
            </a:xfrm>
            <a:custGeom>
              <a:avLst/>
              <a:gdLst>
                <a:gd name="T0" fmla="*/ 7 w 40"/>
                <a:gd name="T1" fmla="*/ 12 h 23"/>
                <a:gd name="T2" fmla="*/ 35 w 40"/>
                <a:gd name="T3" fmla="*/ 8 h 23"/>
                <a:gd name="T4" fmla="*/ 25 w 40"/>
                <a:gd name="T5" fmla="*/ 8 h 23"/>
                <a:gd name="T6" fmla="*/ 40 w 40"/>
                <a:gd name="T7" fmla="*/ 4 h 23"/>
                <a:gd name="T8" fmla="*/ 7 w 40"/>
                <a:gd name="T9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7" y="12"/>
                  </a:moveTo>
                  <a:cubicBezTo>
                    <a:pt x="14" y="23"/>
                    <a:pt x="30" y="18"/>
                    <a:pt x="35" y="8"/>
                  </a:cubicBezTo>
                  <a:cubicBezTo>
                    <a:pt x="31" y="8"/>
                    <a:pt x="28" y="8"/>
                    <a:pt x="25" y="8"/>
                  </a:cubicBezTo>
                  <a:cubicBezTo>
                    <a:pt x="31" y="8"/>
                    <a:pt x="34" y="6"/>
                    <a:pt x="40" y="4"/>
                  </a:cubicBezTo>
                  <a:cubicBezTo>
                    <a:pt x="33" y="0"/>
                    <a:pt x="0" y="1"/>
                    <a:pt x="7" y="1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8" name="Freeform 123">
              <a:extLst>
                <a:ext uri="{FF2B5EF4-FFF2-40B4-BE49-F238E27FC236}">
                  <a16:creationId xmlns:a16="http://schemas.microsoft.com/office/drawing/2014/main" id="{23D83E86-7F31-48A7-94BA-5154B1A93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" y="315"/>
              <a:ext cx="19" cy="21"/>
            </a:xfrm>
            <a:custGeom>
              <a:avLst/>
              <a:gdLst>
                <a:gd name="T0" fmla="*/ 11 w 11"/>
                <a:gd name="T1" fmla="*/ 6 h 12"/>
                <a:gd name="T2" fmla="*/ 0 w 11"/>
                <a:gd name="T3" fmla="*/ 5 h 12"/>
                <a:gd name="T4" fmla="*/ 11 w 11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6" y="3"/>
                    <a:pt x="5" y="0"/>
                    <a:pt x="0" y="5"/>
                  </a:cubicBezTo>
                  <a:cubicBezTo>
                    <a:pt x="5" y="12"/>
                    <a:pt x="6" y="8"/>
                    <a:pt x="11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9" name="Freeform 124">
              <a:extLst>
                <a:ext uri="{FF2B5EF4-FFF2-40B4-BE49-F238E27FC236}">
                  <a16:creationId xmlns:a16="http://schemas.microsoft.com/office/drawing/2014/main" id="{544D7158-CDA5-4213-96AB-D42C46A4D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" y="458"/>
              <a:ext cx="120" cy="95"/>
            </a:xfrm>
            <a:custGeom>
              <a:avLst/>
              <a:gdLst>
                <a:gd name="T0" fmla="*/ 52 w 68"/>
                <a:gd name="T1" fmla="*/ 23 h 53"/>
                <a:gd name="T2" fmla="*/ 39 w 68"/>
                <a:gd name="T3" fmla="*/ 23 h 53"/>
                <a:gd name="T4" fmla="*/ 10 w 68"/>
                <a:gd name="T5" fmla="*/ 13 h 53"/>
                <a:gd name="T6" fmla="*/ 0 w 68"/>
                <a:gd name="T7" fmla="*/ 23 h 53"/>
                <a:gd name="T8" fmla="*/ 38 w 68"/>
                <a:gd name="T9" fmla="*/ 53 h 53"/>
                <a:gd name="T10" fmla="*/ 52 w 68"/>
                <a:gd name="T11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53">
                  <a:moveTo>
                    <a:pt x="52" y="23"/>
                  </a:moveTo>
                  <a:cubicBezTo>
                    <a:pt x="47" y="23"/>
                    <a:pt x="45" y="21"/>
                    <a:pt x="39" y="23"/>
                  </a:cubicBezTo>
                  <a:cubicBezTo>
                    <a:pt x="68" y="8"/>
                    <a:pt x="24" y="0"/>
                    <a:pt x="10" y="13"/>
                  </a:cubicBezTo>
                  <a:cubicBezTo>
                    <a:pt x="30" y="15"/>
                    <a:pt x="20" y="30"/>
                    <a:pt x="0" y="23"/>
                  </a:cubicBezTo>
                  <a:cubicBezTo>
                    <a:pt x="1" y="30"/>
                    <a:pt x="30" y="53"/>
                    <a:pt x="38" y="53"/>
                  </a:cubicBezTo>
                  <a:cubicBezTo>
                    <a:pt x="60" y="53"/>
                    <a:pt x="58" y="30"/>
                    <a:pt x="52" y="2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0" name="Freeform 125">
              <a:extLst>
                <a:ext uri="{FF2B5EF4-FFF2-40B4-BE49-F238E27FC236}">
                  <a16:creationId xmlns:a16="http://schemas.microsoft.com/office/drawing/2014/main" id="{1C9498F4-5B60-4E81-9333-8B658590C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" y="366"/>
              <a:ext cx="147" cy="64"/>
            </a:xfrm>
            <a:custGeom>
              <a:avLst/>
              <a:gdLst>
                <a:gd name="T0" fmla="*/ 37 w 83"/>
                <a:gd name="T1" fmla="*/ 1 h 36"/>
                <a:gd name="T2" fmla="*/ 49 w 83"/>
                <a:gd name="T3" fmla="*/ 13 h 36"/>
                <a:gd name="T4" fmla="*/ 30 w 83"/>
                <a:gd name="T5" fmla="*/ 6 h 36"/>
                <a:gd name="T6" fmla="*/ 37 w 83"/>
                <a:gd name="T7" fmla="*/ 16 h 36"/>
                <a:gd name="T8" fmla="*/ 7 w 83"/>
                <a:gd name="T9" fmla="*/ 1 h 36"/>
                <a:gd name="T10" fmla="*/ 10 w 83"/>
                <a:gd name="T11" fmla="*/ 8 h 36"/>
                <a:gd name="T12" fmla="*/ 22 w 83"/>
                <a:gd name="T13" fmla="*/ 18 h 36"/>
                <a:gd name="T14" fmla="*/ 56 w 83"/>
                <a:gd name="T15" fmla="*/ 20 h 36"/>
                <a:gd name="T16" fmla="*/ 45 w 83"/>
                <a:gd name="T17" fmla="*/ 32 h 36"/>
                <a:gd name="T18" fmla="*/ 73 w 83"/>
                <a:gd name="T19" fmla="*/ 10 h 36"/>
                <a:gd name="T20" fmla="*/ 37 w 83"/>
                <a:gd name="T21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36">
                  <a:moveTo>
                    <a:pt x="37" y="1"/>
                  </a:moveTo>
                  <a:cubicBezTo>
                    <a:pt x="44" y="3"/>
                    <a:pt x="49" y="6"/>
                    <a:pt x="49" y="13"/>
                  </a:cubicBezTo>
                  <a:cubicBezTo>
                    <a:pt x="43" y="11"/>
                    <a:pt x="36" y="9"/>
                    <a:pt x="30" y="6"/>
                  </a:cubicBezTo>
                  <a:cubicBezTo>
                    <a:pt x="32" y="9"/>
                    <a:pt x="33" y="12"/>
                    <a:pt x="37" y="16"/>
                  </a:cubicBezTo>
                  <a:cubicBezTo>
                    <a:pt x="26" y="13"/>
                    <a:pt x="19" y="3"/>
                    <a:pt x="7" y="1"/>
                  </a:cubicBezTo>
                  <a:cubicBezTo>
                    <a:pt x="8" y="4"/>
                    <a:pt x="9" y="6"/>
                    <a:pt x="10" y="8"/>
                  </a:cubicBezTo>
                  <a:cubicBezTo>
                    <a:pt x="0" y="5"/>
                    <a:pt x="18" y="16"/>
                    <a:pt x="22" y="18"/>
                  </a:cubicBezTo>
                  <a:cubicBezTo>
                    <a:pt x="33" y="22"/>
                    <a:pt x="43" y="18"/>
                    <a:pt x="56" y="20"/>
                  </a:cubicBezTo>
                  <a:cubicBezTo>
                    <a:pt x="48" y="24"/>
                    <a:pt x="49" y="26"/>
                    <a:pt x="45" y="32"/>
                  </a:cubicBezTo>
                  <a:cubicBezTo>
                    <a:pt x="59" y="36"/>
                    <a:pt x="83" y="30"/>
                    <a:pt x="73" y="10"/>
                  </a:cubicBezTo>
                  <a:cubicBezTo>
                    <a:pt x="67" y="0"/>
                    <a:pt x="49" y="1"/>
                    <a:pt x="37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1" name="Freeform 126">
              <a:extLst>
                <a:ext uri="{FF2B5EF4-FFF2-40B4-BE49-F238E27FC236}">
                  <a16:creationId xmlns:a16="http://schemas.microsoft.com/office/drawing/2014/main" id="{FBB3069A-C5E0-4AD9-93CE-E181C208B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588"/>
              <a:ext cx="69" cy="53"/>
            </a:xfrm>
            <a:custGeom>
              <a:avLst/>
              <a:gdLst>
                <a:gd name="T0" fmla="*/ 39 w 39"/>
                <a:gd name="T1" fmla="*/ 24 h 30"/>
                <a:gd name="T2" fmla="*/ 0 w 39"/>
                <a:gd name="T3" fmla="*/ 20 h 30"/>
                <a:gd name="T4" fmla="*/ 30 w 39"/>
                <a:gd name="T5" fmla="*/ 30 h 30"/>
                <a:gd name="T6" fmla="*/ 39 w 39"/>
                <a:gd name="T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0">
                  <a:moveTo>
                    <a:pt x="39" y="24"/>
                  </a:moveTo>
                  <a:cubicBezTo>
                    <a:pt x="22" y="0"/>
                    <a:pt x="18" y="14"/>
                    <a:pt x="0" y="20"/>
                  </a:cubicBezTo>
                  <a:cubicBezTo>
                    <a:pt x="10" y="24"/>
                    <a:pt x="20" y="28"/>
                    <a:pt x="30" y="30"/>
                  </a:cubicBezTo>
                  <a:cubicBezTo>
                    <a:pt x="33" y="28"/>
                    <a:pt x="36" y="26"/>
                    <a:pt x="39" y="2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2" name="Freeform 127">
              <a:extLst>
                <a:ext uri="{FF2B5EF4-FFF2-40B4-BE49-F238E27FC236}">
                  <a16:creationId xmlns:a16="http://schemas.microsoft.com/office/drawing/2014/main" id="{F5E2A804-D067-4B13-937D-BA8FE9F14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" y="439"/>
              <a:ext cx="92" cy="92"/>
            </a:xfrm>
            <a:custGeom>
              <a:avLst/>
              <a:gdLst>
                <a:gd name="T0" fmla="*/ 1 w 52"/>
                <a:gd name="T1" fmla="*/ 18 h 52"/>
                <a:gd name="T2" fmla="*/ 6 w 52"/>
                <a:gd name="T3" fmla="*/ 51 h 52"/>
                <a:gd name="T4" fmla="*/ 16 w 52"/>
                <a:gd name="T5" fmla="*/ 40 h 52"/>
                <a:gd name="T6" fmla="*/ 52 w 52"/>
                <a:gd name="T7" fmla="*/ 18 h 52"/>
                <a:gd name="T8" fmla="*/ 1 w 52"/>
                <a:gd name="T9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1" y="18"/>
                  </a:moveTo>
                  <a:cubicBezTo>
                    <a:pt x="0" y="30"/>
                    <a:pt x="7" y="39"/>
                    <a:pt x="6" y="51"/>
                  </a:cubicBezTo>
                  <a:cubicBezTo>
                    <a:pt x="16" y="52"/>
                    <a:pt x="23" y="44"/>
                    <a:pt x="16" y="40"/>
                  </a:cubicBezTo>
                  <a:cubicBezTo>
                    <a:pt x="34" y="37"/>
                    <a:pt x="40" y="29"/>
                    <a:pt x="52" y="18"/>
                  </a:cubicBezTo>
                  <a:cubicBezTo>
                    <a:pt x="45" y="0"/>
                    <a:pt x="11" y="18"/>
                    <a:pt x="1" y="1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3" name="Freeform 128">
              <a:extLst>
                <a:ext uri="{FF2B5EF4-FFF2-40B4-BE49-F238E27FC236}">
                  <a16:creationId xmlns:a16="http://schemas.microsoft.com/office/drawing/2014/main" id="{19E2FAB0-BFDF-45A0-8091-1F8CEC070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" y="325"/>
              <a:ext cx="30" cy="29"/>
            </a:xfrm>
            <a:custGeom>
              <a:avLst/>
              <a:gdLst>
                <a:gd name="T0" fmla="*/ 17 w 17"/>
                <a:gd name="T1" fmla="*/ 10 h 16"/>
                <a:gd name="T2" fmla="*/ 0 w 17"/>
                <a:gd name="T3" fmla="*/ 0 h 16"/>
                <a:gd name="T4" fmla="*/ 17 w 17"/>
                <a:gd name="T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17" y="10"/>
                  </a:moveTo>
                  <a:cubicBezTo>
                    <a:pt x="12" y="6"/>
                    <a:pt x="7" y="2"/>
                    <a:pt x="0" y="0"/>
                  </a:cubicBezTo>
                  <a:cubicBezTo>
                    <a:pt x="3" y="9"/>
                    <a:pt x="10" y="16"/>
                    <a:pt x="17" y="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4" name="Freeform 129">
              <a:extLst>
                <a:ext uri="{FF2B5EF4-FFF2-40B4-BE49-F238E27FC236}">
                  <a16:creationId xmlns:a16="http://schemas.microsoft.com/office/drawing/2014/main" id="{A2B17D6B-4A4E-4188-82F8-A926CB737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409"/>
              <a:ext cx="19" cy="19"/>
            </a:xfrm>
            <a:custGeom>
              <a:avLst/>
              <a:gdLst>
                <a:gd name="T0" fmla="*/ 9 w 11"/>
                <a:gd name="T1" fmla="*/ 0 h 11"/>
                <a:gd name="T2" fmla="*/ 0 w 11"/>
                <a:gd name="T3" fmla="*/ 9 h 11"/>
                <a:gd name="T4" fmla="*/ 9 w 11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9" y="0"/>
                  </a:moveTo>
                  <a:cubicBezTo>
                    <a:pt x="5" y="2"/>
                    <a:pt x="2" y="4"/>
                    <a:pt x="0" y="9"/>
                  </a:cubicBezTo>
                  <a:cubicBezTo>
                    <a:pt x="11" y="11"/>
                    <a:pt x="9" y="7"/>
                    <a:pt x="9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5" name="Freeform 130">
              <a:extLst>
                <a:ext uri="{FF2B5EF4-FFF2-40B4-BE49-F238E27FC236}">
                  <a16:creationId xmlns:a16="http://schemas.microsoft.com/office/drawing/2014/main" id="{6A116200-F014-42CE-B1AF-F4A052C87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" y="261"/>
              <a:ext cx="114" cy="66"/>
            </a:xfrm>
            <a:custGeom>
              <a:avLst/>
              <a:gdLst>
                <a:gd name="T0" fmla="*/ 15 w 64"/>
                <a:gd name="T1" fmla="*/ 13 h 37"/>
                <a:gd name="T2" fmla="*/ 5 w 64"/>
                <a:gd name="T3" fmla="*/ 21 h 37"/>
                <a:gd name="T4" fmla="*/ 42 w 64"/>
                <a:gd name="T5" fmla="*/ 27 h 37"/>
                <a:gd name="T6" fmla="*/ 64 w 64"/>
                <a:gd name="T7" fmla="*/ 31 h 37"/>
                <a:gd name="T8" fmla="*/ 54 w 64"/>
                <a:gd name="T9" fmla="*/ 16 h 37"/>
                <a:gd name="T10" fmla="*/ 39 w 64"/>
                <a:gd name="T11" fmla="*/ 11 h 37"/>
                <a:gd name="T12" fmla="*/ 0 w 64"/>
                <a:gd name="T13" fmla="*/ 4 h 37"/>
                <a:gd name="T14" fmla="*/ 3 w 64"/>
                <a:gd name="T15" fmla="*/ 13 h 37"/>
                <a:gd name="T16" fmla="*/ 15 w 64"/>
                <a:gd name="T1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37">
                  <a:moveTo>
                    <a:pt x="15" y="13"/>
                  </a:moveTo>
                  <a:cubicBezTo>
                    <a:pt x="12" y="17"/>
                    <a:pt x="13" y="19"/>
                    <a:pt x="5" y="21"/>
                  </a:cubicBezTo>
                  <a:cubicBezTo>
                    <a:pt x="17" y="25"/>
                    <a:pt x="30" y="26"/>
                    <a:pt x="42" y="27"/>
                  </a:cubicBezTo>
                  <a:cubicBezTo>
                    <a:pt x="49" y="33"/>
                    <a:pt x="57" y="37"/>
                    <a:pt x="64" y="31"/>
                  </a:cubicBezTo>
                  <a:cubicBezTo>
                    <a:pt x="56" y="25"/>
                    <a:pt x="57" y="19"/>
                    <a:pt x="54" y="16"/>
                  </a:cubicBezTo>
                  <a:cubicBezTo>
                    <a:pt x="47" y="11"/>
                    <a:pt x="44" y="15"/>
                    <a:pt x="39" y="11"/>
                  </a:cubicBezTo>
                  <a:cubicBezTo>
                    <a:pt x="31" y="5"/>
                    <a:pt x="11" y="0"/>
                    <a:pt x="0" y="4"/>
                  </a:cubicBezTo>
                  <a:cubicBezTo>
                    <a:pt x="1" y="6"/>
                    <a:pt x="3" y="13"/>
                    <a:pt x="3" y="13"/>
                  </a:cubicBezTo>
                  <a:cubicBezTo>
                    <a:pt x="7" y="13"/>
                    <a:pt x="12" y="14"/>
                    <a:pt x="15" y="1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6" name="Freeform 131">
              <a:extLst>
                <a:ext uri="{FF2B5EF4-FFF2-40B4-BE49-F238E27FC236}">
                  <a16:creationId xmlns:a16="http://schemas.microsoft.com/office/drawing/2014/main" id="{73CE6847-2D4F-475C-A667-0609E4D27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" y="311"/>
              <a:ext cx="20" cy="14"/>
            </a:xfrm>
            <a:custGeom>
              <a:avLst/>
              <a:gdLst>
                <a:gd name="T0" fmla="*/ 0 w 11"/>
                <a:gd name="T1" fmla="*/ 8 h 8"/>
                <a:gd name="T2" fmla="*/ 11 w 11"/>
                <a:gd name="T3" fmla="*/ 6 h 8"/>
                <a:gd name="T4" fmla="*/ 0 w 11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8">
                  <a:moveTo>
                    <a:pt x="0" y="8"/>
                  </a:moveTo>
                  <a:cubicBezTo>
                    <a:pt x="4" y="7"/>
                    <a:pt x="8" y="7"/>
                    <a:pt x="11" y="6"/>
                  </a:cubicBezTo>
                  <a:cubicBezTo>
                    <a:pt x="4" y="0"/>
                    <a:pt x="5" y="6"/>
                    <a:pt x="0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7" name="Freeform 132">
              <a:extLst>
                <a:ext uri="{FF2B5EF4-FFF2-40B4-BE49-F238E27FC236}">
                  <a16:creationId xmlns:a16="http://schemas.microsoft.com/office/drawing/2014/main" id="{45345638-5128-4DD5-9161-F2A67A85A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" y="340"/>
              <a:ext cx="300" cy="108"/>
            </a:xfrm>
            <a:custGeom>
              <a:avLst/>
              <a:gdLst>
                <a:gd name="T0" fmla="*/ 76 w 169"/>
                <a:gd name="T1" fmla="*/ 54 h 61"/>
                <a:gd name="T2" fmla="*/ 125 w 169"/>
                <a:gd name="T3" fmla="*/ 59 h 61"/>
                <a:gd name="T4" fmla="*/ 148 w 169"/>
                <a:gd name="T5" fmla="*/ 59 h 61"/>
                <a:gd name="T6" fmla="*/ 169 w 169"/>
                <a:gd name="T7" fmla="*/ 47 h 61"/>
                <a:gd name="T8" fmla="*/ 165 w 169"/>
                <a:gd name="T9" fmla="*/ 47 h 61"/>
                <a:gd name="T10" fmla="*/ 167 w 169"/>
                <a:gd name="T11" fmla="*/ 44 h 61"/>
                <a:gd name="T12" fmla="*/ 169 w 169"/>
                <a:gd name="T13" fmla="*/ 43 h 61"/>
                <a:gd name="T14" fmla="*/ 116 w 169"/>
                <a:gd name="T15" fmla="*/ 40 h 61"/>
                <a:gd name="T16" fmla="*/ 69 w 169"/>
                <a:gd name="T17" fmla="*/ 36 h 61"/>
                <a:gd name="T18" fmla="*/ 71 w 169"/>
                <a:gd name="T19" fmla="*/ 35 h 61"/>
                <a:gd name="T20" fmla="*/ 56 w 169"/>
                <a:gd name="T21" fmla="*/ 27 h 61"/>
                <a:gd name="T22" fmla="*/ 70 w 169"/>
                <a:gd name="T23" fmla="*/ 27 h 61"/>
                <a:gd name="T24" fmla="*/ 33 w 169"/>
                <a:gd name="T25" fmla="*/ 18 h 61"/>
                <a:gd name="T26" fmla="*/ 0 w 169"/>
                <a:gd name="T27" fmla="*/ 12 h 61"/>
                <a:gd name="T28" fmla="*/ 43 w 169"/>
                <a:gd name="T29" fmla="*/ 36 h 61"/>
                <a:gd name="T30" fmla="*/ 51 w 169"/>
                <a:gd name="T31" fmla="*/ 54 h 61"/>
                <a:gd name="T32" fmla="*/ 76 w 169"/>
                <a:gd name="T33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9" h="61">
                  <a:moveTo>
                    <a:pt x="76" y="54"/>
                  </a:moveTo>
                  <a:cubicBezTo>
                    <a:pt x="90" y="55"/>
                    <a:pt x="107" y="59"/>
                    <a:pt x="125" y="59"/>
                  </a:cubicBezTo>
                  <a:cubicBezTo>
                    <a:pt x="132" y="59"/>
                    <a:pt x="141" y="60"/>
                    <a:pt x="148" y="59"/>
                  </a:cubicBezTo>
                  <a:cubicBezTo>
                    <a:pt x="158" y="58"/>
                    <a:pt x="165" y="58"/>
                    <a:pt x="169" y="47"/>
                  </a:cubicBezTo>
                  <a:cubicBezTo>
                    <a:pt x="167" y="47"/>
                    <a:pt x="166" y="47"/>
                    <a:pt x="165" y="47"/>
                  </a:cubicBezTo>
                  <a:cubicBezTo>
                    <a:pt x="165" y="46"/>
                    <a:pt x="166" y="45"/>
                    <a:pt x="167" y="44"/>
                  </a:cubicBezTo>
                  <a:cubicBezTo>
                    <a:pt x="168" y="44"/>
                    <a:pt x="168" y="43"/>
                    <a:pt x="169" y="43"/>
                  </a:cubicBezTo>
                  <a:cubicBezTo>
                    <a:pt x="156" y="25"/>
                    <a:pt x="133" y="36"/>
                    <a:pt x="116" y="40"/>
                  </a:cubicBezTo>
                  <a:cubicBezTo>
                    <a:pt x="99" y="43"/>
                    <a:pt x="85" y="42"/>
                    <a:pt x="69" y="36"/>
                  </a:cubicBezTo>
                  <a:cubicBezTo>
                    <a:pt x="70" y="36"/>
                    <a:pt x="70" y="35"/>
                    <a:pt x="71" y="35"/>
                  </a:cubicBezTo>
                  <a:cubicBezTo>
                    <a:pt x="64" y="33"/>
                    <a:pt x="62" y="30"/>
                    <a:pt x="56" y="27"/>
                  </a:cubicBezTo>
                  <a:cubicBezTo>
                    <a:pt x="60" y="27"/>
                    <a:pt x="65" y="26"/>
                    <a:pt x="70" y="27"/>
                  </a:cubicBezTo>
                  <a:cubicBezTo>
                    <a:pt x="53" y="18"/>
                    <a:pt x="49" y="21"/>
                    <a:pt x="33" y="18"/>
                  </a:cubicBezTo>
                  <a:cubicBezTo>
                    <a:pt x="20" y="15"/>
                    <a:pt x="15" y="0"/>
                    <a:pt x="0" y="12"/>
                  </a:cubicBezTo>
                  <a:cubicBezTo>
                    <a:pt x="18" y="27"/>
                    <a:pt x="30" y="19"/>
                    <a:pt x="43" y="36"/>
                  </a:cubicBezTo>
                  <a:cubicBezTo>
                    <a:pt x="48" y="42"/>
                    <a:pt x="38" y="47"/>
                    <a:pt x="51" y="54"/>
                  </a:cubicBezTo>
                  <a:cubicBezTo>
                    <a:pt x="64" y="61"/>
                    <a:pt x="65" y="53"/>
                    <a:pt x="76" y="5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8" name="Freeform 133">
              <a:extLst>
                <a:ext uri="{FF2B5EF4-FFF2-40B4-BE49-F238E27FC236}">
                  <a16:creationId xmlns:a16="http://schemas.microsoft.com/office/drawing/2014/main" id="{1ED92F01-A124-46EB-A6EF-54B5C3E01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379"/>
              <a:ext cx="83" cy="87"/>
            </a:xfrm>
            <a:custGeom>
              <a:avLst/>
              <a:gdLst>
                <a:gd name="T0" fmla="*/ 5 w 47"/>
                <a:gd name="T1" fmla="*/ 21 h 49"/>
                <a:gd name="T2" fmla="*/ 0 w 47"/>
                <a:gd name="T3" fmla="*/ 26 h 49"/>
                <a:gd name="T4" fmla="*/ 5 w 47"/>
                <a:gd name="T5" fmla="*/ 2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9">
                  <a:moveTo>
                    <a:pt x="5" y="21"/>
                  </a:moveTo>
                  <a:cubicBezTo>
                    <a:pt x="3" y="23"/>
                    <a:pt x="2" y="25"/>
                    <a:pt x="0" y="26"/>
                  </a:cubicBezTo>
                  <a:cubicBezTo>
                    <a:pt x="47" y="49"/>
                    <a:pt x="18" y="0"/>
                    <a:pt x="5" y="2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9" name="Freeform 134">
              <a:extLst>
                <a:ext uri="{FF2B5EF4-FFF2-40B4-BE49-F238E27FC236}">
                  <a16:creationId xmlns:a16="http://schemas.microsoft.com/office/drawing/2014/main" id="{EE8BC123-19BB-44C9-8AE4-D0CA13303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" y="325"/>
              <a:ext cx="62" cy="18"/>
            </a:xfrm>
            <a:custGeom>
              <a:avLst/>
              <a:gdLst>
                <a:gd name="T0" fmla="*/ 22 w 35"/>
                <a:gd name="T1" fmla="*/ 0 h 10"/>
                <a:gd name="T2" fmla="*/ 0 w 35"/>
                <a:gd name="T3" fmla="*/ 4 h 10"/>
                <a:gd name="T4" fmla="*/ 22 w 3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10">
                  <a:moveTo>
                    <a:pt x="22" y="0"/>
                  </a:moveTo>
                  <a:cubicBezTo>
                    <a:pt x="14" y="0"/>
                    <a:pt x="7" y="1"/>
                    <a:pt x="0" y="4"/>
                  </a:cubicBezTo>
                  <a:cubicBezTo>
                    <a:pt x="8" y="6"/>
                    <a:pt x="35" y="10"/>
                    <a:pt x="22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0" name="Freeform 135">
              <a:extLst>
                <a:ext uri="{FF2B5EF4-FFF2-40B4-BE49-F238E27FC236}">
                  <a16:creationId xmlns:a16="http://schemas.microsoft.com/office/drawing/2014/main" id="{C819F891-868C-4D19-BB2E-94C17D9F9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" y="263"/>
              <a:ext cx="89" cy="71"/>
            </a:xfrm>
            <a:custGeom>
              <a:avLst/>
              <a:gdLst>
                <a:gd name="T0" fmla="*/ 16 w 50"/>
                <a:gd name="T1" fmla="*/ 31 h 40"/>
                <a:gd name="T2" fmla="*/ 28 w 50"/>
                <a:gd name="T3" fmla="*/ 15 h 40"/>
                <a:gd name="T4" fmla="*/ 16 w 50"/>
                <a:gd name="T5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0" h="40">
                  <a:moveTo>
                    <a:pt x="16" y="31"/>
                  </a:moveTo>
                  <a:cubicBezTo>
                    <a:pt x="34" y="40"/>
                    <a:pt x="50" y="26"/>
                    <a:pt x="28" y="15"/>
                  </a:cubicBezTo>
                  <a:cubicBezTo>
                    <a:pt x="0" y="0"/>
                    <a:pt x="18" y="25"/>
                    <a:pt x="16" y="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1" name="Freeform 136">
              <a:extLst>
                <a:ext uri="{FF2B5EF4-FFF2-40B4-BE49-F238E27FC236}">
                  <a16:creationId xmlns:a16="http://schemas.microsoft.com/office/drawing/2014/main" id="{A1925D47-BB40-49D6-8207-1DAF33190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238"/>
              <a:ext cx="22" cy="20"/>
            </a:xfrm>
            <a:custGeom>
              <a:avLst/>
              <a:gdLst>
                <a:gd name="T0" fmla="*/ 12 w 12"/>
                <a:gd name="T1" fmla="*/ 0 h 11"/>
                <a:gd name="T2" fmla="*/ 0 w 12"/>
                <a:gd name="T3" fmla="*/ 0 h 11"/>
                <a:gd name="T4" fmla="*/ 12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cubicBezTo>
                    <a:pt x="8" y="0"/>
                    <a:pt x="4" y="0"/>
                    <a:pt x="0" y="0"/>
                  </a:cubicBezTo>
                  <a:cubicBezTo>
                    <a:pt x="6" y="8"/>
                    <a:pt x="11" y="11"/>
                    <a:pt x="12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2" name="Freeform 137">
              <a:extLst>
                <a:ext uri="{FF2B5EF4-FFF2-40B4-BE49-F238E27FC236}">
                  <a16:creationId xmlns:a16="http://schemas.microsoft.com/office/drawing/2014/main" id="{7B4FA979-476F-4ECA-AA83-D26A5CC3D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83"/>
              <a:ext cx="232" cy="133"/>
            </a:xfrm>
            <a:custGeom>
              <a:avLst/>
              <a:gdLst>
                <a:gd name="T0" fmla="*/ 0 w 131"/>
                <a:gd name="T1" fmla="*/ 28 h 75"/>
                <a:gd name="T2" fmla="*/ 20 w 131"/>
                <a:gd name="T3" fmla="*/ 39 h 75"/>
                <a:gd name="T4" fmla="*/ 12 w 131"/>
                <a:gd name="T5" fmla="*/ 43 h 75"/>
                <a:gd name="T6" fmla="*/ 52 w 131"/>
                <a:gd name="T7" fmla="*/ 48 h 75"/>
                <a:gd name="T8" fmla="*/ 26 w 131"/>
                <a:gd name="T9" fmla="*/ 55 h 75"/>
                <a:gd name="T10" fmla="*/ 41 w 131"/>
                <a:gd name="T11" fmla="*/ 64 h 75"/>
                <a:gd name="T12" fmla="*/ 71 w 131"/>
                <a:gd name="T13" fmla="*/ 71 h 75"/>
                <a:gd name="T14" fmla="*/ 77 w 131"/>
                <a:gd name="T15" fmla="*/ 67 h 75"/>
                <a:gd name="T16" fmla="*/ 77 w 131"/>
                <a:gd name="T17" fmla="*/ 54 h 75"/>
                <a:gd name="T18" fmla="*/ 84 w 131"/>
                <a:gd name="T19" fmla="*/ 39 h 75"/>
                <a:gd name="T20" fmla="*/ 75 w 131"/>
                <a:gd name="T21" fmla="*/ 23 h 75"/>
                <a:gd name="T22" fmla="*/ 72 w 131"/>
                <a:gd name="T23" fmla="*/ 30 h 75"/>
                <a:gd name="T24" fmla="*/ 50 w 131"/>
                <a:gd name="T25" fmla="*/ 15 h 75"/>
                <a:gd name="T26" fmla="*/ 19 w 131"/>
                <a:gd name="T27" fmla="*/ 0 h 75"/>
                <a:gd name="T28" fmla="*/ 30 w 131"/>
                <a:gd name="T29" fmla="*/ 8 h 75"/>
                <a:gd name="T30" fmla="*/ 11 w 131"/>
                <a:gd name="T31" fmla="*/ 11 h 75"/>
                <a:gd name="T32" fmla="*/ 25 w 131"/>
                <a:gd name="T33" fmla="*/ 16 h 75"/>
                <a:gd name="T34" fmla="*/ 4 w 131"/>
                <a:gd name="T35" fmla="*/ 21 h 75"/>
                <a:gd name="T36" fmla="*/ 19 w 131"/>
                <a:gd name="T37" fmla="*/ 28 h 75"/>
                <a:gd name="T38" fmla="*/ 0 w 131"/>
                <a:gd name="T39" fmla="*/ 2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1" h="75">
                  <a:moveTo>
                    <a:pt x="0" y="28"/>
                  </a:moveTo>
                  <a:cubicBezTo>
                    <a:pt x="3" y="37"/>
                    <a:pt x="11" y="40"/>
                    <a:pt x="20" y="39"/>
                  </a:cubicBezTo>
                  <a:cubicBezTo>
                    <a:pt x="18" y="40"/>
                    <a:pt x="15" y="42"/>
                    <a:pt x="12" y="43"/>
                  </a:cubicBezTo>
                  <a:cubicBezTo>
                    <a:pt x="24" y="48"/>
                    <a:pt x="37" y="43"/>
                    <a:pt x="52" y="48"/>
                  </a:cubicBezTo>
                  <a:cubicBezTo>
                    <a:pt x="43" y="48"/>
                    <a:pt x="33" y="50"/>
                    <a:pt x="26" y="55"/>
                  </a:cubicBezTo>
                  <a:cubicBezTo>
                    <a:pt x="31" y="60"/>
                    <a:pt x="33" y="63"/>
                    <a:pt x="41" y="64"/>
                  </a:cubicBezTo>
                  <a:cubicBezTo>
                    <a:pt x="31" y="75"/>
                    <a:pt x="64" y="65"/>
                    <a:pt x="71" y="71"/>
                  </a:cubicBezTo>
                  <a:cubicBezTo>
                    <a:pt x="74" y="68"/>
                    <a:pt x="73" y="70"/>
                    <a:pt x="77" y="67"/>
                  </a:cubicBezTo>
                  <a:cubicBezTo>
                    <a:pt x="74" y="58"/>
                    <a:pt x="77" y="62"/>
                    <a:pt x="77" y="54"/>
                  </a:cubicBezTo>
                  <a:cubicBezTo>
                    <a:pt x="83" y="65"/>
                    <a:pt x="131" y="41"/>
                    <a:pt x="84" y="39"/>
                  </a:cubicBezTo>
                  <a:cubicBezTo>
                    <a:pt x="87" y="31"/>
                    <a:pt x="82" y="25"/>
                    <a:pt x="75" y="23"/>
                  </a:cubicBezTo>
                  <a:cubicBezTo>
                    <a:pt x="79" y="29"/>
                    <a:pt x="73" y="28"/>
                    <a:pt x="72" y="30"/>
                  </a:cubicBezTo>
                  <a:cubicBezTo>
                    <a:pt x="67" y="14"/>
                    <a:pt x="56" y="25"/>
                    <a:pt x="50" y="15"/>
                  </a:cubicBezTo>
                  <a:cubicBezTo>
                    <a:pt x="41" y="4"/>
                    <a:pt x="33" y="1"/>
                    <a:pt x="19" y="0"/>
                  </a:cubicBezTo>
                  <a:cubicBezTo>
                    <a:pt x="23" y="2"/>
                    <a:pt x="26" y="6"/>
                    <a:pt x="30" y="8"/>
                  </a:cubicBezTo>
                  <a:cubicBezTo>
                    <a:pt x="22" y="7"/>
                    <a:pt x="17" y="9"/>
                    <a:pt x="11" y="11"/>
                  </a:cubicBezTo>
                  <a:cubicBezTo>
                    <a:pt x="17" y="14"/>
                    <a:pt x="16" y="17"/>
                    <a:pt x="25" y="16"/>
                  </a:cubicBezTo>
                  <a:cubicBezTo>
                    <a:pt x="18" y="18"/>
                    <a:pt x="12" y="18"/>
                    <a:pt x="4" y="21"/>
                  </a:cubicBezTo>
                  <a:cubicBezTo>
                    <a:pt x="10" y="23"/>
                    <a:pt x="13" y="27"/>
                    <a:pt x="19" y="28"/>
                  </a:cubicBezTo>
                  <a:cubicBezTo>
                    <a:pt x="14" y="31"/>
                    <a:pt x="7" y="30"/>
                    <a:pt x="0" y="2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3" name="Freeform 138">
              <a:extLst>
                <a:ext uri="{FF2B5EF4-FFF2-40B4-BE49-F238E27FC236}">
                  <a16:creationId xmlns:a16="http://schemas.microsoft.com/office/drawing/2014/main" id="{879DDD09-3996-47CB-95E4-8256F7266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718"/>
              <a:ext cx="124" cy="78"/>
            </a:xfrm>
            <a:custGeom>
              <a:avLst/>
              <a:gdLst>
                <a:gd name="T0" fmla="*/ 20 w 70"/>
                <a:gd name="T1" fmla="*/ 0 h 44"/>
                <a:gd name="T2" fmla="*/ 5 w 70"/>
                <a:gd name="T3" fmla="*/ 31 h 44"/>
                <a:gd name="T4" fmla="*/ 0 w 70"/>
                <a:gd name="T5" fmla="*/ 37 h 44"/>
                <a:gd name="T6" fmla="*/ 17 w 70"/>
                <a:gd name="T7" fmla="*/ 44 h 44"/>
                <a:gd name="T8" fmla="*/ 39 w 70"/>
                <a:gd name="T9" fmla="*/ 31 h 44"/>
                <a:gd name="T10" fmla="*/ 70 w 70"/>
                <a:gd name="T11" fmla="*/ 34 h 44"/>
                <a:gd name="T12" fmla="*/ 20 w 70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44">
                  <a:moveTo>
                    <a:pt x="20" y="0"/>
                  </a:moveTo>
                  <a:cubicBezTo>
                    <a:pt x="7" y="5"/>
                    <a:pt x="10" y="20"/>
                    <a:pt x="5" y="31"/>
                  </a:cubicBezTo>
                  <a:cubicBezTo>
                    <a:pt x="3" y="33"/>
                    <a:pt x="1" y="35"/>
                    <a:pt x="0" y="37"/>
                  </a:cubicBezTo>
                  <a:cubicBezTo>
                    <a:pt x="8" y="35"/>
                    <a:pt x="14" y="36"/>
                    <a:pt x="17" y="44"/>
                  </a:cubicBezTo>
                  <a:cubicBezTo>
                    <a:pt x="24" y="42"/>
                    <a:pt x="36" y="29"/>
                    <a:pt x="39" y="31"/>
                  </a:cubicBezTo>
                  <a:cubicBezTo>
                    <a:pt x="50" y="37"/>
                    <a:pt x="57" y="39"/>
                    <a:pt x="70" y="34"/>
                  </a:cubicBezTo>
                  <a:cubicBezTo>
                    <a:pt x="57" y="31"/>
                    <a:pt x="23" y="8"/>
                    <a:pt x="2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4" name="Freeform 139">
              <a:extLst>
                <a:ext uri="{FF2B5EF4-FFF2-40B4-BE49-F238E27FC236}">
                  <a16:creationId xmlns:a16="http://schemas.microsoft.com/office/drawing/2014/main" id="{66DA6F6E-4FDF-4553-9CD7-98DB94875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0" y="636"/>
              <a:ext cx="45" cy="44"/>
            </a:xfrm>
            <a:custGeom>
              <a:avLst/>
              <a:gdLst>
                <a:gd name="T0" fmla="*/ 25 w 25"/>
                <a:gd name="T1" fmla="*/ 16 h 25"/>
                <a:gd name="T2" fmla="*/ 6 w 25"/>
                <a:gd name="T3" fmla="*/ 18 h 25"/>
                <a:gd name="T4" fmla="*/ 25 w 25"/>
                <a:gd name="T5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25">
                  <a:moveTo>
                    <a:pt x="25" y="16"/>
                  </a:moveTo>
                  <a:cubicBezTo>
                    <a:pt x="19" y="0"/>
                    <a:pt x="0" y="12"/>
                    <a:pt x="6" y="18"/>
                  </a:cubicBezTo>
                  <a:cubicBezTo>
                    <a:pt x="14" y="24"/>
                    <a:pt x="19" y="25"/>
                    <a:pt x="25" y="1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5" name="Freeform 140">
              <a:extLst>
                <a:ext uri="{FF2B5EF4-FFF2-40B4-BE49-F238E27FC236}">
                  <a16:creationId xmlns:a16="http://schemas.microsoft.com/office/drawing/2014/main" id="{BCB17C92-BBF4-423A-B4A8-AE6389863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" y="801"/>
              <a:ext cx="32" cy="23"/>
            </a:xfrm>
            <a:custGeom>
              <a:avLst/>
              <a:gdLst>
                <a:gd name="T0" fmla="*/ 0 w 18"/>
                <a:gd name="T1" fmla="*/ 13 h 13"/>
                <a:gd name="T2" fmla="*/ 18 w 18"/>
                <a:gd name="T3" fmla="*/ 1 h 13"/>
                <a:gd name="T4" fmla="*/ 8 w 18"/>
                <a:gd name="T5" fmla="*/ 0 h 13"/>
                <a:gd name="T6" fmla="*/ 0 w 18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3">
                  <a:moveTo>
                    <a:pt x="0" y="13"/>
                  </a:moveTo>
                  <a:cubicBezTo>
                    <a:pt x="7" y="10"/>
                    <a:pt x="13" y="6"/>
                    <a:pt x="18" y="1"/>
                  </a:cubicBezTo>
                  <a:cubicBezTo>
                    <a:pt x="14" y="1"/>
                    <a:pt x="11" y="0"/>
                    <a:pt x="8" y="0"/>
                  </a:cubicBezTo>
                  <a:cubicBezTo>
                    <a:pt x="3" y="4"/>
                    <a:pt x="0" y="7"/>
                    <a:pt x="0" y="1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6" name="Freeform 141">
              <a:extLst>
                <a:ext uri="{FF2B5EF4-FFF2-40B4-BE49-F238E27FC236}">
                  <a16:creationId xmlns:a16="http://schemas.microsoft.com/office/drawing/2014/main" id="{110E8BFB-B009-4DE1-AE5C-C482FF642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458"/>
              <a:ext cx="81" cy="50"/>
            </a:xfrm>
            <a:custGeom>
              <a:avLst/>
              <a:gdLst>
                <a:gd name="T0" fmla="*/ 17 w 46"/>
                <a:gd name="T1" fmla="*/ 26 h 28"/>
                <a:gd name="T2" fmla="*/ 46 w 46"/>
                <a:gd name="T3" fmla="*/ 20 h 28"/>
                <a:gd name="T4" fmla="*/ 0 w 46"/>
                <a:gd name="T5" fmla="*/ 11 h 28"/>
                <a:gd name="T6" fmla="*/ 17 w 46"/>
                <a:gd name="T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28">
                  <a:moveTo>
                    <a:pt x="17" y="26"/>
                  </a:moveTo>
                  <a:cubicBezTo>
                    <a:pt x="28" y="21"/>
                    <a:pt x="38" y="28"/>
                    <a:pt x="46" y="20"/>
                  </a:cubicBezTo>
                  <a:cubicBezTo>
                    <a:pt x="36" y="12"/>
                    <a:pt x="10" y="0"/>
                    <a:pt x="0" y="11"/>
                  </a:cubicBezTo>
                  <a:cubicBezTo>
                    <a:pt x="5" y="19"/>
                    <a:pt x="9" y="24"/>
                    <a:pt x="17" y="2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7" name="Freeform 142">
              <a:extLst>
                <a:ext uri="{FF2B5EF4-FFF2-40B4-BE49-F238E27FC236}">
                  <a16:creationId xmlns:a16="http://schemas.microsoft.com/office/drawing/2014/main" id="{7EC40A62-3F8E-4E83-9822-81185AE73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" y="817"/>
              <a:ext cx="21" cy="19"/>
            </a:xfrm>
            <a:custGeom>
              <a:avLst/>
              <a:gdLst>
                <a:gd name="T0" fmla="*/ 12 w 12"/>
                <a:gd name="T1" fmla="*/ 3 h 11"/>
                <a:gd name="T2" fmla="*/ 6 w 12"/>
                <a:gd name="T3" fmla="*/ 11 h 11"/>
                <a:gd name="T4" fmla="*/ 12 w 12"/>
                <a:gd name="T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12" y="3"/>
                  </a:moveTo>
                  <a:cubicBezTo>
                    <a:pt x="3" y="0"/>
                    <a:pt x="0" y="2"/>
                    <a:pt x="6" y="11"/>
                  </a:cubicBezTo>
                  <a:cubicBezTo>
                    <a:pt x="8" y="8"/>
                    <a:pt x="10" y="6"/>
                    <a:pt x="12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8" name="Freeform 143">
              <a:extLst>
                <a:ext uri="{FF2B5EF4-FFF2-40B4-BE49-F238E27FC236}">
                  <a16:creationId xmlns:a16="http://schemas.microsoft.com/office/drawing/2014/main" id="{28A9378D-24BB-456E-99AB-29C2081C7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2" y="652"/>
              <a:ext cx="19" cy="9"/>
            </a:xfrm>
            <a:custGeom>
              <a:avLst/>
              <a:gdLst>
                <a:gd name="T0" fmla="*/ 11 w 11"/>
                <a:gd name="T1" fmla="*/ 5 h 5"/>
                <a:gd name="T2" fmla="*/ 0 w 11"/>
                <a:gd name="T3" fmla="*/ 3 h 5"/>
                <a:gd name="T4" fmla="*/ 4 w 11"/>
                <a:gd name="T5" fmla="*/ 5 h 5"/>
                <a:gd name="T6" fmla="*/ 11 w 1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5">
                  <a:moveTo>
                    <a:pt x="11" y="5"/>
                  </a:moveTo>
                  <a:cubicBezTo>
                    <a:pt x="3" y="0"/>
                    <a:pt x="7" y="1"/>
                    <a:pt x="0" y="3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5"/>
                    <a:pt x="9" y="5"/>
                    <a:pt x="11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9" name="Freeform 144">
              <a:extLst>
                <a:ext uri="{FF2B5EF4-FFF2-40B4-BE49-F238E27FC236}">
                  <a16:creationId xmlns:a16="http://schemas.microsoft.com/office/drawing/2014/main" id="{43557CFF-B86F-478D-A454-9C40C4333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" y="442"/>
              <a:ext cx="550" cy="389"/>
            </a:xfrm>
            <a:custGeom>
              <a:avLst/>
              <a:gdLst>
                <a:gd name="T0" fmla="*/ 227 w 310"/>
                <a:gd name="T1" fmla="*/ 71 h 219"/>
                <a:gd name="T2" fmla="*/ 191 w 310"/>
                <a:gd name="T3" fmla="*/ 57 h 219"/>
                <a:gd name="T4" fmla="*/ 152 w 310"/>
                <a:gd name="T5" fmla="*/ 37 h 219"/>
                <a:gd name="T6" fmla="*/ 119 w 310"/>
                <a:gd name="T7" fmla="*/ 44 h 219"/>
                <a:gd name="T8" fmla="*/ 93 w 310"/>
                <a:gd name="T9" fmla="*/ 20 h 219"/>
                <a:gd name="T10" fmla="*/ 65 w 310"/>
                <a:gd name="T11" fmla="*/ 51 h 219"/>
                <a:gd name="T12" fmla="*/ 74 w 310"/>
                <a:gd name="T13" fmla="*/ 18 h 219"/>
                <a:gd name="T14" fmla="*/ 50 w 310"/>
                <a:gd name="T15" fmla="*/ 65 h 219"/>
                <a:gd name="T16" fmla="*/ 49 w 310"/>
                <a:gd name="T17" fmla="*/ 70 h 219"/>
                <a:gd name="T18" fmla="*/ 34 w 310"/>
                <a:gd name="T19" fmla="*/ 69 h 219"/>
                <a:gd name="T20" fmla="*/ 124 w 310"/>
                <a:gd name="T21" fmla="*/ 94 h 219"/>
                <a:gd name="T22" fmla="*/ 166 w 310"/>
                <a:gd name="T23" fmla="*/ 100 h 219"/>
                <a:gd name="T24" fmla="*/ 157 w 310"/>
                <a:gd name="T25" fmla="*/ 104 h 219"/>
                <a:gd name="T26" fmla="*/ 192 w 310"/>
                <a:gd name="T27" fmla="*/ 117 h 219"/>
                <a:gd name="T28" fmla="*/ 181 w 310"/>
                <a:gd name="T29" fmla="*/ 151 h 219"/>
                <a:gd name="T30" fmla="*/ 188 w 310"/>
                <a:gd name="T31" fmla="*/ 158 h 219"/>
                <a:gd name="T32" fmla="*/ 143 w 310"/>
                <a:gd name="T33" fmla="*/ 172 h 219"/>
                <a:gd name="T34" fmla="*/ 172 w 310"/>
                <a:gd name="T35" fmla="*/ 178 h 219"/>
                <a:gd name="T36" fmla="*/ 186 w 310"/>
                <a:gd name="T37" fmla="*/ 177 h 219"/>
                <a:gd name="T38" fmla="*/ 201 w 310"/>
                <a:gd name="T39" fmla="*/ 188 h 219"/>
                <a:gd name="T40" fmla="*/ 231 w 310"/>
                <a:gd name="T41" fmla="*/ 207 h 219"/>
                <a:gd name="T42" fmla="*/ 260 w 310"/>
                <a:gd name="T43" fmla="*/ 219 h 219"/>
                <a:gd name="T44" fmla="*/ 238 w 310"/>
                <a:gd name="T45" fmla="*/ 191 h 219"/>
                <a:gd name="T46" fmla="*/ 278 w 310"/>
                <a:gd name="T47" fmla="*/ 187 h 219"/>
                <a:gd name="T48" fmla="*/ 257 w 310"/>
                <a:gd name="T49" fmla="*/ 169 h 219"/>
                <a:gd name="T50" fmla="*/ 247 w 310"/>
                <a:gd name="T51" fmla="*/ 153 h 219"/>
                <a:gd name="T52" fmla="*/ 252 w 310"/>
                <a:gd name="T53" fmla="*/ 153 h 219"/>
                <a:gd name="T54" fmla="*/ 252 w 310"/>
                <a:gd name="T55" fmla="*/ 149 h 219"/>
                <a:gd name="T56" fmla="*/ 245 w 310"/>
                <a:gd name="T57" fmla="*/ 148 h 219"/>
                <a:gd name="T58" fmla="*/ 291 w 310"/>
                <a:gd name="T59" fmla="*/ 158 h 219"/>
                <a:gd name="T60" fmla="*/ 289 w 310"/>
                <a:gd name="T61" fmla="*/ 131 h 219"/>
                <a:gd name="T62" fmla="*/ 276 w 310"/>
                <a:gd name="T63" fmla="*/ 128 h 219"/>
                <a:gd name="T64" fmla="*/ 271 w 310"/>
                <a:gd name="T65" fmla="*/ 120 h 219"/>
                <a:gd name="T66" fmla="*/ 247 w 310"/>
                <a:gd name="T67" fmla="*/ 106 h 219"/>
                <a:gd name="T68" fmla="*/ 258 w 310"/>
                <a:gd name="T69" fmla="*/ 98 h 219"/>
                <a:gd name="T70" fmla="*/ 243 w 310"/>
                <a:gd name="T71" fmla="*/ 94 h 219"/>
                <a:gd name="T72" fmla="*/ 255 w 310"/>
                <a:gd name="T73" fmla="*/ 89 h 219"/>
                <a:gd name="T74" fmla="*/ 227 w 310"/>
                <a:gd name="T75" fmla="*/ 71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0" h="219">
                  <a:moveTo>
                    <a:pt x="227" y="71"/>
                  </a:moveTo>
                  <a:cubicBezTo>
                    <a:pt x="214" y="64"/>
                    <a:pt x="204" y="63"/>
                    <a:pt x="191" y="57"/>
                  </a:cubicBezTo>
                  <a:cubicBezTo>
                    <a:pt x="175" y="50"/>
                    <a:pt x="173" y="38"/>
                    <a:pt x="152" y="37"/>
                  </a:cubicBezTo>
                  <a:cubicBezTo>
                    <a:pt x="141" y="36"/>
                    <a:pt x="131" y="44"/>
                    <a:pt x="119" y="44"/>
                  </a:cubicBezTo>
                  <a:cubicBezTo>
                    <a:pt x="121" y="25"/>
                    <a:pt x="111" y="17"/>
                    <a:pt x="93" y="20"/>
                  </a:cubicBezTo>
                  <a:cubicBezTo>
                    <a:pt x="65" y="24"/>
                    <a:pt x="79" y="39"/>
                    <a:pt x="65" y="51"/>
                  </a:cubicBezTo>
                  <a:cubicBezTo>
                    <a:pt x="58" y="37"/>
                    <a:pt x="60" y="29"/>
                    <a:pt x="74" y="18"/>
                  </a:cubicBezTo>
                  <a:cubicBezTo>
                    <a:pt x="42" y="0"/>
                    <a:pt x="0" y="63"/>
                    <a:pt x="50" y="65"/>
                  </a:cubicBezTo>
                  <a:cubicBezTo>
                    <a:pt x="50" y="67"/>
                    <a:pt x="50" y="68"/>
                    <a:pt x="49" y="70"/>
                  </a:cubicBezTo>
                  <a:cubicBezTo>
                    <a:pt x="44" y="68"/>
                    <a:pt x="39" y="70"/>
                    <a:pt x="34" y="69"/>
                  </a:cubicBezTo>
                  <a:cubicBezTo>
                    <a:pt x="47" y="97"/>
                    <a:pt x="119" y="72"/>
                    <a:pt x="124" y="94"/>
                  </a:cubicBezTo>
                  <a:cubicBezTo>
                    <a:pt x="144" y="79"/>
                    <a:pt x="147" y="83"/>
                    <a:pt x="166" y="100"/>
                  </a:cubicBezTo>
                  <a:cubicBezTo>
                    <a:pt x="163" y="102"/>
                    <a:pt x="160" y="103"/>
                    <a:pt x="157" y="104"/>
                  </a:cubicBezTo>
                  <a:cubicBezTo>
                    <a:pt x="166" y="111"/>
                    <a:pt x="179" y="104"/>
                    <a:pt x="192" y="117"/>
                  </a:cubicBezTo>
                  <a:cubicBezTo>
                    <a:pt x="205" y="130"/>
                    <a:pt x="197" y="144"/>
                    <a:pt x="181" y="151"/>
                  </a:cubicBezTo>
                  <a:cubicBezTo>
                    <a:pt x="184" y="153"/>
                    <a:pt x="186" y="156"/>
                    <a:pt x="188" y="158"/>
                  </a:cubicBezTo>
                  <a:cubicBezTo>
                    <a:pt x="173" y="167"/>
                    <a:pt x="155" y="158"/>
                    <a:pt x="143" y="172"/>
                  </a:cubicBezTo>
                  <a:cubicBezTo>
                    <a:pt x="154" y="188"/>
                    <a:pt x="161" y="174"/>
                    <a:pt x="172" y="178"/>
                  </a:cubicBezTo>
                  <a:cubicBezTo>
                    <a:pt x="179" y="181"/>
                    <a:pt x="178" y="171"/>
                    <a:pt x="186" y="177"/>
                  </a:cubicBezTo>
                  <a:cubicBezTo>
                    <a:pt x="191" y="181"/>
                    <a:pt x="196" y="185"/>
                    <a:pt x="201" y="188"/>
                  </a:cubicBezTo>
                  <a:cubicBezTo>
                    <a:pt x="214" y="194"/>
                    <a:pt x="215" y="202"/>
                    <a:pt x="231" y="207"/>
                  </a:cubicBezTo>
                  <a:cubicBezTo>
                    <a:pt x="241" y="210"/>
                    <a:pt x="253" y="211"/>
                    <a:pt x="260" y="219"/>
                  </a:cubicBezTo>
                  <a:cubicBezTo>
                    <a:pt x="268" y="207"/>
                    <a:pt x="248" y="198"/>
                    <a:pt x="238" y="191"/>
                  </a:cubicBezTo>
                  <a:cubicBezTo>
                    <a:pt x="244" y="192"/>
                    <a:pt x="299" y="214"/>
                    <a:pt x="278" y="187"/>
                  </a:cubicBezTo>
                  <a:cubicBezTo>
                    <a:pt x="270" y="176"/>
                    <a:pt x="266" y="179"/>
                    <a:pt x="257" y="169"/>
                  </a:cubicBezTo>
                  <a:cubicBezTo>
                    <a:pt x="251" y="163"/>
                    <a:pt x="249" y="158"/>
                    <a:pt x="247" y="153"/>
                  </a:cubicBezTo>
                  <a:cubicBezTo>
                    <a:pt x="249" y="153"/>
                    <a:pt x="250" y="153"/>
                    <a:pt x="252" y="153"/>
                  </a:cubicBezTo>
                  <a:cubicBezTo>
                    <a:pt x="252" y="152"/>
                    <a:pt x="252" y="151"/>
                    <a:pt x="252" y="149"/>
                  </a:cubicBezTo>
                  <a:cubicBezTo>
                    <a:pt x="250" y="149"/>
                    <a:pt x="248" y="149"/>
                    <a:pt x="245" y="148"/>
                  </a:cubicBezTo>
                  <a:cubicBezTo>
                    <a:pt x="263" y="138"/>
                    <a:pt x="284" y="183"/>
                    <a:pt x="291" y="158"/>
                  </a:cubicBezTo>
                  <a:cubicBezTo>
                    <a:pt x="310" y="143"/>
                    <a:pt x="310" y="144"/>
                    <a:pt x="289" y="131"/>
                  </a:cubicBezTo>
                  <a:cubicBezTo>
                    <a:pt x="286" y="129"/>
                    <a:pt x="280" y="131"/>
                    <a:pt x="276" y="128"/>
                  </a:cubicBezTo>
                  <a:cubicBezTo>
                    <a:pt x="272" y="126"/>
                    <a:pt x="278" y="121"/>
                    <a:pt x="271" y="120"/>
                  </a:cubicBezTo>
                  <a:cubicBezTo>
                    <a:pt x="260" y="117"/>
                    <a:pt x="258" y="108"/>
                    <a:pt x="247" y="106"/>
                  </a:cubicBezTo>
                  <a:cubicBezTo>
                    <a:pt x="251" y="103"/>
                    <a:pt x="253" y="100"/>
                    <a:pt x="258" y="98"/>
                  </a:cubicBezTo>
                  <a:cubicBezTo>
                    <a:pt x="253" y="97"/>
                    <a:pt x="249" y="94"/>
                    <a:pt x="243" y="94"/>
                  </a:cubicBezTo>
                  <a:cubicBezTo>
                    <a:pt x="247" y="93"/>
                    <a:pt x="251" y="90"/>
                    <a:pt x="255" y="89"/>
                  </a:cubicBezTo>
                  <a:cubicBezTo>
                    <a:pt x="244" y="80"/>
                    <a:pt x="239" y="77"/>
                    <a:pt x="227" y="7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0" name="Freeform 145">
              <a:extLst>
                <a:ext uri="{FF2B5EF4-FFF2-40B4-BE49-F238E27FC236}">
                  <a16:creationId xmlns:a16="http://schemas.microsoft.com/office/drawing/2014/main" id="{4FC4502F-1516-4F0B-857C-496DDB59C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98"/>
              <a:ext cx="538" cy="311"/>
            </a:xfrm>
            <a:custGeom>
              <a:avLst/>
              <a:gdLst>
                <a:gd name="T0" fmla="*/ 14 w 303"/>
                <a:gd name="T1" fmla="*/ 47 h 175"/>
                <a:gd name="T2" fmla="*/ 41 w 303"/>
                <a:gd name="T3" fmla="*/ 44 h 175"/>
                <a:gd name="T4" fmla="*/ 20 w 303"/>
                <a:gd name="T5" fmla="*/ 55 h 175"/>
                <a:gd name="T6" fmla="*/ 35 w 303"/>
                <a:gd name="T7" fmla="*/ 55 h 175"/>
                <a:gd name="T8" fmla="*/ 26 w 303"/>
                <a:gd name="T9" fmla="*/ 59 h 175"/>
                <a:gd name="T10" fmla="*/ 55 w 303"/>
                <a:gd name="T11" fmla="*/ 63 h 175"/>
                <a:gd name="T12" fmla="*/ 74 w 303"/>
                <a:gd name="T13" fmla="*/ 68 h 175"/>
                <a:gd name="T14" fmla="*/ 99 w 303"/>
                <a:gd name="T15" fmla="*/ 69 h 175"/>
                <a:gd name="T16" fmla="*/ 121 w 303"/>
                <a:gd name="T17" fmla="*/ 61 h 175"/>
                <a:gd name="T18" fmla="*/ 98 w 303"/>
                <a:gd name="T19" fmla="*/ 85 h 175"/>
                <a:gd name="T20" fmla="*/ 53 w 303"/>
                <a:gd name="T21" fmla="*/ 72 h 175"/>
                <a:gd name="T22" fmla="*/ 58 w 303"/>
                <a:gd name="T23" fmla="*/ 76 h 175"/>
                <a:gd name="T24" fmla="*/ 49 w 303"/>
                <a:gd name="T25" fmla="*/ 79 h 175"/>
                <a:gd name="T26" fmla="*/ 65 w 303"/>
                <a:gd name="T27" fmla="*/ 104 h 175"/>
                <a:gd name="T28" fmla="*/ 43 w 303"/>
                <a:gd name="T29" fmla="*/ 121 h 175"/>
                <a:gd name="T30" fmla="*/ 72 w 303"/>
                <a:gd name="T31" fmla="*/ 136 h 175"/>
                <a:gd name="T32" fmla="*/ 36 w 303"/>
                <a:gd name="T33" fmla="*/ 130 h 175"/>
                <a:gd name="T34" fmla="*/ 47 w 303"/>
                <a:gd name="T35" fmla="*/ 140 h 175"/>
                <a:gd name="T36" fmla="*/ 22 w 303"/>
                <a:gd name="T37" fmla="*/ 154 h 175"/>
                <a:gd name="T38" fmla="*/ 139 w 303"/>
                <a:gd name="T39" fmla="*/ 150 h 175"/>
                <a:gd name="T40" fmla="*/ 125 w 303"/>
                <a:gd name="T41" fmla="*/ 147 h 175"/>
                <a:gd name="T42" fmla="*/ 137 w 303"/>
                <a:gd name="T43" fmla="*/ 126 h 175"/>
                <a:gd name="T44" fmla="*/ 169 w 303"/>
                <a:gd name="T45" fmla="*/ 110 h 175"/>
                <a:gd name="T46" fmla="*/ 159 w 303"/>
                <a:gd name="T47" fmla="*/ 102 h 175"/>
                <a:gd name="T48" fmla="*/ 169 w 303"/>
                <a:gd name="T49" fmla="*/ 95 h 175"/>
                <a:gd name="T50" fmla="*/ 160 w 303"/>
                <a:gd name="T51" fmla="*/ 96 h 175"/>
                <a:gd name="T52" fmla="*/ 214 w 303"/>
                <a:gd name="T53" fmla="*/ 73 h 175"/>
                <a:gd name="T54" fmla="*/ 271 w 303"/>
                <a:gd name="T55" fmla="*/ 44 h 175"/>
                <a:gd name="T56" fmla="*/ 245 w 303"/>
                <a:gd name="T57" fmla="*/ 43 h 175"/>
                <a:gd name="T58" fmla="*/ 303 w 303"/>
                <a:gd name="T59" fmla="*/ 25 h 175"/>
                <a:gd name="T60" fmla="*/ 241 w 303"/>
                <a:gd name="T61" fmla="*/ 16 h 175"/>
                <a:gd name="T62" fmla="*/ 247 w 303"/>
                <a:gd name="T63" fmla="*/ 12 h 175"/>
                <a:gd name="T64" fmla="*/ 174 w 303"/>
                <a:gd name="T65" fmla="*/ 8 h 175"/>
                <a:gd name="T66" fmla="*/ 149 w 303"/>
                <a:gd name="T67" fmla="*/ 7 h 175"/>
                <a:gd name="T68" fmla="*/ 110 w 303"/>
                <a:gd name="T69" fmla="*/ 10 h 175"/>
                <a:gd name="T70" fmla="*/ 84 w 303"/>
                <a:gd name="T71" fmla="*/ 24 h 175"/>
                <a:gd name="T72" fmla="*/ 56 w 303"/>
                <a:gd name="T73" fmla="*/ 23 h 175"/>
                <a:gd name="T74" fmla="*/ 0 w 303"/>
                <a:gd name="T75" fmla="*/ 44 h 175"/>
                <a:gd name="T76" fmla="*/ 23 w 303"/>
                <a:gd name="T77" fmla="*/ 41 h 175"/>
                <a:gd name="T78" fmla="*/ 14 w 303"/>
                <a:gd name="T79" fmla="*/ 4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3" h="175">
                  <a:moveTo>
                    <a:pt x="14" y="47"/>
                  </a:moveTo>
                  <a:cubicBezTo>
                    <a:pt x="24" y="52"/>
                    <a:pt x="30" y="43"/>
                    <a:pt x="41" y="44"/>
                  </a:cubicBezTo>
                  <a:cubicBezTo>
                    <a:pt x="32" y="45"/>
                    <a:pt x="24" y="48"/>
                    <a:pt x="20" y="55"/>
                  </a:cubicBezTo>
                  <a:cubicBezTo>
                    <a:pt x="25" y="55"/>
                    <a:pt x="30" y="56"/>
                    <a:pt x="35" y="55"/>
                  </a:cubicBezTo>
                  <a:cubicBezTo>
                    <a:pt x="32" y="56"/>
                    <a:pt x="29" y="57"/>
                    <a:pt x="26" y="59"/>
                  </a:cubicBezTo>
                  <a:cubicBezTo>
                    <a:pt x="38" y="68"/>
                    <a:pt x="43" y="64"/>
                    <a:pt x="55" y="63"/>
                  </a:cubicBezTo>
                  <a:cubicBezTo>
                    <a:pt x="62" y="62"/>
                    <a:pt x="64" y="74"/>
                    <a:pt x="74" y="68"/>
                  </a:cubicBezTo>
                  <a:cubicBezTo>
                    <a:pt x="81" y="64"/>
                    <a:pt x="90" y="70"/>
                    <a:pt x="99" y="69"/>
                  </a:cubicBezTo>
                  <a:cubicBezTo>
                    <a:pt x="107" y="68"/>
                    <a:pt x="113" y="62"/>
                    <a:pt x="121" y="61"/>
                  </a:cubicBezTo>
                  <a:cubicBezTo>
                    <a:pt x="112" y="71"/>
                    <a:pt x="66" y="70"/>
                    <a:pt x="98" y="85"/>
                  </a:cubicBezTo>
                  <a:cubicBezTo>
                    <a:pt x="80" y="80"/>
                    <a:pt x="74" y="71"/>
                    <a:pt x="53" y="72"/>
                  </a:cubicBezTo>
                  <a:cubicBezTo>
                    <a:pt x="55" y="74"/>
                    <a:pt x="56" y="75"/>
                    <a:pt x="58" y="76"/>
                  </a:cubicBezTo>
                  <a:cubicBezTo>
                    <a:pt x="55" y="77"/>
                    <a:pt x="52" y="78"/>
                    <a:pt x="49" y="79"/>
                  </a:cubicBezTo>
                  <a:cubicBezTo>
                    <a:pt x="55" y="83"/>
                    <a:pt x="86" y="100"/>
                    <a:pt x="65" y="104"/>
                  </a:cubicBezTo>
                  <a:cubicBezTo>
                    <a:pt x="55" y="105"/>
                    <a:pt x="43" y="108"/>
                    <a:pt x="43" y="121"/>
                  </a:cubicBezTo>
                  <a:cubicBezTo>
                    <a:pt x="59" y="114"/>
                    <a:pt x="60" y="128"/>
                    <a:pt x="72" y="136"/>
                  </a:cubicBezTo>
                  <a:cubicBezTo>
                    <a:pt x="59" y="135"/>
                    <a:pt x="50" y="122"/>
                    <a:pt x="36" y="130"/>
                  </a:cubicBezTo>
                  <a:cubicBezTo>
                    <a:pt x="41" y="133"/>
                    <a:pt x="42" y="138"/>
                    <a:pt x="47" y="140"/>
                  </a:cubicBezTo>
                  <a:cubicBezTo>
                    <a:pt x="38" y="142"/>
                    <a:pt x="26" y="145"/>
                    <a:pt x="22" y="154"/>
                  </a:cubicBezTo>
                  <a:cubicBezTo>
                    <a:pt x="47" y="153"/>
                    <a:pt x="119" y="175"/>
                    <a:pt x="139" y="150"/>
                  </a:cubicBezTo>
                  <a:cubicBezTo>
                    <a:pt x="134" y="149"/>
                    <a:pt x="131" y="146"/>
                    <a:pt x="125" y="147"/>
                  </a:cubicBezTo>
                  <a:cubicBezTo>
                    <a:pt x="130" y="141"/>
                    <a:pt x="140" y="136"/>
                    <a:pt x="137" y="126"/>
                  </a:cubicBezTo>
                  <a:cubicBezTo>
                    <a:pt x="152" y="129"/>
                    <a:pt x="159" y="120"/>
                    <a:pt x="169" y="110"/>
                  </a:cubicBezTo>
                  <a:cubicBezTo>
                    <a:pt x="165" y="108"/>
                    <a:pt x="163" y="104"/>
                    <a:pt x="159" y="102"/>
                  </a:cubicBezTo>
                  <a:cubicBezTo>
                    <a:pt x="166" y="100"/>
                    <a:pt x="164" y="98"/>
                    <a:pt x="169" y="95"/>
                  </a:cubicBezTo>
                  <a:cubicBezTo>
                    <a:pt x="166" y="95"/>
                    <a:pt x="163" y="95"/>
                    <a:pt x="160" y="96"/>
                  </a:cubicBezTo>
                  <a:cubicBezTo>
                    <a:pt x="179" y="83"/>
                    <a:pt x="196" y="90"/>
                    <a:pt x="214" y="73"/>
                  </a:cubicBezTo>
                  <a:cubicBezTo>
                    <a:pt x="231" y="58"/>
                    <a:pt x="253" y="58"/>
                    <a:pt x="271" y="44"/>
                  </a:cubicBezTo>
                  <a:cubicBezTo>
                    <a:pt x="262" y="45"/>
                    <a:pt x="254" y="46"/>
                    <a:pt x="245" y="43"/>
                  </a:cubicBezTo>
                  <a:cubicBezTo>
                    <a:pt x="265" y="36"/>
                    <a:pt x="286" y="38"/>
                    <a:pt x="303" y="25"/>
                  </a:cubicBezTo>
                  <a:cubicBezTo>
                    <a:pt x="279" y="10"/>
                    <a:pt x="268" y="9"/>
                    <a:pt x="241" y="16"/>
                  </a:cubicBezTo>
                  <a:cubicBezTo>
                    <a:pt x="243" y="14"/>
                    <a:pt x="245" y="13"/>
                    <a:pt x="247" y="12"/>
                  </a:cubicBezTo>
                  <a:cubicBezTo>
                    <a:pt x="231" y="3"/>
                    <a:pt x="188" y="0"/>
                    <a:pt x="174" y="8"/>
                  </a:cubicBezTo>
                  <a:cubicBezTo>
                    <a:pt x="170" y="10"/>
                    <a:pt x="154" y="7"/>
                    <a:pt x="149" y="7"/>
                  </a:cubicBezTo>
                  <a:cubicBezTo>
                    <a:pt x="138" y="7"/>
                    <a:pt x="120" y="5"/>
                    <a:pt x="110" y="10"/>
                  </a:cubicBezTo>
                  <a:cubicBezTo>
                    <a:pt x="99" y="15"/>
                    <a:pt x="90" y="12"/>
                    <a:pt x="84" y="24"/>
                  </a:cubicBezTo>
                  <a:cubicBezTo>
                    <a:pt x="80" y="33"/>
                    <a:pt x="64" y="16"/>
                    <a:pt x="56" y="23"/>
                  </a:cubicBezTo>
                  <a:cubicBezTo>
                    <a:pt x="39" y="36"/>
                    <a:pt x="15" y="26"/>
                    <a:pt x="0" y="44"/>
                  </a:cubicBezTo>
                  <a:cubicBezTo>
                    <a:pt x="8" y="42"/>
                    <a:pt x="15" y="42"/>
                    <a:pt x="23" y="41"/>
                  </a:cubicBezTo>
                  <a:cubicBezTo>
                    <a:pt x="20" y="43"/>
                    <a:pt x="17" y="45"/>
                    <a:pt x="14" y="4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1" name="Freeform 146">
              <a:extLst>
                <a:ext uri="{FF2B5EF4-FFF2-40B4-BE49-F238E27FC236}">
                  <a16:creationId xmlns:a16="http://schemas.microsoft.com/office/drawing/2014/main" id="{A4F424DC-9DF7-4DAA-8213-D0D218E313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3" y="72"/>
              <a:ext cx="1069" cy="807"/>
            </a:xfrm>
            <a:custGeom>
              <a:avLst/>
              <a:gdLst>
                <a:gd name="T0" fmla="*/ 471 w 603"/>
                <a:gd name="T1" fmla="*/ 266 h 455"/>
                <a:gd name="T2" fmla="*/ 478 w 603"/>
                <a:gd name="T3" fmla="*/ 236 h 455"/>
                <a:gd name="T4" fmla="*/ 488 w 603"/>
                <a:gd name="T5" fmla="*/ 227 h 455"/>
                <a:gd name="T6" fmla="*/ 519 w 603"/>
                <a:gd name="T7" fmla="*/ 216 h 455"/>
                <a:gd name="T8" fmla="*/ 521 w 603"/>
                <a:gd name="T9" fmla="*/ 199 h 455"/>
                <a:gd name="T10" fmla="*/ 519 w 603"/>
                <a:gd name="T11" fmla="*/ 173 h 455"/>
                <a:gd name="T12" fmla="*/ 531 w 603"/>
                <a:gd name="T13" fmla="*/ 144 h 455"/>
                <a:gd name="T14" fmla="*/ 514 w 603"/>
                <a:gd name="T15" fmla="*/ 135 h 455"/>
                <a:gd name="T16" fmla="*/ 564 w 603"/>
                <a:gd name="T17" fmla="*/ 77 h 455"/>
                <a:gd name="T18" fmla="*/ 597 w 603"/>
                <a:gd name="T19" fmla="*/ 52 h 455"/>
                <a:gd name="T20" fmla="*/ 516 w 603"/>
                <a:gd name="T21" fmla="*/ 53 h 455"/>
                <a:gd name="T22" fmla="*/ 498 w 603"/>
                <a:gd name="T23" fmla="*/ 44 h 455"/>
                <a:gd name="T24" fmla="*/ 466 w 603"/>
                <a:gd name="T25" fmla="*/ 45 h 455"/>
                <a:gd name="T26" fmla="*/ 508 w 603"/>
                <a:gd name="T27" fmla="*/ 26 h 455"/>
                <a:gd name="T28" fmla="*/ 375 w 603"/>
                <a:gd name="T29" fmla="*/ 3 h 455"/>
                <a:gd name="T30" fmla="*/ 255 w 603"/>
                <a:gd name="T31" fmla="*/ 21 h 455"/>
                <a:gd name="T32" fmla="*/ 269 w 603"/>
                <a:gd name="T33" fmla="*/ 46 h 455"/>
                <a:gd name="T34" fmla="*/ 193 w 603"/>
                <a:gd name="T35" fmla="*/ 46 h 455"/>
                <a:gd name="T36" fmla="*/ 110 w 603"/>
                <a:gd name="T37" fmla="*/ 64 h 455"/>
                <a:gd name="T38" fmla="*/ 58 w 603"/>
                <a:gd name="T39" fmla="*/ 88 h 455"/>
                <a:gd name="T40" fmla="*/ 44 w 603"/>
                <a:gd name="T41" fmla="*/ 115 h 455"/>
                <a:gd name="T42" fmla="*/ 72 w 603"/>
                <a:gd name="T43" fmla="*/ 143 h 455"/>
                <a:gd name="T44" fmla="*/ 49 w 603"/>
                <a:gd name="T45" fmla="*/ 167 h 455"/>
                <a:gd name="T46" fmla="*/ 68 w 603"/>
                <a:gd name="T47" fmla="*/ 180 h 455"/>
                <a:gd name="T48" fmla="*/ 174 w 603"/>
                <a:gd name="T49" fmla="*/ 230 h 455"/>
                <a:gd name="T50" fmla="*/ 202 w 603"/>
                <a:gd name="T51" fmla="*/ 262 h 455"/>
                <a:gd name="T52" fmla="*/ 189 w 603"/>
                <a:gd name="T53" fmla="*/ 279 h 455"/>
                <a:gd name="T54" fmla="*/ 207 w 603"/>
                <a:gd name="T55" fmla="*/ 318 h 455"/>
                <a:gd name="T56" fmla="*/ 199 w 603"/>
                <a:gd name="T57" fmla="*/ 346 h 455"/>
                <a:gd name="T58" fmla="*/ 224 w 603"/>
                <a:gd name="T59" fmla="*/ 387 h 455"/>
                <a:gd name="T60" fmla="*/ 267 w 603"/>
                <a:gd name="T61" fmla="*/ 437 h 455"/>
                <a:gd name="T62" fmla="*/ 298 w 603"/>
                <a:gd name="T63" fmla="*/ 450 h 455"/>
                <a:gd name="T64" fmla="*/ 323 w 603"/>
                <a:gd name="T65" fmla="*/ 390 h 455"/>
                <a:gd name="T66" fmla="*/ 355 w 603"/>
                <a:gd name="T67" fmla="*/ 361 h 455"/>
                <a:gd name="T68" fmla="*/ 425 w 603"/>
                <a:gd name="T69" fmla="*/ 321 h 455"/>
                <a:gd name="T70" fmla="*/ 467 w 603"/>
                <a:gd name="T71" fmla="*/ 279 h 455"/>
                <a:gd name="T72" fmla="*/ 443 w 603"/>
                <a:gd name="T73" fmla="*/ 44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3" h="455">
                  <a:moveTo>
                    <a:pt x="467" y="279"/>
                  </a:moveTo>
                  <a:cubicBezTo>
                    <a:pt x="476" y="273"/>
                    <a:pt x="474" y="275"/>
                    <a:pt x="471" y="266"/>
                  </a:cubicBezTo>
                  <a:cubicBezTo>
                    <a:pt x="479" y="266"/>
                    <a:pt x="513" y="296"/>
                    <a:pt x="512" y="275"/>
                  </a:cubicBezTo>
                  <a:cubicBezTo>
                    <a:pt x="511" y="257"/>
                    <a:pt x="483" y="251"/>
                    <a:pt x="478" y="236"/>
                  </a:cubicBezTo>
                  <a:cubicBezTo>
                    <a:pt x="483" y="239"/>
                    <a:pt x="493" y="253"/>
                    <a:pt x="501" y="250"/>
                  </a:cubicBezTo>
                  <a:cubicBezTo>
                    <a:pt x="519" y="245"/>
                    <a:pt x="493" y="230"/>
                    <a:pt x="488" y="227"/>
                  </a:cubicBezTo>
                  <a:cubicBezTo>
                    <a:pt x="498" y="229"/>
                    <a:pt x="500" y="232"/>
                    <a:pt x="509" y="229"/>
                  </a:cubicBezTo>
                  <a:cubicBezTo>
                    <a:pt x="517" y="227"/>
                    <a:pt x="523" y="225"/>
                    <a:pt x="519" y="216"/>
                  </a:cubicBezTo>
                  <a:cubicBezTo>
                    <a:pt x="527" y="214"/>
                    <a:pt x="528" y="211"/>
                    <a:pt x="533" y="207"/>
                  </a:cubicBezTo>
                  <a:cubicBezTo>
                    <a:pt x="528" y="205"/>
                    <a:pt x="526" y="201"/>
                    <a:pt x="521" y="199"/>
                  </a:cubicBezTo>
                  <a:cubicBezTo>
                    <a:pt x="531" y="197"/>
                    <a:pt x="532" y="193"/>
                    <a:pt x="530" y="184"/>
                  </a:cubicBezTo>
                  <a:cubicBezTo>
                    <a:pt x="529" y="179"/>
                    <a:pt x="519" y="170"/>
                    <a:pt x="519" y="173"/>
                  </a:cubicBezTo>
                  <a:cubicBezTo>
                    <a:pt x="517" y="154"/>
                    <a:pt x="534" y="168"/>
                    <a:pt x="547" y="156"/>
                  </a:cubicBezTo>
                  <a:cubicBezTo>
                    <a:pt x="543" y="151"/>
                    <a:pt x="537" y="147"/>
                    <a:pt x="531" y="144"/>
                  </a:cubicBezTo>
                  <a:cubicBezTo>
                    <a:pt x="533" y="143"/>
                    <a:pt x="535" y="143"/>
                    <a:pt x="537" y="142"/>
                  </a:cubicBezTo>
                  <a:cubicBezTo>
                    <a:pt x="530" y="138"/>
                    <a:pt x="522" y="136"/>
                    <a:pt x="514" y="135"/>
                  </a:cubicBezTo>
                  <a:cubicBezTo>
                    <a:pt x="517" y="121"/>
                    <a:pt x="536" y="114"/>
                    <a:pt x="532" y="101"/>
                  </a:cubicBezTo>
                  <a:cubicBezTo>
                    <a:pt x="542" y="100"/>
                    <a:pt x="561" y="85"/>
                    <a:pt x="564" y="77"/>
                  </a:cubicBezTo>
                  <a:cubicBezTo>
                    <a:pt x="562" y="77"/>
                    <a:pt x="560" y="77"/>
                    <a:pt x="557" y="77"/>
                  </a:cubicBezTo>
                  <a:cubicBezTo>
                    <a:pt x="566" y="77"/>
                    <a:pt x="603" y="63"/>
                    <a:pt x="597" y="52"/>
                  </a:cubicBezTo>
                  <a:cubicBezTo>
                    <a:pt x="590" y="40"/>
                    <a:pt x="566" y="46"/>
                    <a:pt x="556" y="48"/>
                  </a:cubicBezTo>
                  <a:cubicBezTo>
                    <a:pt x="541" y="52"/>
                    <a:pt x="531" y="54"/>
                    <a:pt x="516" y="53"/>
                  </a:cubicBezTo>
                  <a:cubicBezTo>
                    <a:pt x="505" y="52"/>
                    <a:pt x="489" y="77"/>
                    <a:pt x="480" y="84"/>
                  </a:cubicBezTo>
                  <a:cubicBezTo>
                    <a:pt x="485" y="74"/>
                    <a:pt x="512" y="53"/>
                    <a:pt x="498" y="44"/>
                  </a:cubicBezTo>
                  <a:cubicBezTo>
                    <a:pt x="486" y="36"/>
                    <a:pt x="468" y="60"/>
                    <a:pt x="454" y="61"/>
                  </a:cubicBezTo>
                  <a:cubicBezTo>
                    <a:pt x="459" y="57"/>
                    <a:pt x="461" y="51"/>
                    <a:pt x="466" y="45"/>
                  </a:cubicBezTo>
                  <a:cubicBezTo>
                    <a:pt x="462" y="44"/>
                    <a:pt x="458" y="44"/>
                    <a:pt x="455" y="44"/>
                  </a:cubicBezTo>
                  <a:cubicBezTo>
                    <a:pt x="478" y="43"/>
                    <a:pt x="500" y="40"/>
                    <a:pt x="508" y="26"/>
                  </a:cubicBezTo>
                  <a:cubicBezTo>
                    <a:pt x="481" y="26"/>
                    <a:pt x="468" y="15"/>
                    <a:pt x="444" y="6"/>
                  </a:cubicBezTo>
                  <a:cubicBezTo>
                    <a:pt x="425" y="0"/>
                    <a:pt x="395" y="0"/>
                    <a:pt x="375" y="3"/>
                  </a:cubicBezTo>
                  <a:cubicBezTo>
                    <a:pt x="354" y="5"/>
                    <a:pt x="335" y="12"/>
                    <a:pt x="314" y="13"/>
                  </a:cubicBezTo>
                  <a:cubicBezTo>
                    <a:pt x="304" y="13"/>
                    <a:pt x="273" y="17"/>
                    <a:pt x="255" y="21"/>
                  </a:cubicBezTo>
                  <a:cubicBezTo>
                    <a:pt x="258" y="23"/>
                    <a:pt x="261" y="25"/>
                    <a:pt x="263" y="27"/>
                  </a:cubicBezTo>
                  <a:cubicBezTo>
                    <a:pt x="239" y="24"/>
                    <a:pt x="260" y="41"/>
                    <a:pt x="269" y="46"/>
                  </a:cubicBezTo>
                  <a:cubicBezTo>
                    <a:pt x="260" y="46"/>
                    <a:pt x="206" y="22"/>
                    <a:pt x="217" y="46"/>
                  </a:cubicBezTo>
                  <a:cubicBezTo>
                    <a:pt x="207" y="45"/>
                    <a:pt x="190" y="28"/>
                    <a:pt x="193" y="46"/>
                  </a:cubicBezTo>
                  <a:cubicBezTo>
                    <a:pt x="178" y="34"/>
                    <a:pt x="137" y="39"/>
                    <a:pt x="121" y="49"/>
                  </a:cubicBezTo>
                  <a:cubicBezTo>
                    <a:pt x="115" y="52"/>
                    <a:pt x="115" y="60"/>
                    <a:pt x="110" y="64"/>
                  </a:cubicBezTo>
                  <a:cubicBezTo>
                    <a:pt x="104" y="70"/>
                    <a:pt x="101" y="61"/>
                    <a:pt x="94" y="67"/>
                  </a:cubicBezTo>
                  <a:cubicBezTo>
                    <a:pt x="83" y="76"/>
                    <a:pt x="70" y="80"/>
                    <a:pt x="58" y="88"/>
                  </a:cubicBezTo>
                  <a:cubicBezTo>
                    <a:pt x="64" y="95"/>
                    <a:pt x="74" y="95"/>
                    <a:pt x="83" y="95"/>
                  </a:cubicBezTo>
                  <a:cubicBezTo>
                    <a:pt x="78" y="119"/>
                    <a:pt x="62" y="111"/>
                    <a:pt x="44" y="115"/>
                  </a:cubicBezTo>
                  <a:cubicBezTo>
                    <a:pt x="38" y="117"/>
                    <a:pt x="12" y="125"/>
                    <a:pt x="10" y="130"/>
                  </a:cubicBezTo>
                  <a:cubicBezTo>
                    <a:pt x="0" y="151"/>
                    <a:pt x="66" y="143"/>
                    <a:pt x="72" y="143"/>
                  </a:cubicBezTo>
                  <a:cubicBezTo>
                    <a:pt x="66" y="162"/>
                    <a:pt x="35" y="146"/>
                    <a:pt x="22" y="162"/>
                  </a:cubicBezTo>
                  <a:cubicBezTo>
                    <a:pt x="31" y="159"/>
                    <a:pt x="41" y="162"/>
                    <a:pt x="49" y="167"/>
                  </a:cubicBezTo>
                  <a:cubicBezTo>
                    <a:pt x="47" y="169"/>
                    <a:pt x="44" y="171"/>
                    <a:pt x="42" y="173"/>
                  </a:cubicBezTo>
                  <a:cubicBezTo>
                    <a:pt x="50" y="180"/>
                    <a:pt x="59" y="183"/>
                    <a:pt x="68" y="180"/>
                  </a:cubicBezTo>
                  <a:cubicBezTo>
                    <a:pt x="67" y="179"/>
                    <a:pt x="65" y="178"/>
                    <a:pt x="64" y="177"/>
                  </a:cubicBezTo>
                  <a:cubicBezTo>
                    <a:pt x="113" y="175"/>
                    <a:pt x="154" y="175"/>
                    <a:pt x="174" y="230"/>
                  </a:cubicBezTo>
                  <a:cubicBezTo>
                    <a:pt x="179" y="244"/>
                    <a:pt x="185" y="242"/>
                    <a:pt x="179" y="256"/>
                  </a:cubicBezTo>
                  <a:cubicBezTo>
                    <a:pt x="173" y="271"/>
                    <a:pt x="196" y="260"/>
                    <a:pt x="202" y="262"/>
                  </a:cubicBezTo>
                  <a:cubicBezTo>
                    <a:pt x="208" y="265"/>
                    <a:pt x="224" y="281"/>
                    <a:pt x="217" y="286"/>
                  </a:cubicBezTo>
                  <a:cubicBezTo>
                    <a:pt x="216" y="286"/>
                    <a:pt x="193" y="279"/>
                    <a:pt x="189" y="279"/>
                  </a:cubicBezTo>
                  <a:cubicBezTo>
                    <a:pt x="197" y="289"/>
                    <a:pt x="215" y="293"/>
                    <a:pt x="227" y="294"/>
                  </a:cubicBezTo>
                  <a:cubicBezTo>
                    <a:pt x="220" y="304"/>
                    <a:pt x="221" y="320"/>
                    <a:pt x="207" y="318"/>
                  </a:cubicBezTo>
                  <a:cubicBezTo>
                    <a:pt x="201" y="325"/>
                    <a:pt x="193" y="334"/>
                    <a:pt x="193" y="346"/>
                  </a:cubicBezTo>
                  <a:cubicBezTo>
                    <a:pt x="195" y="346"/>
                    <a:pt x="197" y="346"/>
                    <a:pt x="199" y="346"/>
                  </a:cubicBezTo>
                  <a:cubicBezTo>
                    <a:pt x="193" y="361"/>
                    <a:pt x="210" y="371"/>
                    <a:pt x="212" y="386"/>
                  </a:cubicBezTo>
                  <a:cubicBezTo>
                    <a:pt x="217" y="384"/>
                    <a:pt x="220" y="387"/>
                    <a:pt x="224" y="387"/>
                  </a:cubicBezTo>
                  <a:cubicBezTo>
                    <a:pt x="210" y="400"/>
                    <a:pt x="241" y="435"/>
                    <a:pt x="254" y="440"/>
                  </a:cubicBezTo>
                  <a:cubicBezTo>
                    <a:pt x="256" y="442"/>
                    <a:pt x="263" y="435"/>
                    <a:pt x="267" y="437"/>
                  </a:cubicBezTo>
                  <a:cubicBezTo>
                    <a:pt x="272" y="440"/>
                    <a:pt x="274" y="446"/>
                    <a:pt x="278" y="447"/>
                  </a:cubicBezTo>
                  <a:cubicBezTo>
                    <a:pt x="284" y="449"/>
                    <a:pt x="292" y="455"/>
                    <a:pt x="298" y="450"/>
                  </a:cubicBezTo>
                  <a:cubicBezTo>
                    <a:pt x="307" y="441"/>
                    <a:pt x="306" y="428"/>
                    <a:pt x="308" y="417"/>
                  </a:cubicBezTo>
                  <a:cubicBezTo>
                    <a:pt x="310" y="407"/>
                    <a:pt x="329" y="400"/>
                    <a:pt x="323" y="390"/>
                  </a:cubicBezTo>
                  <a:cubicBezTo>
                    <a:pt x="312" y="374"/>
                    <a:pt x="348" y="364"/>
                    <a:pt x="355" y="354"/>
                  </a:cubicBezTo>
                  <a:cubicBezTo>
                    <a:pt x="355" y="356"/>
                    <a:pt x="355" y="359"/>
                    <a:pt x="355" y="361"/>
                  </a:cubicBezTo>
                  <a:cubicBezTo>
                    <a:pt x="373" y="358"/>
                    <a:pt x="380" y="355"/>
                    <a:pt x="392" y="343"/>
                  </a:cubicBezTo>
                  <a:cubicBezTo>
                    <a:pt x="402" y="333"/>
                    <a:pt x="409" y="321"/>
                    <a:pt x="425" y="321"/>
                  </a:cubicBezTo>
                  <a:cubicBezTo>
                    <a:pt x="456" y="321"/>
                    <a:pt x="479" y="303"/>
                    <a:pt x="505" y="290"/>
                  </a:cubicBezTo>
                  <a:cubicBezTo>
                    <a:pt x="492" y="288"/>
                    <a:pt x="474" y="291"/>
                    <a:pt x="467" y="279"/>
                  </a:cubicBezTo>
                  <a:close/>
                  <a:moveTo>
                    <a:pt x="397" y="45"/>
                  </a:moveTo>
                  <a:cubicBezTo>
                    <a:pt x="407" y="43"/>
                    <a:pt x="425" y="44"/>
                    <a:pt x="443" y="44"/>
                  </a:cubicBezTo>
                  <a:cubicBezTo>
                    <a:pt x="427" y="45"/>
                    <a:pt x="412" y="48"/>
                    <a:pt x="397" y="4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2" name="Freeform 147">
              <a:extLst>
                <a:ext uri="{FF2B5EF4-FFF2-40B4-BE49-F238E27FC236}">
                  <a16:creationId xmlns:a16="http://schemas.microsoft.com/office/drawing/2014/main" id="{E9B0FC2F-AA50-499A-B66C-3C57C84E2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" y="577"/>
              <a:ext cx="57" cy="39"/>
            </a:xfrm>
            <a:custGeom>
              <a:avLst/>
              <a:gdLst>
                <a:gd name="T0" fmla="*/ 11 w 32"/>
                <a:gd name="T1" fmla="*/ 20 h 22"/>
                <a:gd name="T2" fmla="*/ 32 w 32"/>
                <a:gd name="T3" fmla="*/ 14 h 22"/>
                <a:gd name="T4" fmla="*/ 12 w 32"/>
                <a:gd name="T5" fmla="*/ 1 h 22"/>
                <a:gd name="T6" fmla="*/ 11 w 32"/>
                <a:gd name="T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2">
                  <a:moveTo>
                    <a:pt x="11" y="20"/>
                  </a:moveTo>
                  <a:cubicBezTo>
                    <a:pt x="19" y="22"/>
                    <a:pt x="27" y="20"/>
                    <a:pt x="32" y="14"/>
                  </a:cubicBezTo>
                  <a:cubicBezTo>
                    <a:pt x="28" y="11"/>
                    <a:pt x="17" y="0"/>
                    <a:pt x="12" y="1"/>
                  </a:cubicBezTo>
                  <a:cubicBezTo>
                    <a:pt x="0" y="4"/>
                    <a:pt x="5" y="15"/>
                    <a:pt x="11" y="2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3" name="Freeform 148">
              <a:extLst>
                <a:ext uri="{FF2B5EF4-FFF2-40B4-BE49-F238E27FC236}">
                  <a16:creationId xmlns:a16="http://schemas.microsoft.com/office/drawing/2014/main" id="{7397D1B5-6902-4096-92DA-444775059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" y="403"/>
              <a:ext cx="32" cy="22"/>
            </a:xfrm>
            <a:custGeom>
              <a:avLst/>
              <a:gdLst>
                <a:gd name="T0" fmla="*/ 7 w 18"/>
                <a:gd name="T1" fmla="*/ 12 h 12"/>
                <a:gd name="T2" fmla="*/ 18 w 18"/>
                <a:gd name="T3" fmla="*/ 7 h 12"/>
                <a:gd name="T4" fmla="*/ 7 w 18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7" y="12"/>
                  </a:moveTo>
                  <a:cubicBezTo>
                    <a:pt x="11" y="11"/>
                    <a:pt x="15" y="9"/>
                    <a:pt x="18" y="7"/>
                  </a:cubicBezTo>
                  <a:cubicBezTo>
                    <a:pt x="13" y="2"/>
                    <a:pt x="0" y="0"/>
                    <a:pt x="7" y="1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4" name="Freeform 149">
              <a:extLst>
                <a:ext uri="{FF2B5EF4-FFF2-40B4-BE49-F238E27FC236}">
                  <a16:creationId xmlns:a16="http://schemas.microsoft.com/office/drawing/2014/main" id="{8F7A9D13-50D1-4BD3-9264-3F7C3A2ED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8" y="1087"/>
              <a:ext cx="123" cy="112"/>
            </a:xfrm>
            <a:custGeom>
              <a:avLst/>
              <a:gdLst>
                <a:gd name="T0" fmla="*/ 23 w 69"/>
                <a:gd name="T1" fmla="*/ 24 h 63"/>
                <a:gd name="T2" fmla="*/ 30 w 69"/>
                <a:gd name="T3" fmla="*/ 0 h 63"/>
                <a:gd name="T4" fmla="*/ 1 w 69"/>
                <a:gd name="T5" fmla="*/ 38 h 63"/>
                <a:gd name="T6" fmla="*/ 1 w 69"/>
                <a:gd name="T7" fmla="*/ 52 h 63"/>
                <a:gd name="T8" fmla="*/ 39 w 69"/>
                <a:gd name="T9" fmla="*/ 52 h 63"/>
                <a:gd name="T10" fmla="*/ 35 w 69"/>
                <a:gd name="T11" fmla="*/ 58 h 63"/>
                <a:gd name="T12" fmla="*/ 47 w 69"/>
                <a:gd name="T13" fmla="*/ 49 h 63"/>
                <a:gd name="T14" fmla="*/ 56 w 69"/>
                <a:gd name="T15" fmla="*/ 63 h 63"/>
                <a:gd name="T16" fmla="*/ 56 w 69"/>
                <a:gd name="T17" fmla="*/ 38 h 63"/>
                <a:gd name="T18" fmla="*/ 52 w 69"/>
                <a:gd name="T19" fmla="*/ 39 h 63"/>
                <a:gd name="T20" fmla="*/ 52 w 69"/>
                <a:gd name="T21" fmla="*/ 28 h 63"/>
                <a:gd name="T22" fmla="*/ 32 w 69"/>
                <a:gd name="T23" fmla="*/ 28 h 63"/>
                <a:gd name="T24" fmla="*/ 34 w 69"/>
                <a:gd name="T25" fmla="*/ 23 h 63"/>
                <a:gd name="T26" fmla="*/ 23 w 69"/>
                <a:gd name="T27" fmla="*/ 2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" h="63">
                  <a:moveTo>
                    <a:pt x="23" y="24"/>
                  </a:moveTo>
                  <a:cubicBezTo>
                    <a:pt x="26" y="16"/>
                    <a:pt x="32" y="8"/>
                    <a:pt x="30" y="0"/>
                  </a:cubicBezTo>
                  <a:cubicBezTo>
                    <a:pt x="15" y="8"/>
                    <a:pt x="15" y="28"/>
                    <a:pt x="1" y="38"/>
                  </a:cubicBezTo>
                  <a:cubicBezTo>
                    <a:pt x="1" y="43"/>
                    <a:pt x="0" y="47"/>
                    <a:pt x="1" y="52"/>
                  </a:cubicBezTo>
                  <a:cubicBezTo>
                    <a:pt x="12" y="48"/>
                    <a:pt x="27" y="52"/>
                    <a:pt x="39" y="52"/>
                  </a:cubicBezTo>
                  <a:cubicBezTo>
                    <a:pt x="37" y="54"/>
                    <a:pt x="36" y="56"/>
                    <a:pt x="35" y="58"/>
                  </a:cubicBezTo>
                  <a:cubicBezTo>
                    <a:pt x="39" y="54"/>
                    <a:pt x="43" y="53"/>
                    <a:pt x="47" y="49"/>
                  </a:cubicBezTo>
                  <a:cubicBezTo>
                    <a:pt x="49" y="56"/>
                    <a:pt x="52" y="57"/>
                    <a:pt x="56" y="63"/>
                  </a:cubicBezTo>
                  <a:cubicBezTo>
                    <a:pt x="69" y="45"/>
                    <a:pt x="48" y="53"/>
                    <a:pt x="56" y="38"/>
                  </a:cubicBezTo>
                  <a:cubicBezTo>
                    <a:pt x="55" y="39"/>
                    <a:pt x="53" y="39"/>
                    <a:pt x="52" y="39"/>
                  </a:cubicBezTo>
                  <a:cubicBezTo>
                    <a:pt x="53" y="37"/>
                    <a:pt x="53" y="31"/>
                    <a:pt x="52" y="28"/>
                  </a:cubicBezTo>
                  <a:cubicBezTo>
                    <a:pt x="43" y="29"/>
                    <a:pt x="39" y="29"/>
                    <a:pt x="32" y="28"/>
                  </a:cubicBezTo>
                  <a:cubicBezTo>
                    <a:pt x="32" y="25"/>
                    <a:pt x="33" y="25"/>
                    <a:pt x="34" y="23"/>
                  </a:cubicBezTo>
                  <a:cubicBezTo>
                    <a:pt x="29" y="24"/>
                    <a:pt x="28" y="22"/>
                    <a:pt x="23" y="2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5" name="Freeform 150">
              <a:extLst>
                <a:ext uri="{FF2B5EF4-FFF2-40B4-BE49-F238E27FC236}">
                  <a16:creationId xmlns:a16="http://schemas.microsoft.com/office/drawing/2014/main" id="{AB3E25D0-072D-4505-8CBC-DAFDA5823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8" y="354"/>
              <a:ext cx="156" cy="87"/>
            </a:xfrm>
            <a:custGeom>
              <a:avLst/>
              <a:gdLst>
                <a:gd name="T0" fmla="*/ 72 w 88"/>
                <a:gd name="T1" fmla="*/ 34 h 49"/>
                <a:gd name="T2" fmla="*/ 88 w 88"/>
                <a:gd name="T3" fmla="*/ 22 h 49"/>
                <a:gd name="T4" fmla="*/ 67 w 88"/>
                <a:gd name="T5" fmla="*/ 16 h 49"/>
                <a:gd name="T6" fmla="*/ 48 w 88"/>
                <a:gd name="T7" fmla="*/ 22 h 49"/>
                <a:gd name="T8" fmla="*/ 16 w 88"/>
                <a:gd name="T9" fmla="*/ 18 h 49"/>
                <a:gd name="T10" fmla="*/ 72 w 88"/>
                <a:gd name="T11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9">
                  <a:moveTo>
                    <a:pt x="72" y="34"/>
                  </a:moveTo>
                  <a:cubicBezTo>
                    <a:pt x="81" y="35"/>
                    <a:pt x="86" y="31"/>
                    <a:pt x="88" y="22"/>
                  </a:cubicBezTo>
                  <a:cubicBezTo>
                    <a:pt x="81" y="20"/>
                    <a:pt x="74" y="18"/>
                    <a:pt x="67" y="16"/>
                  </a:cubicBezTo>
                  <a:cubicBezTo>
                    <a:pt x="55" y="12"/>
                    <a:pt x="54" y="22"/>
                    <a:pt x="48" y="22"/>
                  </a:cubicBezTo>
                  <a:cubicBezTo>
                    <a:pt x="39" y="22"/>
                    <a:pt x="24" y="0"/>
                    <a:pt x="16" y="18"/>
                  </a:cubicBezTo>
                  <a:cubicBezTo>
                    <a:pt x="0" y="49"/>
                    <a:pt x="59" y="36"/>
                    <a:pt x="72" y="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6" name="Freeform 151">
              <a:extLst>
                <a:ext uri="{FF2B5EF4-FFF2-40B4-BE49-F238E27FC236}">
                  <a16:creationId xmlns:a16="http://schemas.microsoft.com/office/drawing/2014/main" id="{35D6DBEA-7ED4-4D88-BDA6-6D703F5B7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1323"/>
              <a:ext cx="16" cy="2"/>
            </a:xfrm>
            <a:custGeom>
              <a:avLst/>
              <a:gdLst>
                <a:gd name="T0" fmla="*/ 9 w 9"/>
                <a:gd name="T1" fmla="*/ 0 h 1"/>
                <a:gd name="T2" fmla="*/ 0 w 9"/>
                <a:gd name="T3" fmla="*/ 1 h 1"/>
                <a:gd name="T4" fmla="*/ 0 w 9"/>
                <a:gd name="T5" fmla="*/ 1 h 1"/>
                <a:gd name="T6" fmla="*/ 9 w 9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">
                  <a:moveTo>
                    <a:pt x="9" y="0"/>
                  </a:moveTo>
                  <a:cubicBezTo>
                    <a:pt x="6" y="0"/>
                    <a:pt x="3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0"/>
                    <a:pt x="9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7" name="Freeform 152">
              <a:extLst>
                <a:ext uri="{FF2B5EF4-FFF2-40B4-BE49-F238E27FC236}">
                  <a16:creationId xmlns:a16="http://schemas.microsoft.com/office/drawing/2014/main" id="{5B1B0CCA-0369-4FD3-9DF8-4BEBC77AF4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37" y="528"/>
              <a:ext cx="2339" cy="2646"/>
            </a:xfrm>
            <a:custGeom>
              <a:avLst/>
              <a:gdLst>
                <a:gd name="T0" fmla="*/ 1165 w 1319"/>
                <a:gd name="T1" fmla="*/ 892 h 1491"/>
                <a:gd name="T2" fmla="*/ 1156 w 1319"/>
                <a:gd name="T3" fmla="*/ 869 h 1491"/>
                <a:gd name="T4" fmla="*/ 1038 w 1319"/>
                <a:gd name="T5" fmla="*/ 770 h 1491"/>
                <a:gd name="T6" fmla="*/ 951 w 1319"/>
                <a:gd name="T7" fmla="*/ 758 h 1491"/>
                <a:gd name="T8" fmla="*/ 827 w 1319"/>
                <a:gd name="T9" fmla="*/ 742 h 1491"/>
                <a:gd name="T10" fmla="*/ 787 w 1319"/>
                <a:gd name="T11" fmla="*/ 696 h 1491"/>
                <a:gd name="T12" fmla="*/ 699 w 1319"/>
                <a:gd name="T13" fmla="*/ 590 h 1491"/>
                <a:gd name="T14" fmla="*/ 807 w 1319"/>
                <a:gd name="T15" fmla="*/ 574 h 1491"/>
                <a:gd name="T16" fmla="*/ 885 w 1319"/>
                <a:gd name="T17" fmla="*/ 528 h 1491"/>
                <a:gd name="T18" fmla="*/ 900 w 1319"/>
                <a:gd name="T19" fmla="*/ 472 h 1491"/>
                <a:gd name="T20" fmla="*/ 928 w 1319"/>
                <a:gd name="T21" fmla="*/ 446 h 1491"/>
                <a:gd name="T22" fmla="*/ 989 w 1319"/>
                <a:gd name="T23" fmla="*/ 398 h 1491"/>
                <a:gd name="T24" fmla="*/ 1017 w 1319"/>
                <a:gd name="T25" fmla="*/ 362 h 1491"/>
                <a:gd name="T26" fmla="*/ 1046 w 1319"/>
                <a:gd name="T27" fmla="*/ 333 h 1491"/>
                <a:gd name="T28" fmla="*/ 1056 w 1319"/>
                <a:gd name="T29" fmla="*/ 265 h 1491"/>
                <a:gd name="T30" fmla="*/ 952 w 1319"/>
                <a:gd name="T31" fmla="*/ 183 h 1491"/>
                <a:gd name="T32" fmla="*/ 892 w 1319"/>
                <a:gd name="T33" fmla="*/ 249 h 1491"/>
                <a:gd name="T34" fmla="*/ 820 w 1319"/>
                <a:gd name="T35" fmla="*/ 263 h 1491"/>
                <a:gd name="T36" fmla="*/ 714 w 1319"/>
                <a:gd name="T37" fmla="*/ 221 h 1491"/>
                <a:gd name="T38" fmla="*/ 793 w 1319"/>
                <a:gd name="T39" fmla="*/ 124 h 1491"/>
                <a:gd name="T40" fmla="*/ 811 w 1319"/>
                <a:gd name="T41" fmla="*/ 59 h 1491"/>
                <a:gd name="T42" fmla="*/ 735 w 1319"/>
                <a:gd name="T43" fmla="*/ 42 h 1491"/>
                <a:gd name="T44" fmla="*/ 719 w 1319"/>
                <a:gd name="T45" fmla="*/ 61 h 1491"/>
                <a:gd name="T46" fmla="*/ 577 w 1319"/>
                <a:gd name="T47" fmla="*/ 65 h 1491"/>
                <a:gd name="T48" fmla="*/ 522 w 1319"/>
                <a:gd name="T49" fmla="*/ 67 h 1491"/>
                <a:gd name="T50" fmla="*/ 358 w 1319"/>
                <a:gd name="T51" fmla="*/ 37 h 1491"/>
                <a:gd name="T52" fmla="*/ 220 w 1319"/>
                <a:gd name="T53" fmla="*/ 38 h 1491"/>
                <a:gd name="T54" fmla="*/ 37 w 1319"/>
                <a:gd name="T55" fmla="*/ 61 h 1491"/>
                <a:gd name="T56" fmla="*/ 13 w 1319"/>
                <a:gd name="T57" fmla="*/ 116 h 1491"/>
                <a:gd name="T58" fmla="*/ 71 w 1319"/>
                <a:gd name="T59" fmla="*/ 143 h 1491"/>
                <a:gd name="T60" fmla="*/ 62 w 1319"/>
                <a:gd name="T61" fmla="*/ 222 h 1491"/>
                <a:gd name="T62" fmla="*/ 78 w 1319"/>
                <a:gd name="T63" fmla="*/ 254 h 1491"/>
                <a:gd name="T64" fmla="*/ 153 w 1319"/>
                <a:gd name="T65" fmla="*/ 210 h 1491"/>
                <a:gd name="T66" fmla="*/ 305 w 1319"/>
                <a:gd name="T67" fmla="*/ 221 h 1491"/>
                <a:gd name="T68" fmla="*/ 345 w 1319"/>
                <a:gd name="T69" fmla="*/ 260 h 1491"/>
                <a:gd name="T70" fmla="*/ 361 w 1319"/>
                <a:gd name="T71" fmla="*/ 271 h 1491"/>
                <a:gd name="T72" fmla="*/ 438 w 1319"/>
                <a:gd name="T73" fmla="*/ 367 h 1491"/>
                <a:gd name="T74" fmla="*/ 445 w 1319"/>
                <a:gd name="T75" fmla="*/ 491 h 1491"/>
                <a:gd name="T76" fmla="*/ 546 w 1319"/>
                <a:gd name="T77" fmla="*/ 623 h 1491"/>
                <a:gd name="T78" fmla="*/ 543 w 1319"/>
                <a:gd name="T79" fmla="*/ 585 h 1491"/>
                <a:gd name="T80" fmla="*/ 656 w 1319"/>
                <a:gd name="T81" fmla="*/ 707 h 1491"/>
                <a:gd name="T82" fmla="*/ 810 w 1319"/>
                <a:gd name="T83" fmla="*/ 783 h 1491"/>
                <a:gd name="T84" fmla="*/ 890 w 1319"/>
                <a:gd name="T85" fmla="*/ 840 h 1491"/>
                <a:gd name="T86" fmla="*/ 947 w 1319"/>
                <a:gd name="T87" fmla="*/ 1053 h 1491"/>
                <a:gd name="T88" fmla="*/ 930 w 1319"/>
                <a:gd name="T89" fmla="*/ 1287 h 1491"/>
                <a:gd name="T90" fmla="*/ 928 w 1319"/>
                <a:gd name="T91" fmla="*/ 1318 h 1491"/>
                <a:gd name="T92" fmla="*/ 913 w 1319"/>
                <a:gd name="T93" fmla="*/ 1412 h 1491"/>
                <a:gd name="T94" fmla="*/ 987 w 1319"/>
                <a:gd name="T95" fmla="*/ 1489 h 1491"/>
                <a:gd name="T96" fmla="*/ 1008 w 1319"/>
                <a:gd name="T97" fmla="*/ 1389 h 1491"/>
                <a:gd name="T98" fmla="*/ 1019 w 1319"/>
                <a:gd name="T99" fmla="*/ 1326 h 1491"/>
                <a:gd name="T100" fmla="*/ 1080 w 1319"/>
                <a:gd name="T101" fmla="*/ 1231 h 1491"/>
                <a:gd name="T102" fmla="*/ 1221 w 1319"/>
                <a:gd name="T103" fmla="*/ 1103 h 1491"/>
                <a:gd name="T104" fmla="*/ 1268 w 1319"/>
                <a:gd name="T105" fmla="*/ 1022 h 1491"/>
                <a:gd name="T106" fmla="*/ 862 w 1319"/>
                <a:gd name="T107" fmla="*/ 431 h 1491"/>
                <a:gd name="T108" fmla="*/ 868 w 1319"/>
                <a:gd name="T109" fmla="*/ 418 h 1491"/>
                <a:gd name="T110" fmla="*/ 813 w 1319"/>
                <a:gd name="T111" fmla="*/ 367 h 1491"/>
                <a:gd name="T112" fmla="*/ 828 w 1319"/>
                <a:gd name="T113" fmla="*/ 411 h 1491"/>
                <a:gd name="T114" fmla="*/ 823 w 1319"/>
                <a:gd name="T115" fmla="*/ 387 h 1491"/>
                <a:gd name="T116" fmla="*/ 743 w 1319"/>
                <a:gd name="T117" fmla="*/ 379 h 1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19" h="1491">
                  <a:moveTo>
                    <a:pt x="1301" y="925"/>
                  </a:moveTo>
                  <a:cubicBezTo>
                    <a:pt x="1282" y="928"/>
                    <a:pt x="1275" y="906"/>
                    <a:pt x="1262" y="908"/>
                  </a:cubicBezTo>
                  <a:cubicBezTo>
                    <a:pt x="1249" y="910"/>
                    <a:pt x="1230" y="892"/>
                    <a:pt x="1217" y="906"/>
                  </a:cubicBezTo>
                  <a:cubicBezTo>
                    <a:pt x="1212" y="881"/>
                    <a:pt x="1179" y="879"/>
                    <a:pt x="1166" y="900"/>
                  </a:cubicBezTo>
                  <a:cubicBezTo>
                    <a:pt x="1166" y="898"/>
                    <a:pt x="1165" y="895"/>
                    <a:pt x="1165" y="892"/>
                  </a:cubicBezTo>
                  <a:cubicBezTo>
                    <a:pt x="1154" y="898"/>
                    <a:pt x="1145" y="890"/>
                    <a:pt x="1148" y="879"/>
                  </a:cubicBezTo>
                  <a:cubicBezTo>
                    <a:pt x="1148" y="876"/>
                    <a:pt x="1151" y="874"/>
                    <a:pt x="1153" y="872"/>
                  </a:cubicBezTo>
                  <a:cubicBezTo>
                    <a:pt x="1150" y="880"/>
                    <a:pt x="1163" y="889"/>
                    <a:pt x="1171" y="881"/>
                  </a:cubicBezTo>
                  <a:cubicBezTo>
                    <a:pt x="1180" y="872"/>
                    <a:pt x="1166" y="868"/>
                    <a:pt x="1159" y="867"/>
                  </a:cubicBezTo>
                  <a:cubicBezTo>
                    <a:pt x="1158" y="868"/>
                    <a:pt x="1157" y="868"/>
                    <a:pt x="1156" y="869"/>
                  </a:cubicBezTo>
                  <a:cubicBezTo>
                    <a:pt x="1157" y="859"/>
                    <a:pt x="1154" y="865"/>
                    <a:pt x="1152" y="857"/>
                  </a:cubicBezTo>
                  <a:cubicBezTo>
                    <a:pt x="1149" y="836"/>
                    <a:pt x="1139" y="831"/>
                    <a:pt x="1125" y="822"/>
                  </a:cubicBezTo>
                  <a:cubicBezTo>
                    <a:pt x="1115" y="815"/>
                    <a:pt x="1105" y="818"/>
                    <a:pt x="1093" y="816"/>
                  </a:cubicBezTo>
                  <a:cubicBezTo>
                    <a:pt x="1081" y="815"/>
                    <a:pt x="1080" y="806"/>
                    <a:pt x="1071" y="802"/>
                  </a:cubicBezTo>
                  <a:cubicBezTo>
                    <a:pt x="1063" y="798"/>
                    <a:pt x="1026" y="777"/>
                    <a:pt x="1038" y="770"/>
                  </a:cubicBezTo>
                  <a:cubicBezTo>
                    <a:pt x="1025" y="773"/>
                    <a:pt x="1010" y="776"/>
                    <a:pt x="996" y="773"/>
                  </a:cubicBezTo>
                  <a:cubicBezTo>
                    <a:pt x="982" y="770"/>
                    <a:pt x="977" y="766"/>
                    <a:pt x="960" y="759"/>
                  </a:cubicBezTo>
                  <a:cubicBezTo>
                    <a:pt x="963" y="762"/>
                    <a:pt x="965" y="764"/>
                    <a:pt x="967" y="766"/>
                  </a:cubicBezTo>
                  <a:cubicBezTo>
                    <a:pt x="947" y="754"/>
                    <a:pt x="952" y="779"/>
                    <a:pt x="950" y="785"/>
                  </a:cubicBezTo>
                  <a:cubicBezTo>
                    <a:pt x="940" y="777"/>
                    <a:pt x="945" y="767"/>
                    <a:pt x="951" y="758"/>
                  </a:cubicBezTo>
                  <a:cubicBezTo>
                    <a:pt x="943" y="761"/>
                    <a:pt x="932" y="762"/>
                    <a:pt x="922" y="766"/>
                  </a:cubicBezTo>
                  <a:cubicBezTo>
                    <a:pt x="908" y="772"/>
                    <a:pt x="905" y="787"/>
                    <a:pt x="895" y="789"/>
                  </a:cubicBezTo>
                  <a:cubicBezTo>
                    <a:pt x="896" y="793"/>
                    <a:pt x="897" y="791"/>
                    <a:pt x="896" y="796"/>
                  </a:cubicBezTo>
                  <a:cubicBezTo>
                    <a:pt x="880" y="781"/>
                    <a:pt x="873" y="784"/>
                    <a:pt x="853" y="787"/>
                  </a:cubicBezTo>
                  <a:cubicBezTo>
                    <a:pt x="825" y="790"/>
                    <a:pt x="831" y="757"/>
                    <a:pt x="827" y="742"/>
                  </a:cubicBezTo>
                  <a:cubicBezTo>
                    <a:pt x="826" y="735"/>
                    <a:pt x="836" y="727"/>
                    <a:pt x="825" y="725"/>
                  </a:cubicBezTo>
                  <a:cubicBezTo>
                    <a:pt x="814" y="722"/>
                    <a:pt x="808" y="717"/>
                    <a:pt x="796" y="717"/>
                  </a:cubicBezTo>
                  <a:cubicBezTo>
                    <a:pt x="788" y="717"/>
                    <a:pt x="778" y="728"/>
                    <a:pt x="774" y="717"/>
                  </a:cubicBezTo>
                  <a:cubicBezTo>
                    <a:pt x="772" y="712"/>
                    <a:pt x="790" y="705"/>
                    <a:pt x="782" y="692"/>
                  </a:cubicBezTo>
                  <a:cubicBezTo>
                    <a:pt x="784" y="693"/>
                    <a:pt x="785" y="693"/>
                    <a:pt x="787" y="696"/>
                  </a:cubicBezTo>
                  <a:cubicBezTo>
                    <a:pt x="785" y="683"/>
                    <a:pt x="791" y="673"/>
                    <a:pt x="795" y="662"/>
                  </a:cubicBezTo>
                  <a:cubicBezTo>
                    <a:pt x="773" y="666"/>
                    <a:pt x="770" y="663"/>
                    <a:pt x="755" y="680"/>
                  </a:cubicBezTo>
                  <a:cubicBezTo>
                    <a:pt x="745" y="691"/>
                    <a:pt x="736" y="702"/>
                    <a:pt x="716" y="691"/>
                  </a:cubicBezTo>
                  <a:cubicBezTo>
                    <a:pt x="686" y="676"/>
                    <a:pt x="684" y="631"/>
                    <a:pt x="694" y="613"/>
                  </a:cubicBezTo>
                  <a:cubicBezTo>
                    <a:pt x="682" y="603"/>
                    <a:pt x="692" y="598"/>
                    <a:pt x="699" y="590"/>
                  </a:cubicBezTo>
                  <a:cubicBezTo>
                    <a:pt x="705" y="584"/>
                    <a:pt x="712" y="591"/>
                    <a:pt x="714" y="582"/>
                  </a:cubicBezTo>
                  <a:cubicBezTo>
                    <a:pt x="715" y="575"/>
                    <a:pt x="720" y="575"/>
                    <a:pt x="726" y="572"/>
                  </a:cubicBezTo>
                  <a:cubicBezTo>
                    <a:pt x="730" y="569"/>
                    <a:pt x="785" y="592"/>
                    <a:pt x="766" y="568"/>
                  </a:cubicBezTo>
                  <a:cubicBezTo>
                    <a:pt x="774" y="567"/>
                    <a:pt x="781" y="567"/>
                    <a:pt x="785" y="571"/>
                  </a:cubicBezTo>
                  <a:cubicBezTo>
                    <a:pt x="794" y="562"/>
                    <a:pt x="799" y="569"/>
                    <a:pt x="807" y="574"/>
                  </a:cubicBezTo>
                  <a:cubicBezTo>
                    <a:pt x="816" y="579"/>
                    <a:pt x="825" y="566"/>
                    <a:pt x="832" y="578"/>
                  </a:cubicBezTo>
                  <a:cubicBezTo>
                    <a:pt x="836" y="586"/>
                    <a:pt x="831" y="594"/>
                    <a:pt x="835" y="602"/>
                  </a:cubicBezTo>
                  <a:cubicBezTo>
                    <a:pt x="838" y="610"/>
                    <a:pt x="850" y="614"/>
                    <a:pt x="854" y="623"/>
                  </a:cubicBezTo>
                  <a:cubicBezTo>
                    <a:pt x="872" y="606"/>
                    <a:pt x="851" y="594"/>
                    <a:pt x="848" y="577"/>
                  </a:cubicBezTo>
                  <a:cubicBezTo>
                    <a:pt x="841" y="545"/>
                    <a:pt x="864" y="542"/>
                    <a:pt x="885" y="528"/>
                  </a:cubicBezTo>
                  <a:cubicBezTo>
                    <a:pt x="884" y="520"/>
                    <a:pt x="897" y="522"/>
                    <a:pt x="902" y="514"/>
                  </a:cubicBezTo>
                  <a:cubicBezTo>
                    <a:pt x="900" y="514"/>
                    <a:pt x="898" y="513"/>
                    <a:pt x="895" y="513"/>
                  </a:cubicBezTo>
                  <a:cubicBezTo>
                    <a:pt x="899" y="510"/>
                    <a:pt x="900" y="507"/>
                    <a:pt x="906" y="505"/>
                  </a:cubicBezTo>
                  <a:cubicBezTo>
                    <a:pt x="904" y="504"/>
                    <a:pt x="902" y="503"/>
                    <a:pt x="900" y="502"/>
                  </a:cubicBezTo>
                  <a:cubicBezTo>
                    <a:pt x="903" y="492"/>
                    <a:pt x="898" y="483"/>
                    <a:pt x="900" y="472"/>
                  </a:cubicBezTo>
                  <a:cubicBezTo>
                    <a:pt x="902" y="479"/>
                    <a:pt x="903" y="486"/>
                    <a:pt x="904" y="492"/>
                  </a:cubicBezTo>
                  <a:cubicBezTo>
                    <a:pt x="910" y="485"/>
                    <a:pt x="912" y="477"/>
                    <a:pt x="909" y="469"/>
                  </a:cubicBezTo>
                  <a:cubicBezTo>
                    <a:pt x="918" y="470"/>
                    <a:pt x="930" y="458"/>
                    <a:pt x="919" y="451"/>
                  </a:cubicBezTo>
                  <a:cubicBezTo>
                    <a:pt x="922" y="451"/>
                    <a:pt x="926" y="450"/>
                    <a:pt x="929" y="449"/>
                  </a:cubicBezTo>
                  <a:cubicBezTo>
                    <a:pt x="929" y="448"/>
                    <a:pt x="929" y="447"/>
                    <a:pt x="928" y="446"/>
                  </a:cubicBezTo>
                  <a:cubicBezTo>
                    <a:pt x="939" y="444"/>
                    <a:pt x="952" y="435"/>
                    <a:pt x="963" y="438"/>
                  </a:cubicBezTo>
                  <a:cubicBezTo>
                    <a:pt x="954" y="437"/>
                    <a:pt x="949" y="421"/>
                    <a:pt x="960" y="417"/>
                  </a:cubicBezTo>
                  <a:cubicBezTo>
                    <a:pt x="964" y="416"/>
                    <a:pt x="967" y="414"/>
                    <a:pt x="968" y="410"/>
                  </a:cubicBezTo>
                  <a:cubicBezTo>
                    <a:pt x="974" y="400"/>
                    <a:pt x="973" y="413"/>
                    <a:pt x="980" y="408"/>
                  </a:cubicBezTo>
                  <a:cubicBezTo>
                    <a:pt x="988" y="403"/>
                    <a:pt x="990" y="402"/>
                    <a:pt x="989" y="398"/>
                  </a:cubicBezTo>
                  <a:cubicBezTo>
                    <a:pt x="998" y="400"/>
                    <a:pt x="1008" y="393"/>
                    <a:pt x="1016" y="387"/>
                  </a:cubicBezTo>
                  <a:cubicBezTo>
                    <a:pt x="1017" y="390"/>
                    <a:pt x="1018" y="393"/>
                    <a:pt x="1019" y="396"/>
                  </a:cubicBezTo>
                  <a:cubicBezTo>
                    <a:pt x="1005" y="391"/>
                    <a:pt x="999" y="409"/>
                    <a:pt x="1006" y="420"/>
                  </a:cubicBezTo>
                  <a:cubicBezTo>
                    <a:pt x="1015" y="406"/>
                    <a:pt x="1034" y="404"/>
                    <a:pt x="1046" y="393"/>
                  </a:cubicBezTo>
                  <a:cubicBezTo>
                    <a:pt x="1036" y="390"/>
                    <a:pt x="998" y="378"/>
                    <a:pt x="1017" y="362"/>
                  </a:cubicBezTo>
                  <a:cubicBezTo>
                    <a:pt x="1013" y="362"/>
                    <a:pt x="1009" y="361"/>
                    <a:pt x="1005" y="362"/>
                  </a:cubicBezTo>
                  <a:cubicBezTo>
                    <a:pt x="1012" y="360"/>
                    <a:pt x="1015" y="355"/>
                    <a:pt x="1020" y="350"/>
                  </a:cubicBezTo>
                  <a:cubicBezTo>
                    <a:pt x="1001" y="337"/>
                    <a:pt x="987" y="353"/>
                    <a:pt x="970" y="357"/>
                  </a:cubicBezTo>
                  <a:cubicBezTo>
                    <a:pt x="982" y="351"/>
                    <a:pt x="987" y="342"/>
                    <a:pt x="998" y="336"/>
                  </a:cubicBezTo>
                  <a:cubicBezTo>
                    <a:pt x="1011" y="328"/>
                    <a:pt x="1030" y="329"/>
                    <a:pt x="1046" y="333"/>
                  </a:cubicBezTo>
                  <a:cubicBezTo>
                    <a:pt x="1059" y="337"/>
                    <a:pt x="1077" y="316"/>
                    <a:pt x="1091" y="314"/>
                  </a:cubicBezTo>
                  <a:cubicBezTo>
                    <a:pt x="1111" y="311"/>
                    <a:pt x="1095" y="291"/>
                    <a:pt x="1090" y="281"/>
                  </a:cubicBezTo>
                  <a:cubicBezTo>
                    <a:pt x="1082" y="289"/>
                    <a:pt x="1065" y="292"/>
                    <a:pt x="1056" y="288"/>
                  </a:cubicBezTo>
                  <a:cubicBezTo>
                    <a:pt x="1066" y="284"/>
                    <a:pt x="1077" y="283"/>
                    <a:pt x="1084" y="275"/>
                  </a:cubicBezTo>
                  <a:cubicBezTo>
                    <a:pt x="1076" y="269"/>
                    <a:pt x="1065" y="270"/>
                    <a:pt x="1056" y="265"/>
                  </a:cubicBezTo>
                  <a:cubicBezTo>
                    <a:pt x="1055" y="265"/>
                    <a:pt x="1059" y="256"/>
                    <a:pt x="1056" y="253"/>
                  </a:cubicBezTo>
                  <a:cubicBezTo>
                    <a:pt x="1051" y="249"/>
                    <a:pt x="1043" y="256"/>
                    <a:pt x="1037" y="248"/>
                  </a:cubicBezTo>
                  <a:cubicBezTo>
                    <a:pt x="1053" y="240"/>
                    <a:pt x="1020" y="197"/>
                    <a:pt x="1012" y="191"/>
                  </a:cubicBezTo>
                  <a:cubicBezTo>
                    <a:pt x="1004" y="205"/>
                    <a:pt x="996" y="222"/>
                    <a:pt x="980" y="216"/>
                  </a:cubicBezTo>
                  <a:cubicBezTo>
                    <a:pt x="965" y="209"/>
                    <a:pt x="967" y="185"/>
                    <a:pt x="952" y="183"/>
                  </a:cubicBezTo>
                  <a:cubicBezTo>
                    <a:pt x="944" y="182"/>
                    <a:pt x="945" y="173"/>
                    <a:pt x="937" y="168"/>
                  </a:cubicBezTo>
                  <a:cubicBezTo>
                    <a:pt x="926" y="162"/>
                    <a:pt x="923" y="167"/>
                    <a:pt x="913" y="165"/>
                  </a:cubicBezTo>
                  <a:cubicBezTo>
                    <a:pt x="906" y="164"/>
                    <a:pt x="858" y="158"/>
                    <a:pt x="885" y="174"/>
                  </a:cubicBezTo>
                  <a:cubicBezTo>
                    <a:pt x="865" y="182"/>
                    <a:pt x="897" y="207"/>
                    <a:pt x="870" y="212"/>
                  </a:cubicBezTo>
                  <a:cubicBezTo>
                    <a:pt x="882" y="224"/>
                    <a:pt x="885" y="234"/>
                    <a:pt x="892" y="249"/>
                  </a:cubicBezTo>
                  <a:cubicBezTo>
                    <a:pt x="900" y="267"/>
                    <a:pt x="859" y="268"/>
                    <a:pt x="866" y="279"/>
                  </a:cubicBezTo>
                  <a:cubicBezTo>
                    <a:pt x="874" y="291"/>
                    <a:pt x="884" y="304"/>
                    <a:pt x="870" y="316"/>
                  </a:cubicBezTo>
                  <a:cubicBezTo>
                    <a:pt x="857" y="327"/>
                    <a:pt x="840" y="306"/>
                    <a:pt x="837" y="292"/>
                  </a:cubicBezTo>
                  <a:cubicBezTo>
                    <a:pt x="835" y="284"/>
                    <a:pt x="845" y="282"/>
                    <a:pt x="838" y="272"/>
                  </a:cubicBezTo>
                  <a:cubicBezTo>
                    <a:pt x="837" y="269"/>
                    <a:pt x="823" y="264"/>
                    <a:pt x="820" y="263"/>
                  </a:cubicBezTo>
                  <a:cubicBezTo>
                    <a:pt x="814" y="261"/>
                    <a:pt x="803" y="259"/>
                    <a:pt x="797" y="258"/>
                  </a:cubicBezTo>
                  <a:cubicBezTo>
                    <a:pt x="786" y="255"/>
                    <a:pt x="784" y="249"/>
                    <a:pt x="775" y="246"/>
                  </a:cubicBezTo>
                  <a:cubicBezTo>
                    <a:pt x="769" y="243"/>
                    <a:pt x="762" y="244"/>
                    <a:pt x="754" y="240"/>
                  </a:cubicBezTo>
                  <a:cubicBezTo>
                    <a:pt x="750" y="238"/>
                    <a:pt x="742" y="244"/>
                    <a:pt x="739" y="242"/>
                  </a:cubicBezTo>
                  <a:cubicBezTo>
                    <a:pt x="728" y="234"/>
                    <a:pt x="737" y="204"/>
                    <a:pt x="714" y="221"/>
                  </a:cubicBezTo>
                  <a:cubicBezTo>
                    <a:pt x="715" y="206"/>
                    <a:pt x="715" y="192"/>
                    <a:pt x="723" y="179"/>
                  </a:cubicBezTo>
                  <a:cubicBezTo>
                    <a:pt x="732" y="163"/>
                    <a:pt x="745" y="160"/>
                    <a:pt x="758" y="150"/>
                  </a:cubicBezTo>
                  <a:cubicBezTo>
                    <a:pt x="751" y="148"/>
                    <a:pt x="744" y="145"/>
                    <a:pt x="737" y="141"/>
                  </a:cubicBezTo>
                  <a:cubicBezTo>
                    <a:pt x="748" y="142"/>
                    <a:pt x="756" y="142"/>
                    <a:pt x="766" y="139"/>
                  </a:cubicBezTo>
                  <a:cubicBezTo>
                    <a:pt x="775" y="135"/>
                    <a:pt x="782" y="127"/>
                    <a:pt x="793" y="124"/>
                  </a:cubicBezTo>
                  <a:cubicBezTo>
                    <a:pt x="784" y="115"/>
                    <a:pt x="768" y="120"/>
                    <a:pt x="762" y="106"/>
                  </a:cubicBezTo>
                  <a:cubicBezTo>
                    <a:pt x="769" y="107"/>
                    <a:pt x="783" y="119"/>
                    <a:pt x="787" y="116"/>
                  </a:cubicBezTo>
                  <a:cubicBezTo>
                    <a:pt x="795" y="109"/>
                    <a:pt x="808" y="105"/>
                    <a:pt x="798" y="95"/>
                  </a:cubicBezTo>
                  <a:cubicBezTo>
                    <a:pt x="840" y="128"/>
                    <a:pt x="867" y="45"/>
                    <a:pt x="824" y="42"/>
                  </a:cubicBezTo>
                  <a:cubicBezTo>
                    <a:pt x="803" y="40"/>
                    <a:pt x="817" y="55"/>
                    <a:pt x="811" y="59"/>
                  </a:cubicBezTo>
                  <a:cubicBezTo>
                    <a:pt x="803" y="64"/>
                    <a:pt x="799" y="82"/>
                    <a:pt x="793" y="82"/>
                  </a:cubicBezTo>
                  <a:cubicBezTo>
                    <a:pt x="772" y="84"/>
                    <a:pt x="782" y="30"/>
                    <a:pt x="757" y="65"/>
                  </a:cubicBezTo>
                  <a:cubicBezTo>
                    <a:pt x="754" y="57"/>
                    <a:pt x="753" y="58"/>
                    <a:pt x="749" y="51"/>
                  </a:cubicBezTo>
                  <a:cubicBezTo>
                    <a:pt x="751" y="50"/>
                    <a:pt x="753" y="48"/>
                    <a:pt x="755" y="47"/>
                  </a:cubicBezTo>
                  <a:cubicBezTo>
                    <a:pt x="748" y="46"/>
                    <a:pt x="741" y="44"/>
                    <a:pt x="735" y="42"/>
                  </a:cubicBezTo>
                  <a:cubicBezTo>
                    <a:pt x="738" y="40"/>
                    <a:pt x="740" y="36"/>
                    <a:pt x="744" y="34"/>
                  </a:cubicBezTo>
                  <a:cubicBezTo>
                    <a:pt x="733" y="27"/>
                    <a:pt x="733" y="15"/>
                    <a:pt x="726" y="10"/>
                  </a:cubicBezTo>
                  <a:cubicBezTo>
                    <a:pt x="709" y="0"/>
                    <a:pt x="714" y="17"/>
                    <a:pt x="698" y="17"/>
                  </a:cubicBezTo>
                  <a:cubicBezTo>
                    <a:pt x="699" y="29"/>
                    <a:pt x="698" y="31"/>
                    <a:pt x="705" y="39"/>
                  </a:cubicBezTo>
                  <a:cubicBezTo>
                    <a:pt x="712" y="47"/>
                    <a:pt x="730" y="46"/>
                    <a:pt x="719" y="61"/>
                  </a:cubicBezTo>
                  <a:cubicBezTo>
                    <a:pt x="721" y="60"/>
                    <a:pt x="722" y="59"/>
                    <a:pt x="724" y="59"/>
                  </a:cubicBezTo>
                  <a:cubicBezTo>
                    <a:pt x="717" y="66"/>
                    <a:pt x="709" y="72"/>
                    <a:pt x="709" y="83"/>
                  </a:cubicBezTo>
                  <a:cubicBezTo>
                    <a:pt x="693" y="62"/>
                    <a:pt x="685" y="68"/>
                    <a:pt x="663" y="75"/>
                  </a:cubicBezTo>
                  <a:cubicBezTo>
                    <a:pt x="646" y="80"/>
                    <a:pt x="606" y="76"/>
                    <a:pt x="605" y="53"/>
                  </a:cubicBezTo>
                  <a:cubicBezTo>
                    <a:pt x="595" y="58"/>
                    <a:pt x="585" y="58"/>
                    <a:pt x="577" y="65"/>
                  </a:cubicBezTo>
                  <a:cubicBezTo>
                    <a:pt x="584" y="67"/>
                    <a:pt x="592" y="66"/>
                    <a:pt x="600" y="63"/>
                  </a:cubicBezTo>
                  <a:cubicBezTo>
                    <a:pt x="595" y="73"/>
                    <a:pt x="583" y="73"/>
                    <a:pt x="585" y="86"/>
                  </a:cubicBezTo>
                  <a:cubicBezTo>
                    <a:pt x="573" y="83"/>
                    <a:pt x="568" y="66"/>
                    <a:pt x="552" y="73"/>
                  </a:cubicBezTo>
                  <a:cubicBezTo>
                    <a:pt x="538" y="79"/>
                    <a:pt x="523" y="76"/>
                    <a:pt x="509" y="71"/>
                  </a:cubicBezTo>
                  <a:cubicBezTo>
                    <a:pt x="514" y="71"/>
                    <a:pt x="518" y="68"/>
                    <a:pt x="522" y="67"/>
                  </a:cubicBezTo>
                  <a:cubicBezTo>
                    <a:pt x="515" y="52"/>
                    <a:pt x="481" y="55"/>
                    <a:pt x="466" y="46"/>
                  </a:cubicBezTo>
                  <a:cubicBezTo>
                    <a:pt x="458" y="42"/>
                    <a:pt x="440" y="40"/>
                    <a:pt x="433" y="45"/>
                  </a:cubicBezTo>
                  <a:cubicBezTo>
                    <a:pt x="424" y="51"/>
                    <a:pt x="419" y="33"/>
                    <a:pt x="407" y="47"/>
                  </a:cubicBezTo>
                  <a:cubicBezTo>
                    <a:pt x="403" y="40"/>
                    <a:pt x="396" y="35"/>
                    <a:pt x="389" y="30"/>
                  </a:cubicBezTo>
                  <a:cubicBezTo>
                    <a:pt x="381" y="51"/>
                    <a:pt x="372" y="32"/>
                    <a:pt x="358" y="37"/>
                  </a:cubicBezTo>
                  <a:cubicBezTo>
                    <a:pt x="347" y="41"/>
                    <a:pt x="339" y="57"/>
                    <a:pt x="325" y="44"/>
                  </a:cubicBezTo>
                  <a:cubicBezTo>
                    <a:pt x="317" y="51"/>
                    <a:pt x="323" y="52"/>
                    <a:pt x="310" y="49"/>
                  </a:cubicBezTo>
                  <a:cubicBezTo>
                    <a:pt x="311" y="52"/>
                    <a:pt x="311" y="56"/>
                    <a:pt x="311" y="59"/>
                  </a:cubicBezTo>
                  <a:cubicBezTo>
                    <a:pt x="296" y="53"/>
                    <a:pt x="273" y="47"/>
                    <a:pt x="264" y="44"/>
                  </a:cubicBezTo>
                  <a:cubicBezTo>
                    <a:pt x="249" y="39"/>
                    <a:pt x="236" y="40"/>
                    <a:pt x="220" y="38"/>
                  </a:cubicBezTo>
                  <a:cubicBezTo>
                    <a:pt x="204" y="35"/>
                    <a:pt x="179" y="37"/>
                    <a:pt x="164" y="30"/>
                  </a:cubicBezTo>
                  <a:cubicBezTo>
                    <a:pt x="149" y="24"/>
                    <a:pt x="132" y="16"/>
                    <a:pt x="117" y="25"/>
                  </a:cubicBezTo>
                  <a:cubicBezTo>
                    <a:pt x="115" y="20"/>
                    <a:pt x="110" y="17"/>
                    <a:pt x="108" y="13"/>
                  </a:cubicBezTo>
                  <a:cubicBezTo>
                    <a:pt x="102" y="28"/>
                    <a:pt x="69" y="29"/>
                    <a:pt x="56" y="39"/>
                  </a:cubicBezTo>
                  <a:cubicBezTo>
                    <a:pt x="49" y="44"/>
                    <a:pt x="44" y="57"/>
                    <a:pt x="37" y="61"/>
                  </a:cubicBezTo>
                  <a:cubicBezTo>
                    <a:pt x="27" y="65"/>
                    <a:pt x="17" y="50"/>
                    <a:pt x="11" y="68"/>
                  </a:cubicBezTo>
                  <a:cubicBezTo>
                    <a:pt x="25" y="78"/>
                    <a:pt x="57" y="86"/>
                    <a:pt x="62" y="107"/>
                  </a:cubicBezTo>
                  <a:cubicBezTo>
                    <a:pt x="51" y="107"/>
                    <a:pt x="41" y="98"/>
                    <a:pt x="33" y="98"/>
                  </a:cubicBezTo>
                  <a:cubicBezTo>
                    <a:pt x="22" y="99"/>
                    <a:pt x="13" y="112"/>
                    <a:pt x="0" y="114"/>
                  </a:cubicBezTo>
                  <a:cubicBezTo>
                    <a:pt x="5" y="113"/>
                    <a:pt x="9" y="116"/>
                    <a:pt x="13" y="116"/>
                  </a:cubicBezTo>
                  <a:cubicBezTo>
                    <a:pt x="0" y="134"/>
                    <a:pt x="23" y="132"/>
                    <a:pt x="34" y="133"/>
                  </a:cubicBezTo>
                  <a:cubicBezTo>
                    <a:pt x="49" y="133"/>
                    <a:pt x="54" y="133"/>
                    <a:pt x="69" y="129"/>
                  </a:cubicBezTo>
                  <a:cubicBezTo>
                    <a:pt x="69" y="131"/>
                    <a:pt x="70" y="133"/>
                    <a:pt x="70" y="135"/>
                  </a:cubicBezTo>
                  <a:cubicBezTo>
                    <a:pt x="68" y="135"/>
                    <a:pt x="67" y="136"/>
                    <a:pt x="65" y="136"/>
                  </a:cubicBezTo>
                  <a:cubicBezTo>
                    <a:pt x="67" y="138"/>
                    <a:pt x="69" y="140"/>
                    <a:pt x="71" y="143"/>
                  </a:cubicBezTo>
                  <a:cubicBezTo>
                    <a:pt x="63" y="150"/>
                    <a:pt x="41" y="159"/>
                    <a:pt x="30" y="162"/>
                  </a:cubicBezTo>
                  <a:cubicBezTo>
                    <a:pt x="6" y="168"/>
                    <a:pt x="21" y="179"/>
                    <a:pt x="32" y="191"/>
                  </a:cubicBezTo>
                  <a:cubicBezTo>
                    <a:pt x="29" y="190"/>
                    <a:pt x="27" y="190"/>
                    <a:pt x="24" y="190"/>
                  </a:cubicBezTo>
                  <a:cubicBezTo>
                    <a:pt x="31" y="200"/>
                    <a:pt x="45" y="212"/>
                    <a:pt x="55" y="202"/>
                  </a:cubicBezTo>
                  <a:cubicBezTo>
                    <a:pt x="60" y="208"/>
                    <a:pt x="62" y="215"/>
                    <a:pt x="62" y="222"/>
                  </a:cubicBezTo>
                  <a:cubicBezTo>
                    <a:pt x="65" y="219"/>
                    <a:pt x="69" y="218"/>
                    <a:pt x="71" y="214"/>
                  </a:cubicBezTo>
                  <a:cubicBezTo>
                    <a:pt x="77" y="223"/>
                    <a:pt x="84" y="224"/>
                    <a:pt x="90" y="216"/>
                  </a:cubicBezTo>
                  <a:cubicBezTo>
                    <a:pt x="102" y="229"/>
                    <a:pt x="106" y="211"/>
                    <a:pt x="116" y="217"/>
                  </a:cubicBezTo>
                  <a:cubicBezTo>
                    <a:pt x="108" y="224"/>
                    <a:pt x="109" y="229"/>
                    <a:pt x="101" y="236"/>
                  </a:cubicBezTo>
                  <a:cubicBezTo>
                    <a:pt x="93" y="244"/>
                    <a:pt x="85" y="245"/>
                    <a:pt x="78" y="254"/>
                  </a:cubicBezTo>
                  <a:cubicBezTo>
                    <a:pt x="72" y="260"/>
                    <a:pt x="41" y="275"/>
                    <a:pt x="32" y="278"/>
                  </a:cubicBezTo>
                  <a:cubicBezTo>
                    <a:pt x="51" y="287"/>
                    <a:pt x="96" y="251"/>
                    <a:pt x="111" y="239"/>
                  </a:cubicBezTo>
                  <a:cubicBezTo>
                    <a:pt x="134" y="222"/>
                    <a:pt x="148" y="200"/>
                    <a:pt x="169" y="181"/>
                  </a:cubicBezTo>
                  <a:cubicBezTo>
                    <a:pt x="170" y="182"/>
                    <a:pt x="171" y="184"/>
                    <a:pt x="172" y="185"/>
                  </a:cubicBezTo>
                  <a:cubicBezTo>
                    <a:pt x="164" y="193"/>
                    <a:pt x="157" y="201"/>
                    <a:pt x="153" y="210"/>
                  </a:cubicBezTo>
                  <a:cubicBezTo>
                    <a:pt x="164" y="218"/>
                    <a:pt x="182" y="200"/>
                    <a:pt x="192" y="193"/>
                  </a:cubicBezTo>
                  <a:cubicBezTo>
                    <a:pt x="191" y="191"/>
                    <a:pt x="189" y="190"/>
                    <a:pt x="188" y="188"/>
                  </a:cubicBezTo>
                  <a:cubicBezTo>
                    <a:pt x="204" y="181"/>
                    <a:pt x="212" y="196"/>
                    <a:pt x="227" y="199"/>
                  </a:cubicBezTo>
                  <a:cubicBezTo>
                    <a:pt x="243" y="202"/>
                    <a:pt x="256" y="200"/>
                    <a:pt x="271" y="205"/>
                  </a:cubicBezTo>
                  <a:cubicBezTo>
                    <a:pt x="279" y="208"/>
                    <a:pt x="302" y="224"/>
                    <a:pt x="305" y="221"/>
                  </a:cubicBezTo>
                  <a:cubicBezTo>
                    <a:pt x="314" y="210"/>
                    <a:pt x="325" y="235"/>
                    <a:pt x="326" y="242"/>
                  </a:cubicBezTo>
                  <a:cubicBezTo>
                    <a:pt x="329" y="239"/>
                    <a:pt x="332" y="238"/>
                    <a:pt x="335" y="235"/>
                  </a:cubicBezTo>
                  <a:cubicBezTo>
                    <a:pt x="333" y="238"/>
                    <a:pt x="333" y="242"/>
                    <a:pt x="331" y="245"/>
                  </a:cubicBezTo>
                  <a:cubicBezTo>
                    <a:pt x="336" y="247"/>
                    <a:pt x="348" y="253"/>
                    <a:pt x="345" y="258"/>
                  </a:cubicBezTo>
                  <a:cubicBezTo>
                    <a:pt x="345" y="259"/>
                    <a:pt x="345" y="259"/>
                    <a:pt x="345" y="260"/>
                  </a:cubicBezTo>
                  <a:cubicBezTo>
                    <a:pt x="342" y="253"/>
                    <a:pt x="337" y="249"/>
                    <a:pt x="333" y="260"/>
                  </a:cubicBezTo>
                  <a:cubicBezTo>
                    <a:pt x="335" y="260"/>
                    <a:pt x="338" y="260"/>
                    <a:pt x="340" y="260"/>
                  </a:cubicBezTo>
                  <a:cubicBezTo>
                    <a:pt x="340" y="266"/>
                    <a:pt x="341" y="270"/>
                    <a:pt x="347" y="274"/>
                  </a:cubicBezTo>
                  <a:cubicBezTo>
                    <a:pt x="348" y="272"/>
                    <a:pt x="347" y="269"/>
                    <a:pt x="347" y="266"/>
                  </a:cubicBezTo>
                  <a:cubicBezTo>
                    <a:pt x="351" y="269"/>
                    <a:pt x="359" y="269"/>
                    <a:pt x="361" y="271"/>
                  </a:cubicBezTo>
                  <a:cubicBezTo>
                    <a:pt x="369" y="280"/>
                    <a:pt x="371" y="292"/>
                    <a:pt x="380" y="304"/>
                  </a:cubicBezTo>
                  <a:cubicBezTo>
                    <a:pt x="383" y="307"/>
                    <a:pt x="390" y="307"/>
                    <a:pt x="392" y="310"/>
                  </a:cubicBezTo>
                  <a:cubicBezTo>
                    <a:pt x="394" y="312"/>
                    <a:pt x="391" y="320"/>
                    <a:pt x="393" y="323"/>
                  </a:cubicBezTo>
                  <a:cubicBezTo>
                    <a:pt x="394" y="325"/>
                    <a:pt x="413" y="335"/>
                    <a:pt x="418" y="336"/>
                  </a:cubicBezTo>
                  <a:cubicBezTo>
                    <a:pt x="431" y="341"/>
                    <a:pt x="452" y="354"/>
                    <a:pt x="438" y="367"/>
                  </a:cubicBezTo>
                  <a:cubicBezTo>
                    <a:pt x="433" y="363"/>
                    <a:pt x="427" y="364"/>
                    <a:pt x="424" y="362"/>
                  </a:cubicBezTo>
                  <a:cubicBezTo>
                    <a:pt x="433" y="381"/>
                    <a:pt x="427" y="401"/>
                    <a:pt x="427" y="419"/>
                  </a:cubicBezTo>
                  <a:cubicBezTo>
                    <a:pt x="426" y="436"/>
                    <a:pt x="426" y="456"/>
                    <a:pt x="434" y="471"/>
                  </a:cubicBezTo>
                  <a:cubicBezTo>
                    <a:pt x="435" y="474"/>
                    <a:pt x="442" y="477"/>
                    <a:pt x="445" y="478"/>
                  </a:cubicBezTo>
                  <a:cubicBezTo>
                    <a:pt x="455" y="483"/>
                    <a:pt x="441" y="485"/>
                    <a:pt x="445" y="491"/>
                  </a:cubicBezTo>
                  <a:cubicBezTo>
                    <a:pt x="449" y="498"/>
                    <a:pt x="456" y="504"/>
                    <a:pt x="462" y="511"/>
                  </a:cubicBezTo>
                  <a:cubicBezTo>
                    <a:pt x="472" y="524"/>
                    <a:pt x="484" y="531"/>
                    <a:pt x="498" y="542"/>
                  </a:cubicBezTo>
                  <a:cubicBezTo>
                    <a:pt x="493" y="552"/>
                    <a:pt x="520" y="588"/>
                    <a:pt x="530" y="594"/>
                  </a:cubicBezTo>
                  <a:cubicBezTo>
                    <a:pt x="527" y="596"/>
                    <a:pt x="523" y="597"/>
                    <a:pt x="520" y="598"/>
                  </a:cubicBezTo>
                  <a:cubicBezTo>
                    <a:pt x="531" y="600"/>
                    <a:pt x="546" y="611"/>
                    <a:pt x="546" y="623"/>
                  </a:cubicBezTo>
                  <a:cubicBezTo>
                    <a:pt x="545" y="634"/>
                    <a:pt x="562" y="639"/>
                    <a:pt x="569" y="647"/>
                  </a:cubicBezTo>
                  <a:cubicBezTo>
                    <a:pt x="570" y="646"/>
                    <a:pt x="571" y="644"/>
                    <a:pt x="572" y="643"/>
                  </a:cubicBezTo>
                  <a:cubicBezTo>
                    <a:pt x="558" y="636"/>
                    <a:pt x="545" y="609"/>
                    <a:pt x="539" y="594"/>
                  </a:cubicBezTo>
                  <a:cubicBezTo>
                    <a:pt x="536" y="584"/>
                    <a:pt x="500" y="542"/>
                    <a:pt x="531" y="558"/>
                  </a:cubicBezTo>
                  <a:cubicBezTo>
                    <a:pt x="543" y="564"/>
                    <a:pt x="536" y="577"/>
                    <a:pt x="543" y="585"/>
                  </a:cubicBezTo>
                  <a:cubicBezTo>
                    <a:pt x="548" y="591"/>
                    <a:pt x="561" y="594"/>
                    <a:pt x="562" y="598"/>
                  </a:cubicBezTo>
                  <a:cubicBezTo>
                    <a:pt x="569" y="615"/>
                    <a:pt x="604" y="633"/>
                    <a:pt x="606" y="647"/>
                  </a:cubicBezTo>
                  <a:cubicBezTo>
                    <a:pt x="608" y="659"/>
                    <a:pt x="621" y="661"/>
                    <a:pt x="614" y="674"/>
                  </a:cubicBezTo>
                  <a:cubicBezTo>
                    <a:pt x="610" y="680"/>
                    <a:pt x="627" y="693"/>
                    <a:pt x="632" y="696"/>
                  </a:cubicBezTo>
                  <a:cubicBezTo>
                    <a:pt x="642" y="701"/>
                    <a:pt x="648" y="696"/>
                    <a:pt x="656" y="707"/>
                  </a:cubicBezTo>
                  <a:cubicBezTo>
                    <a:pt x="660" y="711"/>
                    <a:pt x="681" y="714"/>
                    <a:pt x="689" y="717"/>
                  </a:cubicBezTo>
                  <a:cubicBezTo>
                    <a:pt x="698" y="720"/>
                    <a:pt x="707" y="729"/>
                    <a:pt x="714" y="717"/>
                  </a:cubicBezTo>
                  <a:cubicBezTo>
                    <a:pt x="719" y="710"/>
                    <a:pt x="735" y="721"/>
                    <a:pt x="737" y="728"/>
                  </a:cubicBezTo>
                  <a:cubicBezTo>
                    <a:pt x="742" y="740"/>
                    <a:pt x="781" y="747"/>
                    <a:pt x="790" y="745"/>
                  </a:cubicBezTo>
                  <a:cubicBezTo>
                    <a:pt x="796" y="757"/>
                    <a:pt x="810" y="769"/>
                    <a:pt x="810" y="783"/>
                  </a:cubicBezTo>
                  <a:cubicBezTo>
                    <a:pt x="814" y="779"/>
                    <a:pt x="812" y="784"/>
                    <a:pt x="814" y="779"/>
                  </a:cubicBezTo>
                  <a:cubicBezTo>
                    <a:pt x="821" y="782"/>
                    <a:pt x="833" y="786"/>
                    <a:pt x="835" y="795"/>
                  </a:cubicBezTo>
                  <a:cubicBezTo>
                    <a:pt x="834" y="794"/>
                    <a:pt x="853" y="803"/>
                    <a:pt x="857" y="809"/>
                  </a:cubicBezTo>
                  <a:cubicBezTo>
                    <a:pt x="858" y="799"/>
                    <a:pt x="862" y="806"/>
                    <a:pt x="858" y="798"/>
                  </a:cubicBezTo>
                  <a:cubicBezTo>
                    <a:pt x="892" y="772"/>
                    <a:pt x="880" y="828"/>
                    <a:pt x="890" y="840"/>
                  </a:cubicBezTo>
                  <a:cubicBezTo>
                    <a:pt x="882" y="848"/>
                    <a:pt x="834" y="910"/>
                    <a:pt x="867" y="902"/>
                  </a:cubicBezTo>
                  <a:cubicBezTo>
                    <a:pt x="853" y="918"/>
                    <a:pt x="848" y="920"/>
                    <a:pt x="860" y="942"/>
                  </a:cubicBezTo>
                  <a:cubicBezTo>
                    <a:pt x="869" y="955"/>
                    <a:pt x="877" y="968"/>
                    <a:pt x="885" y="984"/>
                  </a:cubicBezTo>
                  <a:cubicBezTo>
                    <a:pt x="892" y="998"/>
                    <a:pt x="897" y="1016"/>
                    <a:pt x="907" y="1029"/>
                  </a:cubicBezTo>
                  <a:cubicBezTo>
                    <a:pt x="918" y="1041"/>
                    <a:pt x="934" y="1044"/>
                    <a:pt x="947" y="1053"/>
                  </a:cubicBezTo>
                  <a:cubicBezTo>
                    <a:pt x="975" y="1071"/>
                    <a:pt x="960" y="1118"/>
                    <a:pt x="955" y="1143"/>
                  </a:cubicBezTo>
                  <a:cubicBezTo>
                    <a:pt x="951" y="1159"/>
                    <a:pt x="946" y="1177"/>
                    <a:pt x="945" y="1193"/>
                  </a:cubicBezTo>
                  <a:cubicBezTo>
                    <a:pt x="945" y="1201"/>
                    <a:pt x="951" y="1212"/>
                    <a:pt x="950" y="1219"/>
                  </a:cubicBezTo>
                  <a:cubicBezTo>
                    <a:pt x="949" y="1229"/>
                    <a:pt x="941" y="1230"/>
                    <a:pt x="945" y="1242"/>
                  </a:cubicBezTo>
                  <a:cubicBezTo>
                    <a:pt x="932" y="1244"/>
                    <a:pt x="932" y="1273"/>
                    <a:pt x="930" y="1287"/>
                  </a:cubicBezTo>
                  <a:cubicBezTo>
                    <a:pt x="930" y="1288"/>
                    <a:pt x="926" y="1305"/>
                    <a:pt x="927" y="1314"/>
                  </a:cubicBezTo>
                  <a:cubicBezTo>
                    <a:pt x="926" y="1313"/>
                    <a:pt x="926" y="1312"/>
                    <a:pt x="925" y="1311"/>
                  </a:cubicBezTo>
                  <a:cubicBezTo>
                    <a:pt x="924" y="1315"/>
                    <a:pt x="922" y="1318"/>
                    <a:pt x="921" y="1322"/>
                  </a:cubicBezTo>
                  <a:cubicBezTo>
                    <a:pt x="923" y="1326"/>
                    <a:pt x="922" y="1330"/>
                    <a:pt x="928" y="1331"/>
                  </a:cubicBezTo>
                  <a:cubicBezTo>
                    <a:pt x="929" y="1326"/>
                    <a:pt x="929" y="1322"/>
                    <a:pt x="928" y="1318"/>
                  </a:cubicBezTo>
                  <a:cubicBezTo>
                    <a:pt x="930" y="1319"/>
                    <a:pt x="932" y="1319"/>
                    <a:pt x="936" y="1316"/>
                  </a:cubicBezTo>
                  <a:cubicBezTo>
                    <a:pt x="939" y="1334"/>
                    <a:pt x="935" y="1356"/>
                    <a:pt x="928" y="1373"/>
                  </a:cubicBezTo>
                  <a:cubicBezTo>
                    <a:pt x="926" y="1370"/>
                    <a:pt x="921" y="1368"/>
                    <a:pt x="918" y="1365"/>
                  </a:cubicBezTo>
                  <a:cubicBezTo>
                    <a:pt x="916" y="1367"/>
                    <a:pt x="914" y="1368"/>
                    <a:pt x="913" y="1369"/>
                  </a:cubicBezTo>
                  <a:cubicBezTo>
                    <a:pt x="930" y="1382"/>
                    <a:pt x="906" y="1395"/>
                    <a:pt x="913" y="1412"/>
                  </a:cubicBezTo>
                  <a:cubicBezTo>
                    <a:pt x="917" y="1424"/>
                    <a:pt x="926" y="1442"/>
                    <a:pt x="928" y="1451"/>
                  </a:cubicBezTo>
                  <a:cubicBezTo>
                    <a:pt x="925" y="1453"/>
                    <a:pt x="922" y="1455"/>
                    <a:pt x="920" y="1457"/>
                  </a:cubicBezTo>
                  <a:cubicBezTo>
                    <a:pt x="926" y="1467"/>
                    <a:pt x="933" y="1463"/>
                    <a:pt x="941" y="1468"/>
                  </a:cubicBezTo>
                  <a:cubicBezTo>
                    <a:pt x="947" y="1472"/>
                    <a:pt x="953" y="1479"/>
                    <a:pt x="963" y="1483"/>
                  </a:cubicBezTo>
                  <a:cubicBezTo>
                    <a:pt x="975" y="1489"/>
                    <a:pt x="973" y="1491"/>
                    <a:pt x="987" y="1489"/>
                  </a:cubicBezTo>
                  <a:cubicBezTo>
                    <a:pt x="996" y="1489"/>
                    <a:pt x="1004" y="1487"/>
                    <a:pt x="1012" y="1485"/>
                  </a:cubicBezTo>
                  <a:cubicBezTo>
                    <a:pt x="1000" y="1476"/>
                    <a:pt x="994" y="1477"/>
                    <a:pt x="985" y="1464"/>
                  </a:cubicBezTo>
                  <a:cubicBezTo>
                    <a:pt x="981" y="1459"/>
                    <a:pt x="969" y="1437"/>
                    <a:pt x="970" y="1433"/>
                  </a:cubicBezTo>
                  <a:cubicBezTo>
                    <a:pt x="972" y="1419"/>
                    <a:pt x="988" y="1423"/>
                    <a:pt x="991" y="1414"/>
                  </a:cubicBezTo>
                  <a:cubicBezTo>
                    <a:pt x="994" y="1403"/>
                    <a:pt x="999" y="1395"/>
                    <a:pt x="1008" y="1389"/>
                  </a:cubicBezTo>
                  <a:cubicBezTo>
                    <a:pt x="1003" y="1386"/>
                    <a:pt x="992" y="1379"/>
                    <a:pt x="992" y="1374"/>
                  </a:cubicBezTo>
                  <a:cubicBezTo>
                    <a:pt x="991" y="1360"/>
                    <a:pt x="994" y="1365"/>
                    <a:pt x="1000" y="1356"/>
                  </a:cubicBezTo>
                  <a:cubicBezTo>
                    <a:pt x="1006" y="1345"/>
                    <a:pt x="1012" y="1338"/>
                    <a:pt x="1016" y="1328"/>
                  </a:cubicBezTo>
                  <a:cubicBezTo>
                    <a:pt x="1024" y="1326"/>
                    <a:pt x="1020" y="1327"/>
                    <a:pt x="1023" y="1322"/>
                  </a:cubicBezTo>
                  <a:cubicBezTo>
                    <a:pt x="1022" y="1324"/>
                    <a:pt x="1020" y="1325"/>
                    <a:pt x="1019" y="1326"/>
                  </a:cubicBezTo>
                  <a:cubicBezTo>
                    <a:pt x="1016" y="1321"/>
                    <a:pt x="1009" y="1310"/>
                    <a:pt x="1012" y="1307"/>
                  </a:cubicBezTo>
                  <a:cubicBezTo>
                    <a:pt x="1019" y="1298"/>
                    <a:pt x="1024" y="1316"/>
                    <a:pt x="1030" y="1313"/>
                  </a:cubicBezTo>
                  <a:cubicBezTo>
                    <a:pt x="1049" y="1304"/>
                    <a:pt x="1030" y="1287"/>
                    <a:pt x="1056" y="1282"/>
                  </a:cubicBezTo>
                  <a:cubicBezTo>
                    <a:pt x="1075" y="1278"/>
                    <a:pt x="1075" y="1281"/>
                    <a:pt x="1089" y="1267"/>
                  </a:cubicBezTo>
                  <a:cubicBezTo>
                    <a:pt x="1104" y="1252"/>
                    <a:pt x="1082" y="1246"/>
                    <a:pt x="1080" y="1231"/>
                  </a:cubicBezTo>
                  <a:cubicBezTo>
                    <a:pt x="1096" y="1235"/>
                    <a:pt x="1118" y="1244"/>
                    <a:pt x="1130" y="1225"/>
                  </a:cubicBezTo>
                  <a:cubicBezTo>
                    <a:pt x="1140" y="1209"/>
                    <a:pt x="1151" y="1192"/>
                    <a:pt x="1159" y="1180"/>
                  </a:cubicBezTo>
                  <a:cubicBezTo>
                    <a:pt x="1162" y="1176"/>
                    <a:pt x="1172" y="1162"/>
                    <a:pt x="1171" y="1159"/>
                  </a:cubicBezTo>
                  <a:cubicBezTo>
                    <a:pt x="1171" y="1154"/>
                    <a:pt x="1172" y="1134"/>
                    <a:pt x="1175" y="1130"/>
                  </a:cubicBezTo>
                  <a:cubicBezTo>
                    <a:pt x="1180" y="1122"/>
                    <a:pt x="1212" y="1105"/>
                    <a:pt x="1221" y="1103"/>
                  </a:cubicBezTo>
                  <a:cubicBezTo>
                    <a:pt x="1233" y="1100"/>
                    <a:pt x="1235" y="1110"/>
                    <a:pt x="1247" y="1097"/>
                  </a:cubicBezTo>
                  <a:cubicBezTo>
                    <a:pt x="1249" y="1094"/>
                    <a:pt x="1245" y="1090"/>
                    <a:pt x="1248" y="1086"/>
                  </a:cubicBezTo>
                  <a:cubicBezTo>
                    <a:pt x="1252" y="1082"/>
                    <a:pt x="1259" y="1077"/>
                    <a:pt x="1261" y="1072"/>
                  </a:cubicBezTo>
                  <a:cubicBezTo>
                    <a:pt x="1265" y="1064"/>
                    <a:pt x="1252" y="1054"/>
                    <a:pt x="1266" y="1048"/>
                  </a:cubicBezTo>
                  <a:cubicBezTo>
                    <a:pt x="1274" y="1045"/>
                    <a:pt x="1268" y="1029"/>
                    <a:pt x="1268" y="1022"/>
                  </a:cubicBezTo>
                  <a:cubicBezTo>
                    <a:pt x="1269" y="1010"/>
                    <a:pt x="1268" y="1011"/>
                    <a:pt x="1275" y="1000"/>
                  </a:cubicBezTo>
                  <a:cubicBezTo>
                    <a:pt x="1277" y="996"/>
                    <a:pt x="1289" y="980"/>
                    <a:pt x="1294" y="978"/>
                  </a:cubicBezTo>
                  <a:cubicBezTo>
                    <a:pt x="1307" y="973"/>
                    <a:pt x="1319" y="932"/>
                    <a:pt x="1301" y="925"/>
                  </a:cubicBezTo>
                  <a:close/>
                  <a:moveTo>
                    <a:pt x="832" y="437"/>
                  </a:moveTo>
                  <a:cubicBezTo>
                    <a:pt x="843" y="436"/>
                    <a:pt x="851" y="425"/>
                    <a:pt x="862" y="431"/>
                  </a:cubicBezTo>
                  <a:cubicBezTo>
                    <a:pt x="856" y="438"/>
                    <a:pt x="837" y="448"/>
                    <a:pt x="832" y="437"/>
                  </a:cubicBezTo>
                  <a:close/>
                  <a:moveTo>
                    <a:pt x="868" y="418"/>
                  </a:moveTo>
                  <a:cubicBezTo>
                    <a:pt x="880" y="412"/>
                    <a:pt x="889" y="413"/>
                    <a:pt x="901" y="410"/>
                  </a:cubicBezTo>
                  <a:cubicBezTo>
                    <a:pt x="890" y="421"/>
                    <a:pt x="874" y="427"/>
                    <a:pt x="860" y="420"/>
                  </a:cubicBezTo>
                  <a:cubicBezTo>
                    <a:pt x="863" y="419"/>
                    <a:pt x="865" y="419"/>
                    <a:pt x="868" y="418"/>
                  </a:cubicBezTo>
                  <a:close/>
                  <a:moveTo>
                    <a:pt x="769" y="359"/>
                  </a:moveTo>
                  <a:cubicBezTo>
                    <a:pt x="776" y="358"/>
                    <a:pt x="779" y="360"/>
                    <a:pt x="784" y="353"/>
                  </a:cubicBezTo>
                  <a:cubicBezTo>
                    <a:pt x="786" y="356"/>
                    <a:pt x="790" y="358"/>
                    <a:pt x="792" y="361"/>
                  </a:cubicBezTo>
                  <a:cubicBezTo>
                    <a:pt x="791" y="358"/>
                    <a:pt x="791" y="355"/>
                    <a:pt x="791" y="352"/>
                  </a:cubicBezTo>
                  <a:cubicBezTo>
                    <a:pt x="798" y="357"/>
                    <a:pt x="806" y="360"/>
                    <a:pt x="813" y="367"/>
                  </a:cubicBezTo>
                  <a:cubicBezTo>
                    <a:pt x="821" y="375"/>
                    <a:pt x="819" y="384"/>
                    <a:pt x="833" y="388"/>
                  </a:cubicBezTo>
                  <a:cubicBezTo>
                    <a:pt x="842" y="391"/>
                    <a:pt x="852" y="383"/>
                    <a:pt x="859" y="392"/>
                  </a:cubicBezTo>
                  <a:cubicBezTo>
                    <a:pt x="867" y="403"/>
                    <a:pt x="857" y="406"/>
                    <a:pt x="848" y="401"/>
                  </a:cubicBezTo>
                  <a:cubicBezTo>
                    <a:pt x="848" y="409"/>
                    <a:pt x="845" y="416"/>
                    <a:pt x="839" y="420"/>
                  </a:cubicBezTo>
                  <a:cubicBezTo>
                    <a:pt x="834" y="410"/>
                    <a:pt x="836" y="412"/>
                    <a:pt x="828" y="411"/>
                  </a:cubicBezTo>
                  <a:cubicBezTo>
                    <a:pt x="840" y="388"/>
                    <a:pt x="801" y="387"/>
                    <a:pt x="796" y="413"/>
                  </a:cubicBezTo>
                  <a:cubicBezTo>
                    <a:pt x="795" y="416"/>
                    <a:pt x="794" y="457"/>
                    <a:pt x="784" y="432"/>
                  </a:cubicBezTo>
                  <a:cubicBezTo>
                    <a:pt x="781" y="424"/>
                    <a:pt x="792" y="405"/>
                    <a:pt x="793" y="397"/>
                  </a:cubicBezTo>
                  <a:cubicBezTo>
                    <a:pt x="790" y="399"/>
                    <a:pt x="787" y="400"/>
                    <a:pt x="784" y="402"/>
                  </a:cubicBezTo>
                  <a:cubicBezTo>
                    <a:pt x="795" y="387"/>
                    <a:pt x="804" y="380"/>
                    <a:pt x="823" y="387"/>
                  </a:cubicBezTo>
                  <a:cubicBezTo>
                    <a:pt x="819" y="375"/>
                    <a:pt x="811" y="381"/>
                    <a:pt x="802" y="379"/>
                  </a:cubicBezTo>
                  <a:cubicBezTo>
                    <a:pt x="794" y="378"/>
                    <a:pt x="795" y="390"/>
                    <a:pt x="790" y="379"/>
                  </a:cubicBezTo>
                  <a:cubicBezTo>
                    <a:pt x="785" y="371"/>
                    <a:pt x="786" y="377"/>
                    <a:pt x="779" y="379"/>
                  </a:cubicBezTo>
                  <a:cubicBezTo>
                    <a:pt x="781" y="375"/>
                    <a:pt x="783" y="371"/>
                    <a:pt x="785" y="367"/>
                  </a:cubicBezTo>
                  <a:cubicBezTo>
                    <a:pt x="772" y="381"/>
                    <a:pt x="758" y="376"/>
                    <a:pt x="743" y="379"/>
                  </a:cubicBezTo>
                  <a:cubicBezTo>
                    <a:pt x="752" y="372"/>
                    <a:pt x="761" y="367"/>
                    <a:pt x="769" y="35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8" name="Freeform 153">
              <a:extLst>
                <a:ext uri="{FF2B5EF4-FFF2-40B4-BE49-F238E27FC236}">
                  <a16:creationId xmlns:a16="http://schemas.microsoft.com/office/drawing/2014/main" id="{4C2AF709-053E-4882-8657-46CDEBD36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" y="1051"/>
              <a:ext cx="19" cy="11"/>
            </a:xfrm>
            <a:custGeom>
              <a:avLst/>
              <a:gdLst>
                <a:gd name="T0" fmla="*/ 11 w 11"/>
                <a:gd name="T1" fmla="*/ 6 h 6"/>
                <a:gd name="T2" fmla="*/ 0 w 11"/>
                <a:gd name="T3" fmla="*/ 0 h 6"/>
                <a:gd name="T4" fmla="*/ 11 w 11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11" y="6"/>
                  </a:moveTo>
                  <a:cubicBezTo>
                    <a:pt x="8" y="0"/>
                    <a:pt x="5" y="2"/>
                    <a:pt x="0" y="0"/>
                  </a:cubicBezTo>
                  <a:cubicBezTo>
                    <a:pt x="2" y="2"/>
                    <a:pt x="5" y="6"/>
                    <a:pt x="11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9" name="Freeform 154">
              <a:extLst>
                <a:ext uri="{FF2B5EF4-FFF2-40B4-BE49-F238E27FC236}">
                  <a16:creationId xmlns:a16="http://schemas.microsoft.com/office/drawing/2014/main" id="{17D3B351-0BC6-4238-9AB5-1DEF55B16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" y="1106"/>
              <a:ext cx="82" cy="57"/>
            </a:xfrm>
            <a:custGeom>
              <a:avLst/>
              <a:gdLst>
                <a:gd name="T0" fmla="*/ 0 w 46"/>
                <a:gd name="T1" fmla="*/ 4 h 32"/>
                <a:gd name="T2" fmla="*/ 6 w 46"/>
                <a:gd name="T3" fmla="*/ 5 h 32"/>
                <a:gd name="T4" fmla="*/ 3 w 46"/>
                <a:gd name="T5" fmla="*/ 8 h 32"/>
                <a:gd name="T6" fmla="*/ 21 w 46"/>
                <a:gd name="T7" fmla="*/ 16 h 32"/>
                <a:gd name="T8" fmla="*/ 46 w 46"/>
                <a:gd name="T9" fmla="*/ 32 h 32"/>
                <a:gd name="T10" fmla="*/ 0 w 46"/>
                <a:gd name="T11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32">
                  <a:moveTo>
                    <a:pt x="0" y="4"/>
                  </a:moveTo>
                  <a:cubicBezTo>
                    <a:pt x="2" y="4"/>
                    <a:pt x="4" y="4"/>
                    <a:pt x="6" y="5"/>
                  </a:cubicBezTo>
                  <a:cubicBezTo>
                    <a:pt x="5" y="6"/>
                    <a:pt x="4" y="7"/>
                    <a:pt x="3" y="8"/>
                  </a:cubicBezTo>
                  <a:cubicBezTo>
                    <a:pt x="9" y="12"/>
                    <a:pt x="13" y="15"/>
                    <a:pt x="21" y="16"/>
                  </a:cubicBezTo>
                  <a:cubicBezTo>
                    <a:pt x="17" y="24"/>
                    <a:pt x="35" y="31"/>
                    <a:pt x="46" y="32"/>
                  </a:cubicBezTo>
                  <a:cubicBezTo>
                    <a:pt x="41" y="19"/>
                    <a:pt x="14" y="0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0" name="Freeform 155">
              <a:extLst>
                <a:ext uri="{FF2B5EF4-FFF2-40B4-BE49-F238E27FC236}">
                  <a16:creationId xmlns:a16="http://schemas.microsoft.com/office/drawing/2014/main" id="{9712B3BF-5C42-49A7-AF3C-CDD621B55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" y="1032"/>
              <a:ext cx="25" cy="42"/>
            </a:xfrm>
            <a:custGeom>
              <a:avLst/>
              <a:gdLst>
                <a:gd name="T0" fmla="*/ 6 w 14"/>
                <a:gd name="T1" fmla="*/ 7 h 24"/>
                <a:gd name="T2" fmla="*/ 0 w 14"/>
                <a:gd name="T3" fmla="*/ 0 h 24"/>
                <a:gd name="T4" fmla="*/ 5 w 14"/>
                <a:gd name="T5" fmla="*/ 9 h 24"/>
                <a:gd name="T6" fmla="*/ 14 w 14"/>
                <a:gd name="T7" fmla="*/ 24 h 24"/>
                <a:gd name="T8" fmla="*/ 11 w 14"/>
                <a:gd name="T9" fmla="*/ 3 h 24"/>
                <a:gd name="T10" fmla="*/ 6 w 14"/>
                <a:gd name="T1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4">
                  <a:moveTo>
                    <a:pt x="6" y="7"/>
                  </a:moveTo>
                  <a:cubicBezTo>
                    <a:pt x="4" y="3"/>
                    <a:pt x="9" y="5"/>
                    <a:pt x="0" y="0"/>
                  </a:cubicBezTo>
                  <a:cubicBezTo>
                    <a:pt x="1" y="4"/>
                    <a:pt x="3" y="6"/>
                    <a:pt x="5" y="9"/>
                  </a:cubicBezTo>
                  <a:cubicBezTo>
                    <a:pt x="9" y="15"/>
                    <a:pt x="11" y="17"/>
                    <a:pt x="14" y="24"/>
                  </a:cubicBezTo>
                  <a:cubicBezTo>
                    <a:pt x="11" y="17"/>
                    <a:pt x="11" y="11"/>
                    <a:pt x="11" y="3"/>
                  </a:cubicBezTo>
                  <a:cubicBezTo>
                    <a:pt x="9" y="4"/>
                    <a:pt x="8" y="5"/>
                    <a:pt x="6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1" name="Freeform 156">
              <a:extLst>
                <a:ext uri="{FF2B5EF4-FFF2-40B4-BE49-F238E27FC236}">
                  <a16:creationId xmlns:a16="http://schemas.microsoft.com/office/drawing/2014/main" id="{159CFED3-4437-4BFF-9137-459DAC73A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" y="939"/>
              <a:ext cx="53" cy="31"/>
            </a:xfrm>
            <a:custGeom>
              <a:avLst/>
              <a:gdLst>
                <a:gd name="T0" fmla="*/ 21 w 30"/>
                <a:gd name="T1" fmla="*/ 0 h 17"/>
                <a:gd name="T2" fmla="*/ 12 w 30"/>
                <a:gd name="T3" fmla="*/ 14 h 17"/>
                <a:gd name="T4" fmla="*/ 21 w 3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7">
                  <a:moveTo>
                    <a:pt x="21" y="0"/>
                  </a:moveTo>
                  <a:cubicBezTo>
                    <a:pt x="9" y="1"/>
                    <a:pt x="0" y="17"/>
                    <a:pt x="12" y="14"/>
                  </a:cubicBezTo>
                  <a:cubicBezTo>
                    <a:pt x="19" y="13"/>
                    <a:pt x="30" y="4"/>
                    <a:pt x="21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2" name="Freeform 157">
              <a:extLst>
                <a:ext uri="{FF2B5EF4-FFF2-40B4-BE49-F238E27FC236}">
                  <a16:creationId xmlns:a16="http://schemas.microsoft.com/office/drawing/2014/main" id="{31717111-9A99-4F21-BA85-A816F321F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9" y="1376"/>
              <a:ext cx="48" cy="39"/>
            </a:xfrm>
            <a:custGeom>
              <a:avLst/>
              <a:gdLst>
                <a:gd name="T0" fmla="*/ 27 w 27"/>
                <a:gd name="T1" fmla="*/ 0 h 22"/>
                <a:gd name="T2" fmla="*/ 0 w 27"/>
                <a:gd name="T3" fmla="*/ 2 h 22"/>
                <a:gd name="T4" fmla="*/ 27 w 27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2">
                  <a:moveTo>
                    <a:pt x="27" y="0"/>
                  </a:moveTo>
                  <a:cubicBezTo>
                    <a:pt x="18" y="4"/>
                    <a:pt x="8" y="2"/>
                    <a:pt x="0" y="2"/>
                  </a:cubicBezTo>
                  <a:cubicBezTo>
                    <a:pt x="11" y="15"/>
                    <a:pt x="25" y="22"/>
                    <a:pt x="27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3" name="Freeform 158">
              <a:extLst>
                <a:ext uri="{FF2B5EF4-FFF2-40B4-BE49-F238E27FC236}">
                  <a16:creationId xmlns:a16="http://schemas.microsoft.com/office/drawing/2014/main" id="{81E3B44D-1461-4661-B255-C467FC43C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" y="1277"/>
              <a:ext cx="12" cy="32"/>
            </a:xfrm>
            <a:custGeom>
              <a:avLst/>
              <a:gdLst>
                <a:gd name="T0" fmla="*/ 6 w 7"/>
                <a:gd name="T1" fmla="*/ 0 h 18"/>
                <a:gd name="T2" fmla="*/ 0 w 7"/>
                <a:gd name="T3" fmla="*/ 4 h 18"/>
                <a:gd name="T4" fmla="*/ 4 w 7"/>
                <a:gd name="T5" fmla="*/ 18 h 18"/>
                <a:gd name="T6" fmla="*/ 6 w 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6" y="0"/>
                  </a:moveTo>
                  <a:cubicBezTo>
                    <a:pt x="4" y="2"/>
                    <a:pt x="2" y="3"/>
                    <a:pt x="0" y="4"/>
                  </a:cubicBezTo>
                  <a:cubicBezTo>
                    <a:pt x="0" y="7"/>
                    <a:pt x="0" y="12"/>
                    <a:pt x="4" y="18"/>
                  </a:cubicBezTo>
                  <a:cubicBezTo>
                    <a:pt x="7" y="12"/>
                    <a:pt x="7" y="6"/>
                    <a:pt x="6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4" name="Freeform 159">
              <a:extLst>
                <a:ext uri="{FF2B5EF4-FFF2-40B4-BE49-F238E27FC236}">
                  <a16:creationId xmlns:a16="http://schemas.microsoft.com/office/drawing/2014/main" id="{C6B919B2-AC3E-4051-8F9A-3A475BB11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" y="1293"/>
              <a:ext cx="69" cy="65"/>
            </a:xfrm>
            <a:custGeom>
              <a:avLst/>
              <a:gdLst>
                <a:gd name="T0" fmla="*/ 10 w 39"/>
                <a:gd name="T1" fmla="*/ 23 h 37"/>
                <a:gd name="T2" fmla="*/ 11 w 39"/>
                <a:gd name="T3" fmla="*/ 37 h 37"/>
                <a:gd name="T4" fmla="*/ 10 w 39"/>
                <a:gd name="T5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9" h="37">
                  <a:moveTo>
                    <a:pt x="10" y="23"/>
                  </a:moveTo>
                  <a:cubicBezTo>
                    <a:pt x="8" y="29"/>
                    <a:pt x="8" y="32"/>
                    <a:pt x="11" y="37"/>
                  </a:cubicBezTo>
                  <a:cubicBezTo>
                    <a:pt x="39" y="25"/>
                    <a:pt x="0" y="0"/>
                    <a:pt x="10" y="2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5" name="Freeform 160">
              <a:extLst>
                <a:ext uri="{FF2B5EF4-FFF2-40B4-BE49-F238E27FC236}">
                  <a16:creationId xmlns:a16="http://schemas.microsoft.com/office/drawing/2014/main" id="{E7A8743E-96CB-4F22-AAA8-1B5907BAA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9" y="1337"/>
              <a:ext cx="13" cy="16"/>
            </a:xfrm>
            <a:custGeom>
              <a:avLst/>
              <a:gdLst>
                <a:gd name="T0" fmla="*/ 7 w 7"/>
                <a:gd name="T1" fmla="*/ 6 h 9"/>
                <a:gd name="T2" fmla="*/ 0 w 7"/>
                <a:gd name="T3" fmla="*/ 4 h 9"/>
                <a:gd name="T4" fmla="*/ 7 w 7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7" y="6"/>
                  </a:moveTo>
                  <a:cubicBezTo>
                    <a:pt x="4" y="5"/>
                    <a:pt x="6" y="0"/>
                    <a:pt x="0" y="4"/>
                  </a:cubicBezTo>
                  <a:cubicBezTo>
                    <a:pt x="3" y="9"/>
                    <a:pt x="5" y="5"/>
                    <a:pt x="7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6" name="Freeform 161">
              <a:extLst>
                <a:ext uri="{FF2B5EF4-FFF2-40B4-BE49-F238E27FC236}">
                  <a16:creationId xmlns:a16="http://schemas.microsoft.com/office/drawing/2014/main" id="{4EA9E919-1E05-45AB-B1DE-9F8E90EEB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5" y="989"/>
              <a:ext cx="18" cy="14"/>
            </a:xfrm>
            <a:custGeom>
              <a:avLst/>
              <a:gdLst>
                <a:gd name="T0" fmla="*/ 8 w 10"/>
                <a:gd name="T1" fmla="*/ 8 h 8"/>
                <a:gd name="T2" fmla="*/ 0 w 10"/>
                <a:gd name="T3" fmla="*/ 0 h 8"/>
                <a:gd name="T4" fmla="*/ 8 w 1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cubicBezTo>
                    <a:pt x="10" y="7"/>
                    <a:pt x="8" y="3"/>
                    <a:pt x="0" y="0"/>
                  </a:cubicBezTo>
                  <a:cubicBezTo>
                    <a:pt x="1" y="5"/>
                    <a:pt x="4" y="4"/>
                    <a:pt x="8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7" name="Freeform 162">
              <a:extLst>
                <a:ext uri="{FF2B5EF4-FFF2-40B4-BE49-F238E27FC236}">
                  <a16:creationId xmlns:a16="http://schemas.microsoft.com/office/drawing/2014/main" id="{C2125206-D864-4060-A940-0BE3FD763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925"/>
              <a:ext cx="14" cy="23"/>
            </a:xfrm>
            <a:custGeom>
              <a:avLst/>
              <a:gdLst>
                <a:gd name="T0" fmla="*/ 8 w 8"/>
                <a:gd name="T1" fmla="*/ 0 h 13"/>
                <a:gd name="T2" fmla="*/ 0 w 8"/>
                <a:gd name="T3" fmla="*/ 13 h 13"/>
                <a:gd name="T4" fmla="*/ 5 w 8"/>
                <a:gd name="T5" fmla="*/ 5 h 13"/>
                <a:gd name="T6" fmla="*/ 8 w 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3" y="6"/>
                    <a:pt x="2" y="8"/>
                    <a:pt x="0" y="13"/>
                  </a:cubicBezTo>
                  <a:cubicBezTo>
                    <a:pt x="2" y="11"/>
                    <a:pt x="3" y="8"/>
                    <a:pt x="5" y="5"/>
                  </a:cubicBezTo>
                  <a:cubicBezTo>
                    <a:pt x="6" y="3"/>
                    <a:pt x="7" y="2"/>
                    <a:pt x="8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8" name="Freeform 163">
              <a:extLst>
                <a:ext uri="{FF2B5EF4-FFF2-40B4-BE49-F238E27FC236}">
                  <a16:creationId xmlns:a16="http://schemas.microsoft.com/office/drawing/2014/main" id="{70067838-E26E-4902-B566-D8DE4A102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8" y="1431"/>
              <a:ext cx="39" cy="7"/>
            </a:xfrm>
            <a:custGeom>
              <a:avLst/>
              <a:gdLst>
                <a:gd name="T0" fmla="*/ 22 w 22"/>
                <a:gd name="T1" fmla="*/ 3 h 4"/>
                <a:gd name="T2" fmla="*/ 0 w 22"/>
                <a:gd name="T3" fmla="*/ 1 h 4"/>
                <a:gd name="T4" fmla="*/ 22 w 2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4">
                  <a:moveTo>
                    <a:pt x="22" y="3"/>
                  </a:moveTo>
                  <a:cubicBezTo>
                    <a:pt x="14" y="1"/>
                    <a:pt x="7" y="0"/>
                    <a:pt x="0" y="1"/>
                  </a:cubicBezTo>
                  <a:cubicBezTo>
                    <a:pt x="7" y="3"/>
                    <a:pt x="14" y="4"/>
                    <a:pt x="22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9" name="Freeform 164">
              <a:extLst>
                <a:ext uri="{FF2B5EF4-FFF2-40B4-BE49-F238E27FC236}">
                  <a16:creationId xmlns:a16="http://schemas.microsoft.com/office/drawing/2014/main" id="{75D6A2C7-DD18-4668-96BF-63F00AF5A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1426"/>
              <a:ext cx="36" cy="17"/>
            </a:xfrm>
            <a:custGeom>
              <a:avLst/>
              <a:gdLst>
                <a:gd name="T0" fmla="*/ 20 w 20"/>
                <a:gd name="T1" fmla="*/ 0 h 10"/>
                <a:gd name="T2" fmla="*/ 0 w 20"/>
                <a:gd name="T3" fmla="*/ 7 h 10"/>
                <a:gd name="T4" fmla="*/ 4 w 20"/>
                <a:gd name="T5" fmla="*/ 10 h 10"/>
                <a:gd name="T6" fmla="*/ 20 w 2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0">
                  <a:moveTo>
                    <a:pt x="20" y="0"/>
                  </a:moveTo>
                  <a:cubicBezTo>
                    <a:pt x="13" y="1"/>
                    <a:pt x="6" y="4"/>
                    <a:pt x="0" y="7"/>
                  </a:cubicBezTo>
                  <a:cubicBezTo>
                    <a:pt x="1" y="8"/>
                    <a:pt x="3" y="9"/>
                    <a:pt x="4" y="10"/>
                  </a:cubicBezTo>
                  <a:cubicBezTo>
                    <a:pt x="11" y="8"/>
                    <a:pt x="16" y="5"/>
                    <a:pt x="2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0" name="Freeform 165">
              <a:extLst>
                <a:ext uri="{FF2B5EF4-FFF2-40B4-BE49-F238E27FC236}">
                  <a16:creationId xmlns:a16="http://schemas.microsoft.com/office/drawing/2014/main" id="{B4101CDB-A254-4088-B47A-767973EBD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" y="1857"/>
              <a:ext cx="17" cy="9"/>
            </a:xfrm>
            <a:custGeom>
              <a:avLst/>
              <a:gdLst>
                <a:gd name="T0" fmla="*/ 10 w 10"/>
                <a:gd name="T1" fmla="*/ 0 h 5"/>
                <a:gd name="T2" fmla="*/ 0 w 10"/>
                <a:gd name="T3" fmla="*/ 2 h 5"/>
                <a:gd name="T4" fmla="*/ 10 w 10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10" y="0"/>
                  </a:moveTo>
                  <a:cubicBezTo>
                    <a:pt x="6" y="0"/>
                    <a:pt x="3" y="1"/>
                    <a:pt x="0" y="2"/>
                  </a:cubicBezTo>
                  <a:cubicBezTo>
                    <a:pt x="4" y="2"/>
                    <a:pt x="5" y="5"/>
                    <a:pt x="1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1" name="Freeform 166">
              <a:extLst>
                <a:ext uri="{FF2B5EF4-FFF2-40B4-BE49-F238E27FC236}">
                  <a16:creationId xmlns:a16="http://schemas.microsoft.com/office/drawing/2014/main" id="{D6189ACF-A83B-44C5-894B-1C7469D3F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9" y="602"/>
              <a:ext cx="55" cy="36"/>
            </a:xfrm>
            <a:custGeom>
              <a:avLst/>
              <a:gdLst>
                <a:gd name="T0" fmla="*/ 13 w 31"/>
                <a:gd name="T1" fmla="*/ 3 h 20"/>
                <a:gd name="T2" fmla="*/ 29 w 31"/>
                <a:gd name="T3" fmla="*/ 9 h 20"/>
                <a:gd name="T4" fmla="*/ 13 w 31"/>
                <a:gd name="T5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0">
                  <a:moveTo>
                    <a:pt x="13" y="3"/>
                  </a:moveTo>
                  <a:cubicBezTo>
                    <a:pt x="0" y="20"/>
                    <a:pt x="28" y="15"/>
                    <a:pt x="29" y="9"/>
                  </a:cubicBezTo>
                  <a:cubicBezTo>
                    <a:pt x="31" y="0"/>
                    <a:pt x="18" y="0"/>
                    <a:pt x="13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2" name="Freeform 167">
              <a:extLst>
                <a:ext uri="{FF2B5EF4-FFF2-40B4-BE49-F238E27FC236}">
                  <a16:creationId xmlns:a16="http://schemas.microsoft.com/office/drawing/2014/main" id="{0387B29D-C008-4437-9C7A-BB3AC3433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577"/>
              <a:ext cx="30" cy="22"/>
            </a:xfrm>
            <a:custGeom>
              <a:avLst/>
              <a:gdLst>
                <a:gd name="T0" fmla="*/ 0 w 17"/>
                <a:gd name="T1" fmla="*/ 2 h 12"/>
                <a:gd name="T2" fmla="*/ 17 w 17"/>
                <a:gd name="T3" fmla="*/ 9 h 12"/>
                <a:gd name="T4" fmla="*/ 0 w 17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2">
                  <a:moveTo>
                    <a:pt x="0" y="2"/>
                  </a:moveTo>
                  <a:cubicBezTo>
                    <a:pt x="4" y="9"/>
                    <a:pt x="10" y="12"/>
                    <a:pt x="17" y="9"/>
                  </a:cubicBezTo>
                  <a:cubicBezTo>
                    <a:pt x="13" y="2"/>
                    <a:pt x="7" y="0"/>
                    <a:pt x="0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3" name="Freeform 168">
              <a:extLst>
                <a:ext uri="{FF2B5EF4-FFF2-40B4-BE49-F238E27FC236}">
                  <a16:creationId xmlns:a16="http://schemas.microsoft.com/office/drawing/2014/main" id="{C5E8C897-C543-464F-99A6-5B4724437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3" y="396"/>
              <a:ext cx="78" cy="39"/>
            </a:xfrm>
            <a:custGeom>
              <a:avLst/>
              <a:gdLst>
                <a:gd name="T0" fmla="*/ 44 w 44"/>
                <a:gd name="T1" fmla="*/ 10 h 22"/>
                <a:gd name="T2" fmla="*/ 0 w 44"/>
                <a:gd name="T3" fmla="*/ 0 h 22"/>
                <a:gd name="T4" fmla="*/ 44 w 44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2">
                  <a:moveTo>
                    <a:pt x="44" y="10"/>
                  </a:moveTo>
                  <a:cubicBezTo>
                    <a:pt x="33" y="2"/>
                    <a:pt x="14" y="4"/>
                    <a:pt x="0" y="0"/>
                  </a:cubicBezTo>
                  <a:cubicBezTo>
                    <a:pt x="9" y="14"/>
                    <a:pt x="30" y="22"/>
                    <a:pt x="44" y="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4" name="Freeform 169">
              <a:extLst>
                <a:ext uri="{FF2B5EF4-FFF2-40B4-BE49-F238E27FC236}">
                  <a16:creationId xmlns:a16="http://schemas.microsoft.com/office/drawing/2014/main" id="{FD6F2CF5-1D0E-450C-8742-2430EEE7A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1" y="446"/>
              <a:ext cx="18" cy="12"/>
            </a:xfrm>
            <a:custGeom>
              <a:avLst/>
              <a:gdLst>
                <a:gd name="T0" fmla="*/ 10 w 10"/>
                <a:gd name="T1" fmla="*/ 0 h 7"/>
                <a:gd name="T2" fmla="*/ 0 w 10"/>
                <a:gd name="T3" fmla="*/ 0 h 7"/>
                <a:gd name="T4" fmla="*/ 10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7"/>
                    <a:pt x="5" y="1"/>
                    <a:pt x="1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5" name="Freeform 170">
              <a:extLst>
                <a:ext uri="{FF2B5EF4-FFF2-40B4-BE49-F238E27FC236}">
                  <a16:creationId xmlns:a16="http://schemas.microsoft.com/office/drawing/2014/main" id="{24BEE561-A9B0-49B1-82FE-0830945C3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4" y="1126"/>
              <a:ext cx="45" cy="19"/>
            </a:xfrm>
            <a:custGeom>
              <a:avLst/>
              <a:gdLst>
                <a:gd name="T0" fmla="*/ 0 w 25"/>
                <a:gd name="T1" fmla="*/ 1 h 11"/>
                <a:gd name="T2" fmla="*/ 20 w 25"/>
                <a:gd name="T3" fmla="*/ 11 h 11"/>
                <a:gd name="T4" fmla="*/ 25 w 25"/>
                <a:gd name="T5" fmla="*/ 9 h 11"/>
                <a:gd name="T6" fmla="*/ 0 w 2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1">
                  <a:moveTo>
                    <a:pt x="0" y="1"/>
                  </a:moveTo>
                  <a:cubicBezTo>
                    <a:pt x="6" y="6"/>
                    <a:pt x="13" y="9"/>
                    <a:pt x="20" y="11"/>
                  </a:cubicBezTo>
                  <a:cubicBezTo>
                    <a:pt x="21" y="11"/>
                    <a:pt x="23" y="10"/>
                    <a:pt x="25" y="9"/>
                  </a:cubicBezTo>
                  <a:cubicBezTo>
                    <a:pt x="18" y="4"/>
                    <a:pt x="9" y="0"/>
                    <a:pt x="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6" name="Freeform 171">
              <a:extLst>
                <a:ext uri="{FF2B5EF4-FFF2-40B4-BE49-F238E27FC236}">
                  <a16:creationId xmlns:a16="http://schemas.microsoft.com/office/drawing/2014/main" id="{E5032D0E-B41B-4D29-96A5-32698180F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0" y="1193"/>
              <a:ext cx="32" cy="29"/>
            </a:xfrm>
            <a:custGeom>
              <a:avLst/>
              <a:gdLst>
                <a:gd name="T0" fmla="*/ 0 w 18"/>
                <a:gd name="T1" fmla="*/ 0 h 16"/>
                <a:gd name="T2" fmla="*/ 18 w 18"/>
                <a:gd name="T3" fmla="*/ 6 h 16"/>
                <a:gd name="T4" fmla="*/ 0 w 18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0" y="0"/>
                  </a:moveTo>
                  <a:cubicBezTo>
                    <a:pt x="1" y="8"/>
                    <a:pt x="13" y="16"/>
                    <a:pt x="18" y="6"/>
                  </a:cubicBezTo>
                  <a:cubicBezTo>
                    <a:pt x="10" y="7"/>
                    <a:pt x="7" y="4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7" name="Freeform 172">
              <a:extLst>
                <a:ext uri="{FF2B5EF4-FFF2-40B4-BE49-F238E27FC236}">
                  <a16:creationId xmlns:a16="http://schemas.microsoft.com/office/drawing/2014/main" id="{A03C9BE1-9D02-4ED2-B0FA-1F8377A0A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0" y="1195"/>
              <a:ext cx="31" cy="37"/>
            </a:xfrm>
            <a:custGeom>
              <a:avLst/>
              <a:gdLst>
                <a:gd name="T0" fmla="*/ 17 w 17"/>
                <a:gd name="T1" fmla="*/ 8 h 21"/>
                <a:gd name="T2" fmla="*/ 12 w 17"/>
                <a:gd name="T3" fmla="*/ 0 h 21"/>
                <a:gd name="T4" fmla="*/ 17 w 17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1">
                  <a:moveTo>
                    <a:pt x="17" y="8"/>
                  </a:moveTo>
                  <a:cubicBezTo>
                    <a:pt x="16" y="5"/>
                    <a:pt x="14" y="2"/>
                    <a:pt x="12" y="0"/>
                  </a:cubicBezTo>
                  <a:cubicBezTo>
                    <a:pt x="0" y="8"/>
                    <a:pt x="7" y="21"/>
                    <a:pt x="17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8" name="Freeform 173">
              <a:extLst>
                <a:ext uri="{FF2B5EF4-FFF2-40B4-BE49-F238E27FC236}">
                  <a16:creationId xmlns:a16="http://schemas.microsoft.com/office/drawing/2014/main" id="{C569189D-977C-4BA5-B0CF-504B84FCB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6" y="872"/>
              <a:ext cx="28" cy="14"/>
            </a:xfrm>
            <a:custGeom>
              <a:avLst/>
              <a:gdLst>
                <a:gd name="T0" fmla="*/ 6 w 16"/>
                <a:gd name="T1" fmla="*/ 5 h 8"/>
                <a:gd name="T2" fmla="*/ 0 w 16"/>
                <a:gd name="T3" fmla="*/ 5 h 8"/>
                <a:gd name="T4" fmla="*/ 16 w 16"/>
                <a:gd name="T5" fmla="*/ 8 h 8"/>
                <a:gd name="T6" fmla="*/ 6 w 16"/>
                <a:gd name="T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6" y="5"/>
                  </a:moveTo>
                  <a:cubicBezTo>
                    <a:pt x="4" y="5"/>
                    <a:pt x="2" y="5"/>
                    <a:pt x="0" y="5"/>
                  </a:cubicBezTo>
                  <a:cubicBezTo>
                    <a:pt x="6" y="8"/>
                    <a:pt x="9" y="8"/>
                    <a:pt x="16" y="8"/>
                  </a:cubicBezTo>
                  <a:cubicBezTo>
                    <a:pt x="12" y="0"/>
                    <a:pt x="11" y="5"/>
                    <a:pt x="6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9" name="Freeform 174">
              <a:extLst>
                <a:ext uri="{FF2B5EF4-FFF2-40B4-BE49-F238E27FC236}">
                  <a16:creationId xmlns:a16="http://schemas.microsoft.com/office/drawing/2014/main" id="{6BF632C3-8635-4827-890E-25BF2CFA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" y="1742"/>
              <a:ext cx="14" cy="19"/>
            </a:xfrm>
            <a:custGeom>
              <a:avLst/>
              <a:gdLst>
                <a:gd name="T0" fmla="*/ 8 w 8"/>
                <a:gd name="T1" fmla="*/ 3 h 11"/>
                <a:gd name="T2" fmla="*/ 0 w 8"/>
                <a:gd name="T3" fmla="*/ 0 h 11"/>
                <a:gd name="T4" fmla="*/ 8 w 8"/>
                <a:gd name="T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1">
                  <a:moveTo>
                    <a:pt x="8" y="3"/>
                  </a:moveTo>
                  <a:cubicBezTo>
                    <a:pt x="5" y="2"/>
                    <a:pt x="2" y="1"/>
                    <a:pt x="0" y="0"/>
                  </a:cubicBezTo>
                  <a:cubicBezTo>
                    <a:pt x="0" y="11"/>
                    <a:pt x="3" y="5"/>
                    <a:pt x="8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40" name="Freeform 175">
              <a:extLst>
                <a:ext uri="{FF2B5EF4-FFF2-40B4-BE49-F238E27FC236}">
                  <a16:creationId xmlns:a16="http://schemas.microsoft.com/office/drawing/2014/main" id="{0FD9BE5A-67D5-4246-965B-83DB99AA8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" y="1722"/>
              <a:ext cx="9" cy="4"/>
            </a:xfrm>
            <a:custGeom>
              <a:avLst/>
              <a:gdLst>
                <a:gd name="T0" fmla="*/ 5 w 5"/>
                <a:gd name="T1" fmla="*/ 2 h 2"/>
                <a:gd name="T2" fmla="*/ 0 w 5"/>
                <a:gd name="T3" fmla="*/ 0 h 2"/>
                <a:gd name="T4" fmla="*/ 5 w 5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3" y="1"/>
                    <a:pt x="2" y="1"/>
                    <a:pt x="0" y="0"/>
                  </a:cubicBezTo>
                  <a:cubicBezTo>
                    <a:pt x="1" y="2"/>
                    <a:pt x="3" y="2"/>
                    <a:pt x="5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41" name="Freeform 176">
              <a:extLst>
                <a:ext uri="{FF2B5EF4-FFF2-40B4-BE49-F238E27FC236}">
                  <a16:creationId xmlns:a16="http://schemas.microsoft.com/office/drawing/2014/main" id="{56A043AC-542B-41E5-BC7D-6323B5FD1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" y="1715"/>
              <a:ext cx="13" cy="9"/>
            </a:xfrm>
            <a:custGeom>
              <a:avLst/>
              <a:gdLst>
                <a:gd name="T0" fmla="*/ 7 w 7"/>
                <a:gd name="T1" fmla="*/ 0 h 5"/>
                <a:gd name="T2" fmla="*/ 0 w 7"/>
                <a:gd name="T3" fmla="*/ 0 h 5"/>
                <a:gd name="T4" fmla="*/ 7 w 7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cubicBezTo>
                    <a:pt x="5" y="0"/>
                    <a:pt x="3" y="0"/>
                    <a:pt x="0" y="0"/>
                  </a:cubicBezTo>
                  <a:cubicBezTo>
                    <a:pt x="3" y="5"/>
                    <a:pt x="3" y="1"/>
                    <a:pt x="7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42" name="Freeform 177">
              <a:extLst>
                <a:ext uri="{FF2B5EF4-FFF2-40B4-BE49-F238E27FC236}">
                  <a16:creationId xmlns:a16="http://schemas.microsoft.com/office/drawing/2014/main" id="{84C6E1BD-E804-4CC7-903F-03107F2B5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" y="1703"/>
              <a:ext cx="11" cy="10"/>
            </a:xfrm>
            <a:custGeom>
              <a:avLst/>
              <a:gdLst>
                <a:gd name="T0" fmla="*/ 2 w 6"/>
                <a:gd name="T1" fmla="*/ 4 h 6"/>
                <a:gd name="T2" fmla="*/ 5 w 6"/>
                <a:gd name="T3" fmla="*/ 5 h 6"/>
                <a:gd name="T4" fmla="*/ 2 w 6"/>
                <a:gd name="T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2" y="4"/>
                  </a:moveTo>
                  <a:cubicBezTo>
                    <a:pt x="2" y="3"/>
                    <a:pt x="0" y="6"/>
                    <a:pt x="5" y="5"/>
                  </a:cubicBezTo>
                  <a:cubicBezTo>
                    <a:pt x="6" y="0"/>
                    <a:pt x="4" y="5"/>
                    <a:pt x="2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43" name="Freeform 178">
              <a:extLst>
                <a:ext uri="{FF2B5EF4-FFF2-40B4-BE49-F238E27FC236}">
                  <a16:creationId xmlns:a16="http://schemas.microsoft.com/office/drawing/2014/main" id="{48788E3F-7B8A-4A9F-8D3C-64E2DCBA7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90" y="1690"/>
              <a:ext cx="9" cy="16"/>
            </a:xfrm>
            <a:custGeom>
              <a:avLst/>
              <a:gdLst>
                <a:gd name="T0" fmla="*/ 0 w 5"/>
                <a:gd name="T1" fmla="*/ 4 h 9"/>
                <a:gd name="T2" fmla="*/ 5 w 5"/>
                <a:gd name="T3" fmla="*/ 4 h 9"/>
                <a:gd name="T4" fmla="*/ 0 w 5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9">
                  <a:moveTo>
                    <a:pt x="0" y="4"/>
                  </a:moveTo>
                  <a:cubicBezTo>
                    <a:pt x="4" y="9"/>
                    <a:pt x="4" y="4"/>
                    <a:pt x="5" y="4"/>
                  </a:cubicBezTo>
                  <a:cubicBezTo>
                    <a:pt x="2" y="5"/>
                    <a:pt x="3" y="0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2548C0B-F3BF-4BCF-AAE6-A53C3FB2F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goes here</a:t>
            </a:r>
            <a:br>
              <a:rPr lang="en-US" dirty="0"/>
            </a:b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A1675EF2-62A3-4561-B431-966F19F490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493B3D-5436-47F9-8BD6-D04C127191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3016D3C-34AB-4765-B4B8-2805330BBB98}"/>
              </a:ext>
            </a:extLst>
          </p:cNvPr>
          <p:cNvSpPr txBox="1"/>
          <p:nvPr/>
        </p:nvSpPr>
        <p:spPr>
          <a:xfrm>
            <a:off x="6170160" y="5827399"/>
            <a:ext cx="4552605" cy="384721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1400" dirty="0">
                <a:latin typeface="+mj-lt"/>
              </a:rPr>
              <a:t>Et la dis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F0E3974-C350-49A5-A8B6-8DCAC83E54D1}"/>
              </a:ext>
            </a:extLst>
          </p:cNvPr>
          <p:cNvSpPr txBox="1"/>
          <p:nvPr/>
        </p:nvSpPr>
        <p:spPr>
          <a:xfrm>
            <a:off x="6170160" y="5592235"/>
            <a:ext cx="4552605" cy="384721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1400" dirty="0">
                <a:latin typeface="+mj-lt"/>
              </a:rPr>
              <a:t>Et la dis </a:t>
            </a:r>
          </a:p>
        </p:txBody>
      </p:sp>
      <p:sp>
        <p:nvSpPr>
          <p:cNvPr id="444" name="Oval 443">
            <a:extLst>
              <a:ext uri="{FF2B5EF4-FFF2-40B4-BE49-F238E27FC236}">
                <a16:creationId xmlns:a16="http://schemas.microsoft.com/office/drawing/2014/main" id="{DC4EB339-8515-4139-A26D-4DDEEF9FFD14}"/>
              </a:ext>
            </a:extLst>
          </p:cNvPr>
          <p:cNvSpPr/>
          <p:nvPr/>
        </p:nvSpPr>
        <p:spPr>
          <a:xfrm>
            <a:off x="3617732" y="3125439"/>
            <a:ext cx="136534" cy="13653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endParaRPr lang="en-US" sz="2400">
              <a:solidFill>
                <a:srgbClr val="FFFFFF"/>
              </a:solidFill>
              <a:latin typeface="Open Sans"/>
              <a:ea typeface="DengXian Light"/>
              <a:cs typeface="Open San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5DD651-89B4-4A05-9363-5E75CC014F26}"/>
              </a:ext>
            </a:extLst>
          </p:cNvPr>
          <p:cNvSpPr txBox="1"/>
          <p:nvPr/>
        </p:nvSpPr>
        <p:spPr>
          <a:xfrm>
            <a:off x="6164263" y="5345085"/>
            <a:ext cx="2057532" cy="384721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1400" dirty="0">
                <a:latin typeface="+mj-lt"/>
              </a:rPr>
              <a:t>Et la dis 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415B970A-B1F2-47A5-93FB-AB31AE7FA217}"/>
              </a:ext>
            </a:extLst>
          </p:cNvPr>
          <p:cNvSpPr txBox="1"/>
          <p:nvPr/>
        </p:nvSpPr>
        <p:spPr>
          <a:xfrm>
            <a:off x="1220323" y="4665966"/>
            <a:ext cx="2127913" cy="661720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3200" b="1" dirty="0">
                <a:solidFill>
                  <a:schemeClr val="tx2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13</a:t>
            </a:r>
            <a:r>
              <a:rPr lang="en-US" sz="2400" b="1" dirty="0">
                <a:solidFill>
                  <a:schemeClr val="tx2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M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9191A817-3E25-480D-9C26-B6FE29D9A2EF}"/>
              </a:ext>
            </a:extLst>
          </p:cNvPr>
          <p:cNvSpPr txBox="1"/>
          <p:nvPr/>
        </p:nvSpPr>
        <p:spPr>
          <a:xfrm>
            <a:off x="1226568" y="5070545"/>
            <a:ext cx="2832640" cy="456600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1867" dirty="0">
                <a:latin typeface="+mj-lt"/>
              </a:rPr>
              <a:t>text goes her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1B1F153-DF3E-4BC3-982D-BF6C8DFECB00}"/>
              </a:ext>
            </a:extLst>
          </p:cNvPr>
          <p:cNvGrpSpPr/>
          <p:nvPr/>
        </p:nvGrpSpPr>
        <p:grpSpPr>
          <a:xfrm>
            <a:off x="1240051" y="3714369"/>
            <a:ext cx="2838888" cy="889198"/>
            <a:chOff x="980689" y="2153482"/>
            <a:chExt cx="2129166" cy="666899"/>
          </a:xfrm>
        </p:grpSpPr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B88A308-28D4-4FCC-80EF-FE8827CF773B}"/>
                </a:ext>
              </a:extLst>
            </p:cNvPr>
            <p:cNvSpPr txBox="1"/>
            <p:nvPr/>
          </p:nvSpPr>
          <p:spPr>
            <a:xfrm>
              <a:off x="980689" y="2153482"/>
              <a:ext cx="1595935" cy="496290"/>
            </a:xfrm>
            <a:prstGeom prst="rect">
              <a:avLst/>
            </a:prstGeom>
            <a:noFill/>
          </p:spPr>
          <p:txBody>
            <a:bodyPr wrap="square" tIns="121920" rtlCol="0">
              <a:spAutoFit/>
            </a:bodyPr>
            <a:lstStyle/>
            <a:p>
              <a:pPr defTabSz="609539">
                <a:buClr>
                  <a:srgbClr val="54B948"/>
                </a:buClr>
                <a:defRPr/>
              </a:pPr>
              <a:r>
                <a:rPr lang="en-US" sz="3200" b="1" dirty="0">
                  <a:solidFill>
                    <a:schemeClr val="tx2"/>
                  </a:solidFill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21</a:t>
              </a:r>
              <a:r>
                <a:rPr lang="en-US" sz="2400" b="1" dirty="0">
                  <a:solidFill>
                    <a:schemeClr val="tx2"/>
                  </a:solidFill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M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1CA8C16F-C9FE-498A-BEDE-793ACFCB7112}"/>
                </a:ext>
              </a:extLst>
            </p:cNvPr>
            <p:cNvSpPr txBox="1"/>
            <p:nvPr/>
          </p:nvSpPr>
          <p:spPr>
            <a:xfrm>
              <a:off x="985375" y="2485674"/>
              <a:ext cx="2124480" cy="334707"/>
            </a:xfrm>
            <a:prstGeom prst="rect">
              <a:avLst/>
            </a:prstGeom>
            <a:noFill/>
          </p:spPr>
          <p:txBody>
            <a:bodyPr wrap="square" tIns="121920" rtlCol="0">
              <a:spAutoFit/>
            </a:bodyPr>
            <a:lstStyle/>
            <a:p>
              <a:pPr defTabSz="609539">
                <a:buClr>
                  <a:srgbClr val="54B948"/>
                </a:buClr>
                <a:defRPr/>
              </a:pPr>
              <a:r>
                <a:rPr lang="en-US" dirty="0">
                  <a:latin typeface="+mj-lt"/>
                </a:rPr>
                <a:t>text goes here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B999659D-B0DA-4C75-A4D6-FC397292E39D}"/>
              </a:ext>
            </a:extLst>
          </p:cNvPr>
          <p:cNvSpPr txBox="1"/>
          <p:nvPr/>
        </p:nvSpPr>
        <p:spPr>
          <a:xfrm>
            <a:off x="1224185" y="1085850"/>
            <a:ext cx="2127913" cy="661720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3200" b="1" dirty="0">
                <a:solidFill>
                  <a:schemeClr val="tx2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19</a:t>
            </a:r>
            <a:r>
              <a:rPr lang="en-US" sz="2400" b="1" dirty="0">
                <a:solidFill>
                  <a:schemeClr val="tx2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K</a:t>
            </a:r>
            <a:endParaRPr lang="en-US" sz="3200" b="1" dirty="0">
              <a:solidFill>
                <a:schemeClr val="tx2"/>
              </a:solidFill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6CE8B94-FA4D-4AF3-8D09-EA9F9B2AF916}"/>
              </a:ext>
            </a:extLst>
          </p:cNvPr>
          <p:cNvSpPr txBox="1"/>
          <p:nvPr/>
        </p:nvSpPr>
        <p:spPr>
          <a:xfrm>
            <a:off x="1285907" y="1490431"/>
            <a:ext cx="2832640" cy="456600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1867" dirty="0">
                <a:latin typeface="+mj-lt"/>
              </a:rPr>
              <a:t>text goes here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2F119134-8D9F-44EA-AC83-FAE65DD53C38}"/>
              </a:ext>
            </a:extLst>
          </p:cNvPr>
          <p:cNvSpPr txBox="1"/>
          <p:nvPr/>
        </p:nvSpPr>
        <p:spPr>
          <a:xfrm>
            <a:off x="1246300" y="1964860"/>
            <a:ext cx="2127913" cy="661720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3200" b="1" dirty="0">
                <a:solidFill>
                  <a:schemeClr val="tx2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200</a:t>
            </a:r>
            <a:r>
              <a:rPr lang="en-US" sz="2400" b="1" dirty="0">
                <a:solidFill>
                  <a:schemeClr val="tx2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K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7E705EC5-52D7-4258-944C-C64C4965CB9F}"/>
              </a:ext>
            </a:extLst>
          </p:cNvPr>
          <p:cNvSpPr txBox="1"/>
          <p:nvPr/>
        </p:nvSpPr>
        <p:spPr>
          <a:xfrm>
            <a:off x="1275134" y="2361583"/>
            <a:ext cx="2044040" cy="456600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1867" dirty="0">
                <a:latin typeface="+mj-lt"/>
              </a:rPr>
              <a:t>text goes here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88E9ACF2-38CB-4A84-9BC5-3FA8983953FC}"/>
              </a:ext>
            </a:extLst>
          </p:cNvPr>
          <p:cNvSpPr txBox="1"/>
          <p:nvPr/>
        </p:nvSpPr>
        <p:spPr>
          <a:xfrm>
            <a:off x="1237152" y="2839499"/>
            <a:ext cx="2127913" cy="661720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3200" b="1" dirty="0">
                <a:solidFill>
                  <a:schemeClr val="tx2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9.4</a:t>
            </a:r>
            <a:r>
              <a:rPr lang="en-US" sz="2400" b="1" dirty="0">
                <a:solidFill>
                  <a:schemeClr val="tx2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M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811B87C5-6046-4149-83C9-278EC9676D79}"/>
              </a:ext>
            </a:extLst>
          </p:cNvPr>
          <p:cNvSpPr txBox="1"/>
          <p:nvPr/>
        </p:nvSpPr>
        <p:spPr>
          <a:xfrm>
            <a:off x="1265989" y="3236223"/>
            <a:ext cx="2234565" cy="456600"/>
          </a:xfrm>
          <a:prstGeom prst="rect">
            <a:avLst/>
          </a:prstGeom>
          <a:noFill/>
        </p:spPr>
        <p:txBody>
          <a:bodyPr wrap="square" tIns="121920" rtlCol="0">
            <a:spAutoFit/>
          </a:bodyPr>
          <a:lstStyle/>
          <a:p>
            <a:pPr defTabSz="609539">
              <a:buClr>
                <a:srgbClr val="54B948"/>
              </a:buClr>
              <a:defRPr/>
            </a:pPr>
            <a:r>
              <a:rPr lang="en-US" sz="1867" dirty="0">
                <a:latin typeface="+mj-lt"/>
              </a:rPr>
              <a:t>text goes he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6FE982-9661-49B1-A52B-8375597151AE}"/>
              </a:ext>
            </a:extLst>
          </p:cNvPr>
          <p:cNvGrpSpPr/>
          <p:nvPr/>
        </p:nvGrpSpPr>
        <p:grpSpPr>
          <a:xfrm>
            <a:off x="582285" y="2003057"/>
            <a:ext cx="2589296" cy="3566628"/>
            <a:chOff x="576323" y="1820860"/>
            <a:chExt cx="2127181" cy="3566628"/>
          </a:xfrm>
        </p:grpSpPr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57E88F08-679E-4930-A4F7-82EBC411F0F6}"/>
                </a:ext>
              </a:extLst>
            </p:cNvPr>
            <p:cNvCxnSpPr>
              <a:cxnSpLocks/>
            </p:cNvCxnSpPr>
            <p:nvPr/>
          </p:nvCxnSpPr>
          <p:spPr>
            <a:xfrm>
              <a:off x="576323" y="1820860"/>
              <a:ext cx="2127181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9544AE41-55DD-436A-BADC-6BF0600851B2}"/>
                </a:ext>
              </a:extLst>
            </p:cNvPr>
            <p:cNvCxnSpPr>
              <a:cxnSpLocks/>
            </p:cNvCxnSpPr>
            <p:nvPr/>
          </p:nvCxnSpPr>
          <p:spPr>
            <a:xfrm>
              <a:off x="576323" y="2697120"/>
              <a:ext cx="2127181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4C2403BE-7128-4A65-9871-E5791F569E9B}"/>
                </a:ext>
              </a:extLst>
            </p:cNvPr>
            <p:cNvCxnSpPr>
              <a:cxnSpLocks/>
            </p:cNvCxnSpPr>
            <p:nvPr/>
          </p:nvCxnSpPr>
          <p:spPr>
            <a:xfrm>
              <a:off x="576323" y="3534304"/>
              <a:ext cx="2127181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E389A4F8-1134-437E-93C1-1A739C58C89E}"/>
                </a:ext>
              </a:extLst>
            </p:cNvPr>
            <p:cNvCxnSpPr>
              <a:cxnSpLocks/>
            </p:cNvCxnSpPr>
            <p:nvPr/>
          </p:nvCxnSpPr>
          <p:spPr>
            <a:xfrm>
              <a:off x="576323" y="4428384"/>
              <a:ext cx="2127181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89C6F1C6-F5C3-499D-B046-D4170E5D21C5}"/>
                </a:ext>
              </a:extLst>
            </p:cNvPr>
            <p:cNvCxnSpPr>
              <a:cxnSpLocks/>
            </p:cNvCxnSpPr>
            <p:nvPr/>
          </p:nvCxnSpPr>
          <p:spPr>
            <a:xfrm>
              <a:off x="576323" y="5387488"/>
              <a:ext cx="2127181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2522295D-104E-45C1-955F-8F5C350CC6D1}"/>
              </a:ext>
            </a:extLst>
          </p:cNvPr>
          <p:cNvGrpSpPr/>
          <p:nvPr/>
        </p:nvGrpSpPr>
        <p:grpSpPr>
          <a:xfrm>
            <a:off x="673645" y="3914066"/>
            <a:ext cx="550539" cy="471262"/>
            <a:chOff x="2136017" y="3606293"/>
            <a:chExt cx="238169" cy="203873"/>
          </a:xfrm>
          <a:solidFill>
            <a:schemeClr val="tx2"/>
          </a:solidFill>
        </p:grpSpPr>
        <p:sp>
          <p:nvSpPr>
            <p:cNvPr id="190" name="Freeform 794">
              <a:extLst>
                <a:ext uri="{FF2B5EF4-FFF2-40B4-BE49-F238E27FC236}">
                  <a16:creationId xmlns:a16="http://schemas.microsoft.com/office/drawing/2014/main" id="{DCE1C523-7F47-46C0-9E7A-0B132DCC86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9378" y="3716803"/>
              <a:ext cx="51445" cy="51445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2"/>
                    <a:pt x="15" y="40"/>
                    <a:pt x="24" y="40"/>
                  </a:cubicBezTo>
                  <a:cubicBezTo>
                    <a:pt x="32" y="40"/>
                    <a:pt x="40" y="32"/>
                    <a:pt x="40" y="24"/>
                  </a:cubicBezTo>
                  <a:cubicBezTo>
                    <a:pt x="40" y="15"/>
                    <a:pt x="32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3" name="Freeform 795">
              <a:extLst>
                <a:ext uri="{FF2B5EF4-FFF2-40B4-BE49-F238E27FC236}">
                  <a16:creationId xmlns:a16="http://schemas.microsoft.com/office/drawing/2014/main" id="{2584CCE1-58E7-4B80-AD7C-698EAEC21D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0313" y="3716803"/>
              <a:ext cx="51445" cy="51445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2"/>
                    <a:pt x="15" y="40"/>
                    <a:pt x="24" y="40"/>
                  </a:cubicBezTo>
                  <a:cubicBezTo>
                    <a:pt x="32" y="40"/>
                    <a:pt x="40" y="32"/>
                    <a:pt x="40" y="24"/>
                  </a:cubicBezTo>
                  <a:cubicBezTo>
                    <a:pt x="40" y="15"/>
                    <a:pt x="32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4" name="Freeform 796">
              <a:extLst>
                <a:ext uri="{FF2B5EF4-FFF2-40B4-BE49-F238E27FC236}">
                  <a16:creationId xmlns:a16="http://schemas.microsoft.com/office/drawing/2014/main" id="{ED12D316-39E8-4BE1-AA79-9FD4CA521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8444" y="3716803"/>
              <a:ext cx="51445" cy="51445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2"/>
                    <a:pt x="15" y="40"/>
                    <a:pt x="24" y="40"/>
                  </a:cubicBezTo>
                  <a:cubicBezTo>
                    <a:pt x="32" y="40"/>
                    <a:pt x="40" y="32"/>
                    <a:pt x="40" y="24"/>
                  </a:cubicBezTo>
                  <a:cubicBezTo>
                    <a:pt x="40" y="15"/>
                    <a:pt x="32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0" name="Freeform 797">
              <a:extLst>
                <a:ext uri="{FF2B5EF4-FFF2-40B4-BE49-F238E27FC236}">
                  <a16:creationId xmlns:a16="http://schemas.microsoft.com/office/drawing/2014/main" id="{0F574B0E-43B8-4FCC-A675-B63EF69FF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7485" y="3665360"/>
              <a:ext cx="68592" cy="68592"/>
            </a:xfrm>
            <a:custGeom>
              <a:avLst/>
              <a:gdLst>
                <a:gd name="T0" fmla="*/ 5 w 65"/>
                <a:gd name="T1" fmla="*/ 65 h 65"/>
                <a:gd name="T2" fmla="*/ 2 w 65"/>
                <a:gd name="T3" fmla="*/ 63 h 65"/>
                <a:gd name="T4" fmla="*/ 2 w 65"/>
                <a:gd name="T5" fmla="*/ 58 h 65"/>
                <a:gd name="T6" fmla="*/ 58 w 65"/>
                <a:gd name="T7" fmla="*/ 2 h 65"/>
                <a:gd name="T8" fmla="*/ 63 w 65"/>
                <a:gd name="T9" fmla="*/ 2 h 65"/>
                <a:gd name="T10" fmla="*/ 63 w 65"/>
                <a:gd name="T11" fmla="*/ 7 h 65"/>
                <a:gd name="T12" fmla="*/ 7 w 65"/>
                <a:gd name="T13" fmla="*/ 63 h 65"/>
                <a:gd name="T14" fmla="*/ 5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5" y="65"/>
                  </a:moveTo>
                  <a:cubicBezTo>
                    <a:pt x="4" y="65"/>
                    <a:pt x="3" y="64"/>
                    <a:pt x="2" y="63"/>
                  </a:cubicBezTo>
                  <a:cubicBezTo>
                    <a:pt x="0" y="62"/>
                    <a:pt x="0" y="59"/>
                    <a:pt x="2" y="58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9" y="0"/>
                    <a:pt x="62" y="0"/>
                    <a:pt x="63" y="2"/>
                  </a:cubicBezTo>
                  <a:cubicBezTo>
                    <a:pt x="65" y="3"/>
                    <a:pt x="65" y="6"/>
                    <a:pt x="63" y="7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4"/>
                    <a:pt x="6" y="65"/>
                    <a:pt x="5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1" name="Freeform 798">
              <a:extLst>
                <a:ext uri="{FF2B5EF4-FFF2-40B4-BE49-F238E27FC236}">
                  <a16:creationId xmlns:a16="http://schemas.microsoft.com/office/drawing/2014/main" id="{1C592E80-CE1A-48FD-893D-FC9B03AB5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2230" y="3768248"/>
              <a:ext cx="85741" cy="41918"/>
            </a:xfrm>
            <a:custGeom>
              <a:avLst/>
              <a:gdLst>
                <a:gd name="T0" fmla="*/ 76 w 80"/>
                <a:gd name="T1" fmla="*/ 40 h 40"/>
                <a:gd name="T2" fmla="*/ 72 w 80"/>
                <a:gd name="T3" fmla="*/ 36 h 40"/>
                <a:gd name="T4" fmla="*/ 72 w 80"/>
                <a:gd name="T5" fmla="*/ 16 h 40"/>
                <a:gd name="T6" fmla="*/ 64 w 80"/>
                <a:gd name="T7" fmla="*/ 8 h 40"/>
                <a:gd name="T8" fmla="*/ 57 w 80"/>
                <a:gd name="T9" fmla="*/ 8 h 40"/>
                <a:gd name="T10" fmla="*/ 42 w 80"/>
                <a:gd name="T11" fmla="*/ 22 h 40"/>
                <a:gd name="T12" fmla="*/ 37 w 80"/>
                <a:gd name="T13" fmla="*/ 22 h 40"/>
                <a:gd name="T14" fmla="*/ 22 w 80"/>
                <a:gd name="T15" fmla="*/ 8 h 40"/>
                <a:gd name="T16" fmla="*/ 16 w 80"/>
                <a:gd name="T17" fmla="*/ 8 h 40"/>
                <a:gd name="T18" fmla="*/ 8 w 80"/>
                <a:gd name="T19" fmla="*/ 16 h 40"/>
                <a:gd name="T20" fmla="*/ 8 w 80"/>
                <a:gd name="T21" fmla="*/ 36 h 40"/>
                <a:gd name="T22" fmla="*/ 4 w 80"/>
                <a:gd name="T23" fmla="*/ 40 h 40"/>
                <a:gd name="T24" fmla="*/ 0 w 80"/>
                <a:gd name="T25" fmla="*/ 36 h 40"/>
                <a:gd name="T26" fmla="*/ 0 w 80"/>
                <a:gd name="T27" fmla="*/ 16 h 40"/>
                <a:gd name="T28" fmla="*/ 16 w 80"/>
                <a:gd name="T29" fmla="*/ 0 h 40"/>
                <a:gd name="T30" fmla="*/ 24 w 80"/>
                <a:gd name="T31" fmla="*/ 0 h 40"/>
                <a:gd name="T32" fmla="*/ 26 w 80"/>
                <a:gd name="T33" fmla="*/ 1 h 40"/>
                <a:gd name="T34" fmla="*/ 40 w 80"/>
                <a:gd name="T35" fmla="*/ 14 h 40"/>
                <a:gd name="T36" fmla="*/ 53 w 80"/>
                <a:gd name="T37" fmla="*/ 1 h 40"/>
                <a:gd name="T38" fmla="*/ 56 w 80"/>
                <a:gd name="T39" fmla="*/ 0 h 40"/>
                <a:gd name="T40" fmla="*/ 64 w 80"/>
                <a:gd name="T41" fmla="*/ 0 h 40"/>
                <a:gd name="T42" fmla="*/ 80 w 80"/>
                <a:gd name="T43" fmla="*/ 16 h 40"/>
                <a:gd name="T44" fmla="*/ 80 w 80"/>
                <a:gd name="T45" fmla="*/ 36 h 40"/>
                <a:gd name="T46" fmla="*/ 76 w 80"/>
                <a:gd name="T4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0" h="40">
                  <a:moveTo>
                    <a:pt x="76" y="40"/>
                  </a:moveTo>
                  <a:cubicBezTo>
                    <a:pt x="73" y="40"/>
                    <a:pt x="72" y="38"/>
                    <a:pt x="72" y="3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1"/>
                    <a:pt x="68" y="8"/>
                    <a:pt x="64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1" y="24"/>
                    <a:pt x="38" y="24"/>
                    <a:pt x="37" y="22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1"/>
                    <a:pt x="8" y="1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8"/>
                    <a:pt x="6" y="40"/>
                    <a:pt x="4" y="40"/>
                  </a:cubicBezTo>
                  <a:cubicBezTo>
                    <a:pt x="1" y="40"/>
                    <a:pt x="0" y="38"/>
                    <a:pt x="0" y="3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6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0"/>
                    <a:pt x="54" y="0"/>
                    <a:pt x="5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7"/>
                    <a:pt x="80" y="1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8"/>
                    <a:pt x="78" y="40"/>
                    <a:pt x="7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2" name="Freeform 799">
              <a:extLst>
                <a:ext uri="{FF2B5EF4-FFF2-40B4-BE49-F238E27FC236}">
                  <a16:creationId xmlns:a16="http://schemas.microsoft.com/office/drawing/2014/main" id="{F9D12BC1-62FE-46AD-AA24-914644E60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6017" y="3606293"/>
              <a:ext cx="238169" cy="182913"/>
            </a:xfrm>
            <a:custGeom>
              <a:avLst/>
              <a:gdLst>
                <a:gd name="T0" fmla="*/ 204 w 224"/>
                <a:gd name="T1" fmla="*/ 172 h 173"/>
                <a:gd name="T2" fmla="*/ 201 w 224"/>
                <a:gd name="T3" fmla="*/ 172 h 173"/>
                <a:gd name="T4" fmla="*/ 200 w 224"/>
                <a:gd name="T5" fmla="*/ 166 h 173"/>
                <a:gd name="T6" fmla="*/ 216 w 224"/>
                <a:gd name="T7" fmla="*/ 112 h 173"/>
                <a:gd name="T8" fmla="*/ 112 w 224"/>
                <a:gd name="T9" fmla="*/ 8 h 173"/>
                <a:gd name="T10" fmla="*/ 8 w 224"/>
                <a:gd name="T11" fmla="*/ 112 h 173"/>
                <a:gd name="T12" fmla="*/ 23 w 224"/>
                <a:gd name="T13" fmla="*/ 166 h 173"/>
                <a:gd name="T14" fmla="*/ 22 w 224"/>
                <a:gd name="T15" fmla="*/ 172 h 173"/>
                <a:gd name="T16" fmla="*/ 16 w 224"/>
                <a:gd name="T17" fmla="*/ 170 h 173"/>
                <a:gd name="T18" fmla="*/ 0 w 224"/>
                <a:gd name="T19" fmla="*/ 112 h 173"/>
                <a:gd name="T20" fmla="*/ 112 w 224"/>
                <a:gd name="T21" fmla="*/ 0 h 173"/>
                <a:gd name="T22" fmla="*/ 224 w 224"/>
                <a:gd name="T23" fmla="*/ 112 h 173"/>
                <a:gd name="T24" fmla="*/ 207 w 224"/>
                <a:gd name="T25" fmla="*/ 170 h 173"/>
                <a:gd name="T26" fmla="*/ 204 w 224"/>
                <a:gd name="T27" fmla="*/ 17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4" h="173">
                  <a:moveTo>
                    <a:pt x="204" y="172"/>
                  </a:moveTo>
                  <a:cubicBezTo>
                    <a:pt x="203" y="172"/>
                    <a:pt x="202" y="172"/>
                    <a:pt x="201" y="172"/>
                  </a:cubicBezTo>
                  <a:cubicBezTo>
                    <a:pt x="200" y="170"/>
                    <a:pt x="199" y="168"/>
                    <a:pt x="200" y="166"/>
                  </a:cubicBezTo>
                  <a:cubicBezTo>
                    <a:pt x="210" y="150"/>
                    <a:pt x="216" y="131"/>
                    <a:pt x="216" y="112"/>
                  </a:cubicBezTo>
                  <a:cubicBezTo>
                    <a:pt x="216" y="54"/>
                    <a:pt x="169" y="8"/>
                    <a:pt x="112" y="8"/>
                  </a:cubicBezTo>
                  <a:cubicBezTo>
                    <a:pt x="54" y="8"/>
                    <a:pt x="8" y="54"/>
                    <a:pt x="8" y="112"/>
                  </a:cubicBezTo>
                  <a:cubicBezTo>
                    <a:pt x="8" y="131"/>
                    <a:pt x="13" y="150"/>
                    <a:pt x="23" y="166"/>
                  </a:cubicBezTo>
                  <a:cubicBezTo>
                    <a:pt x="24" y="168"/>
                    <a:pt x="24" y="170"/>
                    <a:pt x="22" y="172"/>
                  </a:cubicBezTo>
                  <a:cubicBezTo>
                    <a:pt x="20" y="173"/>
                    <a:pt x="17" y="172"/>
                    <a:pt x="16" y="170"/>
                  </a:cubicBezTo>
                  <a:cubicBezTo>
                    <a:pt x="5" y="153"/>
                    <a:pt x="0" y="132"/>
                    <a:pt x="0" y="112"/>
                  </a:cubicBezTo>
                  <a:cubicBezTo>
                    <a:pt x="0" y="50"/>
                    <a:pt x="50" y="0"/>
                    <a:pt x="112" y="0"/>
                  </a:cubicBezTo>
                  <a:cubicBezTo>
                    <a:pt x="173" y="0"/>
                    <a:pt x="224" y="50"/>
                    <a:pt x="224" y="112"/>
                  </a:cubicBezTo>
                  <a:cubicBezTo>
                    <a:pt x="224" y="132"/>
                    <a:pt x="218" y="153"/>
                    <a:pt x="207" y="170"/>
                  </a:cubicBezTo>
                  <a:cubicBezTo>
                    <a:pt x="206" y="171"/>
                    <a:pt x="205" y="172"/>
                    <a:pt x="204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3" name="Freeform 800">
              <a:extLst>
                <a:ext uri="{FF2B5EF4-FFF2-40B4-BE49-F238E27FC236}">
                  <a16:creationId xmlns:a16="http://schemas.microsoft.com/office/drawing/2014/main" id="{5369BF61-CA93-4C83-A88F-7BD050D05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164" y="3768248"/>
              <a:ext cx="76214" cy="41918"/>
            </a:xfrm>
            <a:custGeom>
              <a:avLst/>
              <a:gdLst>
                <a:gd name="T0" fmla="*/ 4 w 72"/>
                <a:gd name="T1" fmla="*/ 40 h 40"/>
                <a:gd name="T2" fmla="*/ 0 w 72"/>
                <a:gd name="T3" fmla="*/ 36 h 40"/>
                <a:gd name="T4" fmla="*/ 0 w 72"/>
                <a:gd name="T5" fmla="*/ 16 h 40"/>
                <a:gd name="T6" fmla="*/ 16 w 72"/>
                <a:gd name="T7" fmla="*/ 0 h 40"/>
                <a:gd name="T8" fmla="*/ 24 w 72"/>
                <a:gd name="T9" fmla="*/ 0 h 40"/>
                <a:gd name="T10" fmla="*/ 26 w 72"/>
                <a:gd name="T11" fmla="*/ 1 h 40"/>
                <a:gd name="T12" fmla="*/ 40 w 72"/>
                <a:gd name="T13" fmla="*/ 14 h 40"/>
                <a:gd name="T14" fmla="*/ 53 w 72"/>
                <a:gd name="T15" fmla="*/ 1 h 40"/>
                <a:gd name="T16" fmla="*/ 56 w 72"/>
                <a:gd name="T17" fmla="*/ 0 h 40"/>
                <a:gd name="T18" fmla="*/ 64 w 72"/>
                <a:gd name="T19" fmla="*/ 0 h 40"/>
                <a:gd name="T20" fmla="*/ 69 w 72"/>
                <a:gd name="T21" fmla="*/ 1 h 40"/>
                <a:gd name="T22" fmla="*/ 71 w 72"/>
                <a:gd name="T23" fmla="*/ 6 h 40"/>
                <a:gd name="T24" fmla="*/ 66 w 72"/>
                <a:gd name="T25" fmla="*/ 8 h 40"/>
                <a:gd name="T26" fmla="*/ 64 w 72"/>
                <a:gd name="T27" fmla="*/ 8 h 40"/>
                <a:gd name="T28" fmla="*/ 57 w 72"/>
                <a:gd name="T29" fmla="*/ 8 h 40"/>
                <a:gd name="T30" fmla="*/ 42 w 72"/>
                <a:gd name="T31" fmla="*/ 22 h 40"/>
                <a:gd name="T32" fmla="*/ 37 w 72"/>
                <a:gd name="T33" fmla="*/ 22 h 40"/>
                <a:gd name="T34" fmla="*/ 22 w 72"/>
                <a:gd name="T35" fmla="*/ 8 h 40"/>
                <a:gd name="T36" fmla="*/ 16 w 72"/>
                <a:gd name="T37" fmla="*/ 8 h 40"/>
                <a:gd name="T38" fmla="*/ 8 w 72"/>
                <a:gd name="T39" fmla="*/ 16 h 40"/>
                <a:gd name="T40" fmla="*/ 8 w 72"/>
                <a:gd name="T41" fmla="*/ 36 h 40"/>
                <a:gd name="T42" fmla="*/ 4 w 72"/>
                <a:gd name="T4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40">
                  <a:moveTo>
                    <a:pt x="4" y="40"/>
                  </a:moveTo>
                  <a:cubicBezTo>
                    <a:pt x="1" y="40"/>
                    <a:pt x="0" y="38"/>
                    <a:pt x="0" y="3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6" y="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0"/>
                    <a:pt x="54" y="0"/>
                    <a:pt x="5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7" y="0"/>
                    <a:pt x="69" y="1"/>
                  </a:cubicBezTo>
                  <a:cubicBezTo>
                    <a:pt x="71" y="1"/>
                    <a:pt x="72" y="4"/>
                    <a:pt x="71" y="6"/>
                  </a:cubicBezTo>
                  <a:cubicBezTo>
                    <a:pt x="71" y="8"/>
                    <a:pt x="68" y="9"/>
                    <a:pt x="66" y="8"/>
                  </a:cubicBezTo>
                  <a:cubicBezTo>
                    <a:pt x="65" y="8"/>
                    <a:pt x="65" y="8"/>
                    <a:pt x="64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1" y="24"/>
                    <a:pt x="38" y="24"/>
                    <a:pt x="37" y="22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1"/>
                    <a:pt x="8" y="1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8"/>
                    <a:pt x="6" y="40"/>
                    <a:pt x="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4" name="Freeform 801">
              <a:extLst>
                <a:ext uri="{FF2B5EF4-FFF2-40B4-BE49-F238E27FC236}">
                  <a16:creationId xmlns:a16="http://schemas.microsoft.com/office/drawing/2014/main" id="{615F4A3D-BC41-45F8-8219-BEBF19D2B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8917" y="3768248"/>
              <a:ext cx="78120" cy="41918"/>
            </a:xfrm>
            <a:custGeom>
              <a:avLst/>
              <a:gdLst>
                <a:gd name="T0" fmla="*/ 69 w 73"/>
                <a:gd name="T1" fmla="*/ 40 h 40"/>
                <a:gd name="T2" fmla="*/ 65 w 73"/>
                <a:gd name="T3" fmla="*/ 36 h 40"/>
                <a:gd name="T4" fmla="*/ 65 w 73"/>
                <a:gd name="T5" fmla="*/ 16 h 40"/>
                <a:gd name="T6" fmla="*/ 57 w 73"/>
                <a:gd name="T7" fmla="*/ 8 h 40"/>
                <a:gd name="T8" fmla="*/ 50 w 73"/>
                <a:gd name="T9" fmla="*/ 8 h 40"/>
                <a:gd name="T10" fmla="*/ 35 w 73"/>
                <a:gd name="T11" fmla="*/ 22 h 40"/>
                <a:gd name="T12" fmla="*/ 33 w 73"/>
                <a:gd name="T13" fmla="*/ 24 h 40"/>
                <a:gd name="T14" fmla="*/ 33 w 73"/>
                <a:gd name="T15" fmla="*/ 24 h 40"/>
                <a:gd name="T16" fmla="*/ 30 w 73"/>
                <a:gd name="T17" fmla="*/ 22 h 40"/>
                <a:gd name="T18" fmla="*/ 15 w 73"/>
                <a:gd name="T19" fmla="*/ 8 h 40"/>
                <a:gd name="T20" fmla="*/ 9 w 73"/>
                <a:gd name="T21" fmla="*/ 8 h 40"/>
                <a:gd name="T22" fmla="*/ 6 w 73"/>
                <a:gd name="T23" fmla="*/ 8 h 40"/>
                <a:gd name="T24" fmla="*/ 1 w 73"/>
                <a:gd name="T25" fmla="*/ 6 h 40"/>
                <a:gd name="T26" fmla="*/ 3 w 73"/>
                <a:gd name="T27" fmla="*/ 1 h 40"/>
                <a:gd name="T28" fmla="*/ 8 w 73"/>
                <a:gd name="T29" fmla="*/ 0 h 40"/>
                <a:gd name="T30" fmla="*/ 17 w 73"/>
                <a:gd name="T31" fmla="*/ 0 h 40"/>
                <a:gd name="T32" fmla="*/ 19 w 73"/>
                <a:gd name="T33" fmla="*/ 1 h 40"/>
                <a:gd name="T34" fmla="*/ 33 w 73"/>
                <a:gd name="T35" fmla="*/ 14 h 40"/>
                <a:gd name="T36" fmla="*/ 46 w 73"/>
                <a:gd name="T37" fmla="*/ 1 h 40"/>
                <a:gd name="T38" fmla="*/ 49 w 73"/>
                <a:gd name="T39" fmla="*/ 0 h 40"/>
                <a:gd name="T40" fmla="*/ 57 w 73"/>
                <a:gd name="T41" fmla="*/ 0 h 40"/>
                <a:gd name="T42" fmla="*/ 73 w 73"/>
                <a:gd name="T43" fmla="*/ 16 h 40"/>
                <a:gd name="T44" fmla="*/ 73 w 73"/>
                <a:gd name="T45" fmla="*/ 36 h 40"/>
                <a:gd name="T46" fmla="*/ 69 w 73"/>
                <a:gd name="T4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3" h="40">
                  <a:moveTo>
                    <a:pt x="69" y="40"/>
                  </a:moveTo>
                  <a:cubicBezTo>
                    <a:pt x="66" y="40"/>
                    <a:pt x="65" y="38"/>
                    <a:pt x="65" y="36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5" y="11"/>
                    <a:pt x="61" y="8"/>
                    <a:pt x="57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3"/>
                    <a:pt x="34" y="24"/>
                    <a:pt x="33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1" y="24"/>
                    <a:pt x="30" y="23"/>
                    <a:pt x="30" y="2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7" y="8"/>
                    <a:pt x="6" y="8"/>
                  </a:cubicBezTo>
                  <a:cubicBezTo>
                    <a:pt x="4" y="9"/>
                    <a:pt x="2" y="8"/>
                    <a:pt x="1" y="6"/>
                  </a:cubicBezTo>
                  <a:cubicBezTo>
                    <a:pt x="0" y="4"/>
                    <a:pt x="1" y="1"/>
                    <a:pt x="3" y="1"/>
                  </a:cubicBezTo>
                  <a:cubicBezTo>
                    <a:pt x="5" y="0"/>
                    <a:pt x="6" y="0"/>
                    <a:pt x="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0"/>
                    <a:pt x="19" y="1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0"/>
                    <a:pt x="47" y="0"/>
                    <a:pt x="4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5" y="0"/>
                    <a:pt x="73" y="7"/>
                    <a:pt x="73" y="1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8"/>
                    <a:pt x="71" y="40"/>
                    <a:pt x="69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5" name="Freeform 802">
              <a:extLst>
                <a:ext uri="{FF2B5EF4-FFF2-40B4-BE49-F238E27FC236}">
                  <a16:creationId xmlns:a16="http://schemas.microsoft.com/office/drawing/2014/main" id="{D5C1ED74-623D-4EAF-B135-072B7CF75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691" y="3632968"/>
              <a:ext cx="158144" cy="87646"/>
            </a:xfrm>
            <a:custGeom>
              <a:avLst/>
              <a:gdLst>
                <a:gd name="T0" fmla="*/ 4 w 150"/>
                <a:gd name="T1" fmla="*/ 84 h 84"/>
                <a:gd name="T2" fmla="*/ 4 w 150"/>
                <a:gd name="T3" fmla="*/ 84 h 84"/>
                <a:gd name="T4" fmla="*/ 0 w 150"/>
                <a:gd name="T5" fmla="*/ 79 h 84"/>
                <a:gd name="T6" fmla="*/ 88 w 150"/>
                <a:gd name="T7" fmla="*/ 0 h 84"/>
                <a:gd name="T8" fmla="*/ 148 w 150"/>
                <a:gd name="T9" fmla="*/ 24 h 84"/>
                <a:gd name="T10" fmla="*/ 148 w 150"/>
                <a:gd name="T11" fmla="*/ 30 h 84"/>
                <a:gd name="T12" fmla="*/ 143 w 150"/>
                <a:gd name="T13" fmla="*/ 30 h 84"/>
                <a:gd name="T14" fmla="*/ 88 w 150"/>
                <a:gd name="T15" fmla="*/ 8 h 84"/>
                <a:gd name="T16" fmla="*/ 8 w 150"/>
                <a:gd name="T17" fmla="*/ 80 h 84"/>
                <a:gd name="T18" fmla="*/ 4 w 150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84">
                  <a:moveTo>
                    <a:pt x="4" y="84"/>
                  </a:moveTo>
                  <a:cubicBezTo>
                    <a:pt x="4" y="84"/>
                    <a:pt x="4" y="84"/>
                    <a:pt x="4" y="84"/>
                  </a:cubicBezTo>
                  <a:cubicBezTo>
                    <a:pt x="1" y="83"/>
                    <a:pt x="0" y="81"/>
                    <a:pt x="0" y="79"/>
                  </a:cubicBezTo>
                  <a:cubicBezTo>
                    <a:pt x="4" y="34"/>
                    <a:pt x="42" y="0"/>
                    <a:pt x="88" y="0"/>
                  </a:cubicBezTo>
                  <a:cubicBezTo>
                    <a:pt x="110" y="0"/>
                    <a:pt x="132" y="8"/>
                    <a:pt x="148" y="24"/>
                  </a:cubicBezTo>
                  <a:cubicBezTo>
                    <a:pt x="150" y="26"/>
                    <a:pt x="150" y="28"/>
                    <a:pt x="148" y="30"/>
                  </a:cubicBezTo>
                  <a:cubicBezTo>
                    <a:pt x="147" y="31"/>
                    <a:pt x="144" y="31"/>
                    <a:pt x="143" y="30"/>
                  </a:cubicBezTo>
                  <a:cubicBezTo>
                    <a:pt x="128" y="16"/>
                    <a:pt x="108" y="8"/>
                    <a:pt x="88" y="8"/>
                  </a:cubicBezTo>
                  <a:cubicBezTo>
                    <a:pt x="46" y="8"/>
                    <a:pt x="12" y="39"/>
                    <a:pt x="8" y="80"/>
                  </a:cubicBezTo>
                  <a:cubicBezTo>
                    <a:pt x="8" y="82"/>
                    <a:pt x="6" y="84"/>
                    <a:pt x="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BC5C46C1-C544-453A-9175-53E94DA8BDCC}"/>
              </a:ext>
            </a:extLst>
          </p:cNvPr>
          <p:cNvGrpSpPr/>
          <p:nvPr/>
        </p:nvGrpSpPr>
        <p:grpSpPr>
          <a:xfrm>
            <a:off x="706844" y="1290994"/>
            <a:ext cx="471262" cy="550539"/>
            <a:chOff x="2153164" y="1820986"/>
            <a:chExt cx="203873" cy="238169"/>
          </a:xfrm>
          <a:solidFill>
            <a:schemeClr val="tx2"/>
          </a:solidFill>
        </p:grpSpPr>
        <p:sp>
          <p:nvSpPr>
            <p:cNvPr id="247" name="Freeform 803">
              <a:extLst>
                <a:ext uri="{FF2B5EF4-FFF2-40B4-BE49-F238E27FC236}">
                  <a16:creationId xmlns:a16="http://schemas.microsoft.com/office/drawing/2014/main" id="{0B48FC59-B3AE-4E19-B370-550B75DD37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3164" y="1820986"/>
              <a:ext cx="203873" cy="238169"/>
            </a:xfrm>
            <a:custGeom>
              <a:avLst/>
              <a:gdLst>
                <a:gd name="T0" fmla="*/ 96 w 192"/>
                <a:gd name="T1" fmla="*/ 224 h 224"/>
                <a:gd name="T2" fmla="*/ 94 w 192"/>
                <a:gd name="T3" fmla="*/ 223 h 224"/>
                <a:gd name="T4" fmla="*/ 47 w 192"/>
                <a:gd name="T5" fmla="*/ 198 h 224"/>
                <a:gd name="T6" fmla="*/ 0 w 192"/>
                <a:gd name="T7" fmla="*/ 120 h 224"/>
                <a:gd name="T8" fmla="*/ 0 w 192"/>
                <a:gd name="T9" fmla="*/ 32 h 224"/>
                <a:gd name="T10" fmla="*/ 1 w 192"/>
                <a:gd name="T11" fmla="*/ 28 h 224"/>
                <a:gd name="T12" fmla="*/ 96 w 192"/>
                <a:gd name="T13" fmla="*/ 0 h 224"/>
                <a:gd name="T14" fmla="*/ 190 w 192"/>
                <a:gd name="T15" fmla="*/ 28 h 224"/>
                <a:gd name="T16" fmla="*/ 192 w 192"/>
                <a:gd name="T17" fmla="*/ 32 h 224"/>
                <a:gd name="T18" fmla="*/ 192 w 192"/>
                <a:gd name="T19" fmla="*/ 120 h 224"/>
                <a:gd name="T20" fmla="*/ 144 w 192"/>
                <a:gd name="T21" fmla="*/ 198 h 224"/>
                <a:gd name="T22" fmla="*/ 97 w 192"/>
                <a:gd name="T23" fmla="*/ 223 h 224"/>
                <a:gd name="T24" fmla="*/ 96 w 192"/>
                <a:gd name="T25" fmla="*/ 224 h 224"/>
                <a:gd name="T26" fmla="*/ 8 w 192"/>
                <a:gd name="T27" fmla="*/ 34 h 224"/>
                <a:gd name="T28" fmla="*/ 8 w 192"/>
                <a:gd name="T29" fmla="*/ 120 h 224"/>
                <a:gd name="T30" fmla="*/ 96 w 192"/>
                <a:gd name="T31" fmla="*/ 215 h 224"/>
                <a:gd name="T32" fmla="*/ 184 w 192"/>
                <a:gd name="T33" fmla="*/ 120 h 224"/>
                <a:gd name="T34" fmla="*/ 184 w 192"/>
                <a:gd name="T35" fmla="*/ 34 h 224"/>
                <a:gd name="T36" fmla="*/ 96 w 192"/>
                <a:gd name="T37" fmla="*/ 8 h 224"/>
                <a:gd name="T38" fmla="*/ 8 w 192"/>
                <a:gd name="T39" fmla="*/ 3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2" h="224">
                  <a:moveTo>
                    <a:pt x="96" y="224"/>
                  </a:moveTo>
                  <a:cubicBezTo>
                    <a:pt x="95" y="224"/>
                    <a:pt x="95" y="224"/>
                    <a:pt x="94" y="223"/>
                  </a:cubicBezTo>
                  <a:cubicBezTo>
                    <a:pt x="93" y="223"/>
                    <a:pt x="70" y="215"/>
                    <a:pt x="47" y="198"/>
                  </a:cubicBezTo>
                  <a:cubicBezTo>
                    <a:pt x="16" y="175"/>
                    <a:pt x="0" y="148"/>
                    <a:pt x="0" y="12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0"/>
                    <a:pt x="0" y="29"/>
                    <a:pt x="1" y="28"/>
                  </a:cubicBezTo>
                  <a:cubicBezTo>
                    <a:pt x="3" y="27"/>
                    <a:pt x="44" y="0"/>
                    <a:pt x="96" y="0"/>
                  </a:cubicBezTo>
                  <a:cubicBezTo>
                    <a:pt x="147" y="0"/>
                    <a:pt x="188" y="27"/>
                    <a:pt x="190" y="28"/>
                  </a:cubicBezTo>
                  <a:cubicBezTo>
                    <a:pt x="191" y="29"/>
                    <a:pt x="192" y="30"/>
                    <a:pt x="192" y="32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148"/>
                    <a:pt x="175" y="175"/>
                    <a:pt x="144" y="198"/>
                  </a:cubicBezTo>
                  <a:cubicBezTo>
                    <a:pt x="121" y="215"/>
                    <a:pt x="98" y="223"/>
                    <a:pt x="97" y="223"/>
                  </a:cubicBezTo>
                  <a:cubicBezTo>
                    <a:pt x="96" y="224"/>
                    <a:pt x="96" y="224"/>
                    <a:pt x="96" y="224"/>
                  </a:cubicBezTo>
                  <a:close/>
                  <a:moveTo>
                    <a:pt x="8" y="34"/>
                  </a:moveTo>
                  <a:cubicBezTo>
                    <a:pt x="8" y="120"/>
                    <a:pt x="8" y="120"/>
                    <a:pt x="8" y="120"/>
                  </a:cubicBezTo>
                  <a:cubicBezTo>
                    <a:pt x="8" y="178"/>
                    <a:pt x="84" y="211"/>
                    <a:pt x="96" y="215"/>
                  </a:cubicBezTo>
                  <a:cubicBezTo>
                    <a:pt x="107" y="211"/>
                    <a:pt x="184" y="178"/>
                    <a:pt x="184" y="120"/>
                  </a:cubicBezTo>
                  <a:cubicBezTo>
                    <a:pt x="184" y="34"/>
                    <a:pt x="184" y="34"/>
                    <a:pt x="184" y="34"/>
                  </a:cubicBezTo>
                  <a:cubicBezTo>
                    <a:pt x="175" y="29"/>
                    <a:pt x="139" y="8"/>
                    <a:pt x="96" y="8"/>
                  </a:cubicBezTo>
                  <a:cubicBezTo>
                    <a:pt x="52" y="8"/>
                    <a:pt x="16" y="29"/>
                    <a:pt x="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8" name="Freeform 804">
              <a:extLst>
                <a:ext uri="{FF2B5EF4-FFF2-40B4-BE49-F238E27FC236}">
                  <a16:creationId xmlns:a16="http://schemas.microsoft.com/office/drawing/2014/main" id="{F52DF4EE-2B84-407A-B314-8163E49B8B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3650" y="1872430"/>
              <a:ext cx="142901" cy="93362"/>
            </a:xfrm>
            <a:custGeom>
              <a:avLst/>
              <a:gdLst>
                <a:gd name="T0" fmla="*/ 108 w 136"/>
                <a:gd name="T1" fmla="*/ 88 h 88"/>
                <a:gd name="T2" fmla="*/ 20 w 136"/>
                <a:gd name="T3" fmla="*/ 88 h 88"/>
                <a:gd name="T4" fmla="*/ 0 w 136"/>
                <a:gd name="T5" fmla="*/ 68 h 88"/>
                <a:gd name="T6" fmla="*/ 16 w 136"/>
                <a:gd name="T7" fmla="*/ 48 h 88"/>
                <a:gd name="T8" fmla="*/ 16 w 136"/>
                <a:gd name="T9" fmla="*/ 44 h 88"/>
                <a:gd name="T10" fmla="*/ 40 w 136"/>
                <a:gd name="T11" fmla="*/ 20 h 88"/>
                <a:gd name="T12" fmla="*/ 50 w 136"/>
                <a:gd name="T13" fmla="*/ 22 h 88"/>
                <a:gd name="T14" fmla="*/ 84 w 136"/>
                <a:gd name="T15" fmla="*/ 0 h 88"/>
                <a:gd name="T16" fmla="*/ 120 w 136"/>
                <a:gd name="T17" fmla="*/ 34 h 88"/>
                <a:gd name="T18" fmla="*/ 136 w 136"/>
                <a:gd name="T19" fmla="*/ 60 h 88"/>
                <a:gd name="T20" fmla="*/ 108 w 136"/>
                <a:gd name="T21" fmla="*/ 88 h 88"/>
                <a:gd name="T22" fmla="*/ 20 w 136"/>
                <a:gd name="T23" fmla="*/ 56 h 88"/>
                <a:gd name="T24" fmla="*/ 8 w 136"/>
                <a:gd name="T25" fmla="*/ 68 h 88"/>
                <a:gd name="T26" fmla="*/ 20 w 136"/>
                <a:gd name="T27" fmla="*/ 80 h 88"/>
                <a:gd name="T28" fmla="*/ 108 w 136"/>
                <a:gd name="T29" fmla="*/ 80 h 88"/>
                <a:gd name="T30" fmla="*/ 128 w 136"/>
                <a:gd name="T31" fmla="*/ 60 h 88"/>
                <a:gd name="T32" fmla="*/ 114 w 136"/>
                <a:gd name="T33" fmla="*/ 41 h 88"/>
                <a:gd name="T34" fmla="*/ 111 w 136"/>
                <a:gd name="T35" fmla="*/ 37 h 88"/>
                <a:gd name="T36" fmla="*/ 112 w 136"/>
                <a:gd name="T37" fmla="*/ 36 h 88"/>
                <a:gd name="T38" fmla="*/ 84 w 136"/>
                <a:gd name="T39" fmla="*/ 8 h 88"/>
                <a:gd name="T40" fmla="*/ 56 w 136"/>
                <a:gd name="T41" fmla="*/ 29 h 88"/>
                <a:gd name="T42" fmla="*/ 54 w 136"/>
                <a:gd name="T43" fmla="*/ 32 h 88"/>
                <a:gd name="T44" fmla="*/ 50 w 136"/>
                <a:gd name="T45" fmla="*/ 32 h 88"/>
                <a:gd name="T46" fmla="*/ 40 w 136"/>
                <a:gd name="T47" fmla="*/ 28 h 88"/>
                <a:gd name="T48" fmla="*/ 24 w 136"/>
                <a:gd name="T49" fmla="*/ 44 h 88"/>
                <a:gd name="T50" fmla="*/ 25 w 136"/>
                <a:gd name="T51" fmla="*/ 50 h 88"/>
                <a:gd name="T52" fmla="*/ 25 w 136"/>
                <a:gd name="T53" fmla="*/ 54 h 88"/>
                <a:gd name="T54" fmla="*/ 21 w 136"/>
                <a:gd name="T55" fmla="*/ 56 h 88"/>
                <a:gd name="T56" fmla="*/ 20 w 136"/>
                <a:gd name="T57" fmla="*/ 5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6" h="88">
                  <a:moveTo>
                    <a:pt x="108" y="88"/>
                  </a:moveTo>
                  <a:cubicBezTo>
                    <a:pt x="20" y="88"/>
                    <a:pt x="20" y="88"/>
                    <a:pt x="20" y="88"/>
                  </a:cubicBezTo>
                  <a:cubicBezTo>
                    <a:pt x="9" y="88"/>
                    <a:pt x="0" y="79"/>
                    <a:pt x="0" y="68"/>
                  </a:cubicBezTo>
                  <a:cubicBezTo>
                    <a:pt x="0" y="58"/>
                    <a:pt x="7" y="50"/>
                    <a:pt x="16" y="48"/>
                  </a:cubicBezTo>
                  <a:cubicBezTo>
                    <a:pt x="16" y="47"/>
                    <a:pt x="16" y="45"/>
                    <a:pt x="16" y="44"/>
                  </a:cubicBezTo>
                  <a:cubicBezTo>
                    <a:pt x="16" y="30"/>
                    <a:pt x="26" y="20"/>
                    <a:pt x="40" y="20"/>
                  </a:cubicBezTo>
                  <a:cubicBezTo>
                    <a:pt x="43" y="20"/>
                    <a:pt x="47" y="21"/>
                    <a:pt x="50" y="22"/>
                  </a:cubicBezTo>
                  <a:cubicBezTo>
                    <a:pt x="56" y="9"/>
                    <a:pt x="69" y="0"/>
                    <a:pt x="84" y="0"/>
                  </a:cubicBezTo>
                  <a:cubicBezTo>
                    <a:pt x="103" y="0"/>
                    <a:pt x="119" y="15"/>
                    <a:pt x="120" y="34"/>
                  </a:cubicBezTo>
                  <a:cubicBezTo>
                    <a:pt x="129" y="39"/>
                    <a:pt x="136" y="49"/>
                    <a:pt x="136" y="60"/>
                  </a:cubicBezTo>
                  <a:cubicBezTo>
                    <a:pt x="136" y="75"/>
                    <a:pt x="123" y="88"/>
                    <a:pt x="108" y="88"/>
                  </a:cubicBezTo>
                  <a:close/>
                  <a:moveTo>
                    <a:pt x="20" y="56"/>
                  </a:moveTo>
                  <a:cubicBezTo>
                    <a:pt x="13" y="56"/>
                    <a:pt x="8" y="61"/>
                    <a:pt x="8" y="68"/>
                  </a:cubicBezTo>
                  <a:cubicBezTo>
                    <a:pt x="8" y="74"/>
                    <a:pt x="13" y="80"/>
                    <a:pt x="20" y="80"/>
                  </a:cubicBezTo>
                  <a:cubicBezTo>
                    <a:pt x="108" y="80"/>
                    <a:pt x="108" y="80"/>
                    <a:pt x="108" y="80"/>
                  </a:cubicBezTo>
                  <a:cubicBezTo>
                    <a:pt x="119" y="80"/>
                    <a:pt x="128" y="71"/>
                    <a:pt x="128" y="60"/>
                  </a:cubicBezTo>
                  <a:cubicBezTo>
                    <a:pt x="128" y="51"/>
                    <a:pt x="122" y="44"/>
                    <a:pt x="114" y="41"/>
                  </a:cubicBezTo>
                  <a:cubicBezTo>
                    <a:pt x="113" y="40"/>
                    <a:pt x="111" y="39"/>
                    <a:pt x="111" y="37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20"/>
                    <a:pt x="99" y="8"/>
                    <a:pt x="84" y="8"/>
                  </a:cubicBezTo>
                  <a:cubicBezTo>
                    <a:pt x="70" y="8"/>
                    <a:pt x="59" y="17"/>
                    <a:pt x="56" y="29"/>
                  </a:cubicBezTo>
                  <a:cubicBezTo>
                    <a:pt x="56" y="31"/>
                    <a:pt x="55" y="32"/>
                    <a:pt x="54" y="32"/>
                  </a:cubicBezTo>
                  <a:cubicBezTo>
                    <a:pt x="52" y="33"/>
                    <a:pt x="51" y="32"/>
                    <a:pt x="50" y="32"/>
                  </a:cubicBezTo>
                  <a:cubicBezTo>
                    <a:pt x="47" y="29"/>
                    <a:pt x="43" y="28"/>
                    <a:pt x="40" y="28"/>
                  </a:cubicBezTo>
                  <a:cubicBezTo>
                    <a:pt x="31" y="28"/>
                    <a:pt x="24" y="35"/>
                    <a:pt x="24" y="44"/>
                  </a:cubicBezTo>
                  <a:cubicBezTo>
                    <a:pt x="24" y="46"/>
                    <a:pt x="24" y="48"/>
                    <a:pt x="25" y="50"/>
                  </a:cubicBezTo>
                  <a:cubicBezTo>
                    <a:pt x="25" y="51"/>
                    <a:pt x="25" y="53"/>
                    <a:pt x="25" y="54"/>
                  </a:cubicBezTo>
                  <a:cubicBezTo>
                    <a:pt x="24" y="55"/>
                    <a:pt x="23" y="56"/>
                    <a:pt x="21" y="56"/>
                  </a:cubicBezTo>
                  <a:lnTo>
                    <a:pt x="2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9" name="Freeform 805">
              <a:extLst>
                <a:ext uri="{FF2B5EF4-FFF2-40B4-BE49-F238E27FC236}">
                  <a16:creationId xmlns:a16="http://schemas.microsoft.com/office/drawing/2014/main" id="{D567735A-96B3-44FB-9ED9-633C38402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1757" y="1958171"/>
              <a:ext cx="66688" cy="49539"/>
            </a:xfrm>
            <a:custGeom>
              <a:avLst/>
              <a:gdLst>
                <a:gd name="T0" fmla="*/ 56 w 64"/>
                <a:gd name="T1" fmla="*/ 48 h 48"/>
                <a:gd name="T2" fmla="*/ 8 w 64"/>
                <a:gd name="T3" fmla="*/ 48 h 48"/>
                <a:gd name="T4" fmla="*/ 0 w 64"/>
                <a:gd name="T5" fmla="*/ 40 h 48"/>
                <a:gd name="T6" fmla="*/ 0 w 64"/>
                <a:gd name="T7" fmla="*/ 8 h 48"/>
                <a:gd name="T8" fmla="*/ 8 w 64"/>
                <a:gd name="T9" fmla="*/ 0 h 48"/>
                <a:gd name="T10" fmla="*/ 8 w 64"/>
                <a:gd name="T11" fmla="*/ 40 h 48"/>
                <a:gd name="T12" fmla="*/ 56 w 64"/>
                <a:gd name="T13" fmla="*/ 40 h 48"/>
                <a:gd name="T14" fmla="*/ 56 w 64"/>
                <a:gd name="T15" fmla="*/ 0 h 48"/>
                <a:gd name="T16" fmla="*/ 64 w 64"/>
                <a:gd name="T17" fmla="*/ 8 h 48"/>
                <a:gd name="T18" fmla="*/ 64 w 64"/>
                <a:gd name="T19" fmla="*/ 40 h 48"/>
                <a:gd name="T20" fmla="*/ 56 w 64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48">
                  <a:moveTo>
                    <a:pt x="56" y="48"/>
                  </a:moveTo>
                  <a:cubicBezTo>
                    <a:pt x="8" y="48"/>
                    <a:pt x="8" y="48"/>
                    <a:pt x="8" y="48"/>
                  </a:cubicBezTo>
                  <a:cubicBezTo>
                    <a:pt x="3" y="48"/>
                    <a:pt x="0" y="44"/>
                    <a:pt x="0" y="4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0" y="0"/>
                    <a:pt x="64" y="3"/>
                    <a:pt x="64" y="8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4"/>
                    <a:pt x="60" y="48"/>
                    <a:pt x="5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0" name="Freeform 806">
              <a:extLst>
                <a:ext uri="{FF2B5EF4-FFF2-40B4-BE49-F238E27FC236}">
                  <a16:creationId xmlns:a16="http://schemas.microsoft.com/office/drawing/2014/main" id="{F5811EB5-BC8A-4EAA-ABFD-D24398241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378" y="1923875"/>
              <a:ext cx="51445" cy="38107"/>
            </a:xfrm>
            <a:custGeom>
              <a:avLst/>
              <a:gdLst>
                <a:gd name="T0" fmla="*/ 48 w 48"/>
                <a:gd name="T1" fmla="*/ 36 h 36"/>
                <a:gd name="T2" fmla="*/ 40 w 48"/>
                <a:gd name="T3" fmla="*/ 36 h 36"/>
                <a:gd name="T4" fmla="*/ 40 w 48"/>
                <a:gd name="T5" fmla="*/ 24 h 36"/>
                <a:gd name="T6" fmla="*/ 24 w 48"/>
                <a:gd name="T7" fmla="*/ 8 h 36"/>
                <a:gd name="T8" fmla="*/ 8 w 48"/>
                <a:gd name="T9" fmla="*/ 24 h 36"/>
                <a:gd name="T10" fmla="*/ 8 w 48"/>
                <a:gd name="T11" fmla="*/ 36 h 36"/>
                <a:gd name="T12" fmla="*/ 0 w 48"/>
                <a:gd name="T13" fmla="*/ 36 h 36"/>
                <a:gd name="T14" fmla="*/ 0 w 48"/>
                <a:gd name="T15" fmla="*/ 24 h 36"/>
                <a:gd name="T16" fmla="*/ 24 w 48"/>
                <a:gd name="T17" fmla="*/ 0 h 36"/>
                <a:gd name="T18" fmla="*/ 48 w 48"/>
                <a:gd name="T19" fmla="*/ 24 h 36"/>
                <a:gd name="T20" fmla="*/ 48 w 48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36">
                  <a:moveTo>
                    <a:pt x="48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15"/>
                    <a:pt x="32" y="8"/>
                    <a:pt x="24" y="8"/>
                  </a:cubicBezTo>
                  <a:cubicBezTo>
                    <a:pt x="15" y="8"/>
                    <a:pt x="8" y="15"/>
                    <a:pt x="8" y="24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lnTo>
                    <a:pt x="4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1" name="Freeform 807">
              <a:extLst>
                <a:ext uri="{FF2B5EF4-FFF2-40B4-BE49-F238E27FC236}">
                  <a16:creationId xmlns:a16="http://schemas.microsoft.com/office/drawing/2014/main" id="{E4D57AC9-1E1C-41EF-A72B-C5FA99FEED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6527" y="1973414"/>
              <a:ext cx="17149" cy="17149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8 h 16"/>
                <a:gd name="T12" fmla="*/ 8 w 16"/>
                <a:gd name="T1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3" y="16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12" y="0"/>
                    <a:pt x="16" y="3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56" name="Freeform 831">
            <a:extLst>
              <a:ext uri="{FF2B5EF4-FFF2-40B4-BE49-F238E27FC236}">
                <a16:creationId xmlns:a16="http://schemas.microsoft.com/office/drawing/2014/main" id="{3937B88E-6094-4347-9C88-FDD9EC462184}"/>
              </a:ext>
            </a:extLst>
          </p:cNvPr>
          <p:cNvSpPr>
            <a:spLocks noEditPoints="1"/>
          </p:cNvSpPr>
          <p:nvPr/>
        </p:nvSpPr>
        <p:spPr bwMode="auto">
          <a:xfrm>
            <a:off x="670752" y="2183377"/>
            <a:ext cx="550535" cy="506493"/>
          </a:xfrm>
          <a:custGeom>
            <a:avLst/>
            <a:gdLst>
              <a:gd name="T0" fmla="*/ 200 w 224"/>
              <a:gd name="T1" fmla="*/ 64 h 208"/>
              <a:gd name="T2" fmla="*/ 220 w 224"/>
              <a:gd name="T3" fmla="*/ 56 h 208"/>
              <a:gd name="T4" fmla="*/ 192 w 224"/>
              <a:gd name="T5" fmla="*/ 64 h 208"/>
              <a:gd name="T6" fmla="*/ 24 w 224"/>
              <a:gd name="T7" fmla="*/ 56 h 208"/>
              <a:gd name="T8" fmla="*/ 4 w 224"/>
              <a:gd name="T9" fmla="*/ 64 h 208"/>
              <a:gd name="T10" fmla="*/ 4 w 224"/>
              <a:gd name="T11" fmla="*/ 152 h 208"/>
              <a:gd name="T12" fmla="*/ 24 w 224"/>
              <a:gd name="T13" fmla="*/ 160 h 208"/>
              <a:gd name="T14" fmla="*/ 41 w 224"/>
              <a:gd name="T15" fmla="*/ 163 h 208"/>
              <a:gd name="T16" fmla="*/ 56 w 224"/>
              <a:gd name="T17" fmla="*/ 184 h 208"/>
              <a:gd name="T18" fmla="*/ 81 w 224"/>
              <a:gd name="T19" fmla="*/ 196 h 208"/>
              <a:gd name="T20" fmla="*/ 107 w 224"/>
              <a:gd name="T21" fmla="*/ 203 h 208"/>
              <a:gd name="T22" fmla="*/ 118 w 224"/>
              <a:gd name="T23" fmla="*/ 203 h 208"/>
              <a:gd name="T24" fmla="*/ 144 w 224"/>
              <a:gd name="T25" fmla="*/ 196 h 208"/>
              <a:gd name="T26" fmla="*/ 168 w 224"/>
              <a:gd name="T27" fmla="*/ 184 h 208"/>
              <a:gd name="T28" fmla="*/ 183 w 224"/>
              <a:gd name="T29" fmla="*/ 163 h 208"/>
              <a:gd name="T30" fmla="*/ 200 w 224"/>
              <a:gd name="T31" fmla="*/ 160 h 208"/>
              <a:gd name="T32" fmla="*/ 220 w 224"/>
              <a:gd name="T33" fmla="*/ 152 h 208"/>
              <a:gd name="T34" fmla="*/ 48 w 224"/>
              <a:gd name="T35" fmla="*/ 134 h 208"/>
              <a:gd name="T36" fmla="*/ 58 w 224"/>
              <a:gd name="T37" fmla="*/ 144 h 208"/>
              <a:gd name="T38" fmla="*/ 51 w 224"/>
              <a:gd name="T39" fmla="*/ 173 h 208"/>
              <a:gd name="T40" fmla="*/ 69 w 224"/>
              <a:gd name="T41" fmla="*/ 148 h 208"/>
              <a:gd name="T42" fmla="*/ 61 w 224"/>
              <a:gd name="T43" fmla="*/ 173 h 208"/>
              <a:gd name="T44" fmla="*/ 67 w 224"/>
              <a:gd name="T45" fmla="*/ 189 h 208"/>
              <a:gd name="T46" fmla="*/ 85 w 224"/>
              <a:gd name="T47" fmla="*/ 164 h 208"/>
              <a:gd name="T48" fmla="*/ 77 w 224"/>
              <a:gd name="T49" fmla="*/ 189 h 208"/>
              <a:gd name="T50" fmla="*/ 91 w 224"/>
              <a:gd name="T51" fmla="*/ 197 h 208"/>
              <a:gd name="T52" fmla="*/ 101 w 224"/>
              <a:gd name="T53" fmla="*/ 180 h 208"/>
              <a:gd name="T54" fmla="*/ 187 w 224"/>
              <a:gd name="T55" fmla="*/ 152 h 208"/>
              <a:gd name="T56" fmla="*/ 159 w 224"/>
              <a:gd name="T57" fmla="*/ 137 h 208"/>
              <a:gd name="T58" fmla="*/ 170 w 224"/>
              <a:gd name="T59" fmla="*/ 159 h 208"/>
              <a:gd name="T60" fmla="*/ 164 w 224"/>
              <a:gd name="T61" fmla="*/ 173 h 208"/>
              <a:gd name="T62" fmla="*/ 138 w 224"/>
              <a:gd name="T63" fmla="*/ 158 h 208"/>
              <a:gd name="T64" fmla="*/ 148 w 224"/>
              <a:gd name="T65" fmla="*/ 189 h 208"/>
              <a:gd name="T66" fmla="*/ 122 w 224"/>
              <a:gd name="T67" fmla="*/ 174 h 208"/>
              <a:gd name="T68" fmla="*/ 134 w 224"/>
              <a:gd name="T69" fmla="*/ 197 h 208"/>
              <a:gd name="T70" fmla="*/ 112 w 224"/>
              <a:gd name="T71" fmla="*/ 176 h 208"/>
              <a:gd name="T72" fmla="*/ 84 w 224"/>
              <a:gd name="T73" fmla="*/ 156 h 208"/>
              <a:gd name="T74" fmla="*/ 64 w 224"/>
              <a:gd name="T75" fmla="*/ 128 h 208"/>
              <a:gd name="T76" fmla="*/ 32 w 224"/>
              <a:gd name="T77" fmla="*/ 138 h 208"/>
              <a:gd name="T78" fmla="*/ 95 w 224"/>
              <a:gd name="T79" fmla="*/ 72 h 208"/>
              <a:gd name="T80" fmla="*/ 84 w 224"/>
              <a:gd name="T81" fmla="*/ 126 h 208"/>
              <a:gd name="T82" fmla="*/ 150 w 224"/>
              <a:gd name="T83" fmla="*/ 107 h 208"/>
              <a:gd name="T84" fmla="*/ 192 w 224"/>
              <a:gd name="T85" fmla="*/ 138 h 208"/>
              <a:gd name="T86" fmla="*/ 130 w 224"/>
              <a:gd name="T87" fmla="*/ 92 h 208"/>
              <a:gd name="T88" fmla="*/ 92 w 224"/>
              <a:gd name="T89" fmla="*/ 115 h 208"/>
              <a:gd name="T90" fmla="*/ 78 w 224"/>
              <a:gd name="T91" fmla="*/ 100 h 208"/>
              <a:gd name="T92" fmla="*/ 192 w 224"/>
              <a:gd name="T93" fmla="*/ 72 h 208"/>
              <a:gd name="T94" fmla="*/ 56 w 224"/>
              <a:gd name="T95" fmla="*/ 53 h 208"/>
              <a:gd name="T96" fmla="*/ 84 w 224"/>
              <a:gd name="T97" fmla="*/ 51 h 208"/>
              <a:gd name="T98" fmla="*/ 94 w 224"/>
              <a:gd name="T99" fmla="*/ 40 h 208"/>
              <a:gd name="T100" fmla="*/ 136 w 224"/>
              <a:gd name="T101" fmla="*/ 56 h 208"/>
              <a:gd name="T102" fmla="*/ 139 w 224"/>
              <a:gd name="T103" fmla="*/ 40 h 208"/>
              <a:gd name="T104" fmla="*/ 172 w 224"/>
              <a:gd name="T105" fmla="*/ 56 h 208"/>
              <a:gd name="T106" fmla="*/ 112 w 224"/>
              <a:gd name="T107" fmla="*/ 0 h 208"/>
              <a:gd name="T108" fmla="*/ 159 w 224"/>
              <a:gd name="T109" fmla="*/ 32 h 208"/>
              <a:gd name="T110" fmla="*/ 159 w 224"/>
              <a:gd name="T111" fmla="*/ 32 h 208"/>
              <a:gd name="T112" fmla="*/ 96 w 224"/>
              <a:gd name="T113" fmla="*/ 32 h 208"/>
              <a:gd name="T114" fmla="*/ 88 w 224"/>
              <a:gd name="T115" fmla="*/ 32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24" h="208">
                <a:moveTo>
                  <a:pt x="220" y="152"/>
                </a:moveTo>
                <a:cubicBezTo>
                  <a:pt x="200" y="152"/>
                  <a:pt x="200" y="152"/>
                  <a:pt x="200" y="152"/>
                </a:cubicBezTo>
                <a:cubicBezTo>
                  <a:pt x="200" y="64"/>
                  <a:pt x="200" y="64"/>
                  <a:pt x="200" y="64"/>
                </a:cubicBezTo>
                <a:cubicBezTo>
                  <a:pt x="220" y="64"/>
                  <a:pt x="220" y="64"/>
                  <a:pt x="220" y="64"/>
                </a:cubicBezTo>
                <a:cubicBezTo>
                  <a:pt x="223" y="64"/>
                  <a:pt x="224" y="62"/>
                  <a:pt x="224" y="60"/>
                </a:cubicBezTo>
                <a:cubicBezTo>
                  <a:pt x="224" y="57"/>
                  <a:pt x="223" y="56"/>
                  <a:pt x="220" y="56"/>
                </a:cubicBezTo>
                <a:cubicBezTo>
                  <a:pt x="200" y="56"/>
                  <a:pt x="200" y="56"/>
                  <a:pt x="200" y="56"/>
                </a:cubicBezTo>
                <a:cubicBezTo>
                  <a:pt x="196" y="56"/>
                  <a:pt x="192" y="59"/>
                  <a:pt x="192" y="63"/>
                </a:cubicBezTo>
                <a:cubicBezTo>
                  <a:pt x="192" y="64"/>
                  <a:pt x="192" y="64"/>
                  <a:pt x="19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3"/>
                  <a:pt x="32" y="63"/>
                  <a:pt x="32" y="63"/>
                </a:cubicBezTo>
                <a:cubicBezTo>
                  <a:pt x="32" y="59"/>
                  <a:pt x="29" y="56"/>
                  <a:pt x="24" y="56"/>
                </a:cubicBezTo>
                <a:cubicBezTo>
                  <a:pt x="4" y="56"/>
                  <a:pt x="4" y="56"/>
                  <a:pt x="4" y="56"/>
                </a:cubicBezTo>
                <a:cubicBezTo>
                  <a:pt x="2" y="56"/>
                  <a:pt x="0" y="57"/>
                  <a:pt x="0" y="60"/>
                </a:cubicBezTo>
                <a:cubicBezTo>
                  <a:pt x="0" y="62"/>
                  <a:pt x="2" y="64"/>
                  <a:pt x="4" y="64"/>
                </a:cubicBezTo>
                <a:cubicBezTo>
                  <a:pt x="24" y="64"/>
                  <a:pt x="24" y="64"/>
                  <a:pt x="24" y="64"/>
                </a:cubicBezTo>
                <a:cubicBezTo>
                  <a:pt x="24" y="152"/>
                  <a:pt x="24" y="152"/>
                  <a:pt x="24" y="152"/>
                </a:cubicBezTo>
                <a:cubicBezTo>
                  <a:pt x="4" y="152"/>
                  <a:pt x="4" y="152"/>
                  <a:pt x="4" y="152"/>
                </a:cubicBezTo>
                <a:cubicBezTo>
                  <a:pt x="2" y="152"/>
                  <a:pt x="0" y="153"/>
                  <a:pt x="0" y="156"/>
                </a:cubicBezTo>
                <a:cubicBezTo>
                  <a:pt x="0" y="158"/>
                  <a:pt x="2" y="160"/>
                  <a:pt x="4" y="160"/>
                </a:cubicBezTo>
                <a:cubicBezTo>
                  <a:pt x="24" y="160"/>
                  <a:pt x="24" y="160"/>
                  <a:pt x="24" y="160"/>
                </a:cubicBezTo>
                <a:cubicBezTo>
                  <a:pt x="27" y="160"/>
                  <a:pt x="29" y="158"/>
                  <a:pt x="31" y="156"/>
                </a:cubicBezTo>
                <a:cubicBezTo>
                  <a:pt x="31" y="157"/>
                  <a:pt x="32" y="158"/>
                  <a:pt x="33" y="159"/>
                </a:cubicBezTo>
                <a:cubicBezTo>
                  <a:pt x="35" y="161"/>
                  <a:pt x="38" y="163"/>
                  <a:pt x="41" y="163"/>
                </a:cubicBezTo>
                <a:cubicBezTo>
                  <a:pt x="39" y="169"/>
                  <a:pt x="41" y="175"/>
                  <a:pt x="45" y="179"/>
                </a:cubicBezTo>
                <a:cubicBezTo>
                  <a:pt x="48" y="182"/>
                  <a:pt x="52" y="184"/>
                  <a:pt x="56" y="184"/>
                </a:cubicBezTo>
                <a:cubicBezTo>
                  <a:pt x="56" y="184"/>
                  <a:pt x="56" y="184"/>
                  <a:pt x="56" y="184"/>
                </a:cubicBezTo>
                <a:cubicBezTo>
                  <a:pt x="56" y="188"/>
                  <a:pt x="58" y="192"/>
                  <a:pt x="61" y="195"/>
                </a:cubicBezTo>
                <a:cubicBezTo>
                  <a:pt x="64" y="198"/>
                  <a:pt x="68" y="200"/>
                  <a:pt x="72" y="200"/>
                </a:cubicBezTo>
                <a:cubicBezTo>
                  <a:pt x="75" y="200"/>
                  <a:pt x="78" y="198"/>
                  <a:pt x="81" y="196"/>
                </a:cubicBezTo>
                <a:cubicBezTo>
                  <a:pt x="82" y="199"/>
                  <a:pt x="83" y="201"/>
                  <a:pt x="85" y="203"/>
                </a:cubicBezTo>
                <a:cubicBezTo>
                  <a:pt x="88" y="206"/>
                  <a:pt x="92" y="208"/>
                  <a:pt x="96" y="208"/>
                </a:cubicBezTo>
                <a:cubicBezTo>
                  <a:pt x="100" y="208"/>
                  <a:pt x="104" y="206"/>
                  <a:pt x="107" y="203"/>
                </a:cubicBezTo>
                <a:cubicBezTo>
                  <a:pt x="112" y="198"/>
                  <a:pt x="112" y="198"/>
                  <a:pt x="112" y="198"/>
                </a:cubicBezTo>
                <a:cubicBezTo>
                  <a:pt x="112" y="198"/>
                  <a:pt x="112" y="197"/>
                  <a:pt x="112" y="197"/>
                </a:cubicBezTo>
                <a:cubicBezTo>
                  <a:pt x="118" y="203"/>
                  <a:pt x="118" y="203"/>
                  <a:pt x="118" y="203"/>
                </a:cubicBezTo>
                <a:cubicBezTo>
                  <a:pt x="121" y="206"/>
                  <a:pt x="125" y="208"/>
                  <a:pt x="129" y="208"/>
                </a:cubicBezTo>
                <a:cubicBezTo>
                  <a:pt x="133" y="208"/>
                  <a:pt x="137" y="206"/>
                  <a:pt x="140" y="203"/>
                </a:cubicBezTo>
                <a:cubicBezTo>
                  <a:pt x="142" y="201"/>
                  <a:pt x="143" y="199"/>
                  <a:pt x="144" y="196"/>
                </a:cubicBezTo>
                <a:cubicBezTo>
                  <a:pt x="146" y="198"/>
                  <a:pt x="150" y="200"/>
                  <a:pt x="153" y="200"/>
                </a:cubicBezTo>
                <a:cubicBezTo>
                  <a:pt x="157" y="200"/>
                  <a:pt x="161" y="198"/>
                  <a:pt x="164" y="195"/>
                </a:cubicBezTo>
                <a:cubicBezTo>
                  <a:pt x="167" y="192"/>
                  <a:pt x="169" y="188"/>
                  <a:pt x="168" y="184"/>
                </a:cubicBezTo>
                <a:cubicBezTo>
                  <a:pt x="169" y="184"/>
                  <a:pt x="169" y="184"/>
                  <a:pt x="169" y="184"/>
                </a:cubicBezTo>
                <a:cubicBezTo>
                  <a:pt x="173" y="184"/>
                  <a:pt x="177" y="182"/>
                  <a:pt x="180" y="179"/>
                </a:cubicBezTo>
                <a:cubicBezTo>
                  <a:pt x="184" y="175"/>
                  <a:pt x="185" y="169"/>
                  <a:pt x="183" y="163"/>
                </a:cubicBezTo>
                <a:cubicBezTo>
                  <a:pt x="188" y="163"/>
                  <a:pt x="191" y="160"/>
                  <a:pt x="194" y="157"/>
                </a:cubicBezTo>
                <a:cubicBezTo>
                  <a:pt x="194" y="157"/>
                  <a:pt x="194" y="157"/>
                  <a:pt x="194" y="156"/>
                </a:cubicBezTo>
                <a:cubicBezTo>
                  <a:pt x="195" y="158"/>
                  <a:pt x="198" y="160"/>
                  <a:pt x="200" y="160"/>
                </a:cubicBezTo>
                <a:cubicBezTo>
                  <a:pt x="220" y="160"/>
                  <a:pt x="220" y="160"/>
                  <a:pt x="220" y="160"/>
                </a:cubicBezTo>
                <a:cubicBezTo>
                  <a:pt x="223" y="160"/>
                  <a:pt x="224" y="158"/>
                  <a:pt x="224" y="156"/>
                </a:cubicBezTo>
                <a:cubicBezTo>
                  <a:pt x="224" y="153"/>
                  <a:pt x="223" y="152"/>
                  <a:pt x="220" y="152"/>
                </a:cubicBezTo>
                <a:close/>
                <a:moveTo>
                  <a:pt x="39" y="153"/>
                </a:moveTo>
                <a:cubicBezTo>
                  <a:pt x="36" y="151"/>
                  <a:pt x="36" y="146"/>
                  <a:pt x="39" y="143"/>
                </a:cubicBezTo>
                <a:cubicBezTo>
                  <a:pt x="48" y="134"/>
                  <a:pt x="48" y="134"/>
                  <a:pt x="48" y="134"/>
                </a:cubicBezTo>
                <a:cubicBezTo>
                  <a:pt x="49" y="132"/>
                  <a:pt x="51" y="132"/>
                  <a:pt x="53" y="132"/>
                </a:cubicBezTo>
                <a:cubicBezTo>
                  <a:pt x="55" y="132"/>
                  <a:pt x="57" y="132"/>
                  <a:pt x="58" y="134"/>
                </a:cubicBezTo>
                <a:cubicBezTo>
                  <a:pt x="61" y="137"/>
                  <a:pt x="61" y="141"/>
                  <a:pt x="58" y="144"/>
                </a:cubicBezTo>
                <a:cubicBezTo>
                  <a:pt x="49" y="153"/>
                  <a:pt x="49" y="153"/>
                  <a:pt x="49" y="153"/>
                </a:cubicBezTo>
                <a:cubicBezTo>
                  <a:pt x="46" y="156"/>
                  <a:pt x="41" y="156"/>
                  <a:pt x="39" y="153"/>
                </a:cubicBezTo>
                <a:close/>
                <a:moveTo>
                  <a:pt x="51" y="173"/>
                </a:moveTo>
                <a:cubicBezTo>
                  <a:pt x="48" y="171"/>
                  <a:pt x="48" y="166"/>
                  <a:pt x="51" y="163"/>
                </a:cubicBezTo>
                <a:cubicBezTo>
                  <a:pt x="64" y="150"/>
                  <a:pt x="64" y="150"/>
                  <a:pt x="64" y="150"/>
                </a:cubicBezTo>
                <a:cubicBezTo>
                  <a:pt x="65" y="148"/>
                  <a:pt x="67" y="148"/>
                  <a:pt x="69" y="148"/>
                </a:cubicBezTo>
                <a:cubicBezTo>
                  <a:pt x="71" y="148"/>
                  <a:pt x="73" y="148"/>
                  <a:pt x="74" y="150"/>
                </a:cubicBezTo>
                <a:cubicBezTo>
                  <a:pt x="77" y="153"/>
                  <a:pt x="77" y="157"/>
                  <a:pt x="74" y="160"/>
                </a:cubicBezTo>
                <a:cubicBezTo>
                  <a:pt x="61" y="173"/>
                  <a:pt x="61" y="173"/>
                  <a:pt x="61" y="173"/>
                </a:cubicBezTo>
                <a:cubicBezTo>
                  <a:pt x="58" y="176"/>
                  <a:pt x="53" y="176"/>
                  <a:pt x="51" y="173"/>
                </a:cubicBezTo>
                <a:close/>
                <a:moveTo>
                  <a:pt x="77" y="189"/>
                </a:moveTo>
                <a:cubicBezTo>
                  <a:pt x="74" y="192"/>
                  <a:pt x="69" y="192"/>
                  <a:pt x="67" y="189"/>
                </a:cubicBezTo>
                <a:cubicBezTo>
                  <a:pt x="64" y="187"/>
                  <a:pt x="64" y="182"/>
                  <a:pt x="67" y="179"/>
                </a:cubicBezTo>
                <a:cubicBezTo>
                  <a:pt x="80" y="166"/>
                  <a:pt x="80" y="166"/>
                  <a:pt x="80" y="166"/>
                </a:cubicBezTo>
                <a:cubicBezTo>
                  <a:pt x="81" y="164"/>
                  <a:pt x="83" y="164"/>
                  <a:pt x="85" y="164"/>
                </a:cubicBezTo>
                <a:cubicBezTo>
                  <a:pt x="87" y="164"/>
                  <a:pt x="89" y="164"/>
                  <a:pt x="90" y="166"/>
                </a:cubicBezTo>
                <a:cubicBezTo>
                  <a:pt x="93" y="169"/>
                  <a:pt x="93" y="173"/>
                  <a:pt x="90" y="176"/>
                </a:cubicBezTo>
                <a:lnTo>
                  <a:pt x="77" y="189"/>
                </a:lnTo>
                <a:close/>
                <a:moveTo>
                  <a:pt x="106" y="192"/>
                </a:moveTo>
                <a:cubicBezTo>
                  <a:pt x="101" y="197"/>
                  <a:pt x="101" y="197"/>
                  <a:pt x="101" y="197"/>
                </a:cubicBezTo>
                <a:cubicBezTo>
                  <a:pt x="98" y="200"/>
                  <a:pt x="93" y="200"/>
                  <a:pt x="91" y="197"/>
                </a:cubicBezTo>
                <a:cubicBezTo>
                  <a:pt x="88" y="195"/>
                  <a:pt x="88" y="190"/>
                  <a:pt x="91" y="187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97" y="180"/>
                  <a:pt x="99" y="180"/>
                  <a:pt x="101" y="180"/>
                </a:cubicBezTo>
                <a:cubicBezTo>
                  <a:pt x="103" y="180"/>
                  <a:pt x="105" y="180"/>
                  <a:pt x="106" y="182"/>
                </a:cubicBezTo>
                <a:cubicBezTo>
                  <a:pt x="109" y="185"/>
                  <a:pt x="109" y="189"/>
                  <a:pt x="106" y="192"/>
                </a:cubicBezTo>
                <a:close/>
                <a:moveTo>
                  <a:pt x="187" y="152"/>
                </a:moveTo>
                <a:cubicBezTo>
                  <a:pt x="186" y="154"/>
                  <a:pt x="184" y="155"/>
                  <a:pt x="182" y="156"/>
                </a:cubicBezTo>
                <a:cubicBezTo>
                  <a:pt x="180" y="156"/>
                  <a:pt x="177" y="155"/>
                  <a:pt x="176" y="153"/>
                </a:cubicBezTo>
                <a:cubicBezTo>
                  <a:pt x="159" y="137"/>
                  <a:pt x="159" y="137"/>
                  <a:pt x="159" y="137"/>
                </a:cubicBezTo>
                <a:cubicBezTo>
                  <a:pt x="158" y="135"/>
                  <a:pt x="155" y="135"/>
                  <a:pt x="154" y="137"/>
                </a:cubicBezTo>
                <a:cubicBezTo>
                  <a:pt x="152" y="138"/>
                  <a:pt x="152" y="141"/>
                  <a:pt x="154" y="142"/>
                </a:cubicBezTo>
                <a:cubicBezTo>
                  <a:pt x="170" y="159"/>
                  <a:pt x="170" y="159"/>
                  <a:pt x="170" y="159"/>
                </a:cubicBezTo>
                <a:cubicBezTo>
                  <a:pt x="174" y="163"/>
                  <a:pt x="174" y="163"/>
                  <a:pt x="174" y="163"/>
                </a:cubicBezTo>
                <a:cubicBezTo>
                  <a:pt x="177" y="166"/>
                  <a:pt x="177" y="171"/>
                  <a:pt x="174" y="173"/>
                </a:cubicBezTo>
                <a:cubicBezTo>
                  <a:pt x="171" y="176"/>
                  <a:pt x="167" y="176"/>
                  <a:pt x="164" y="173"/>
                </a:cubicBezTo>
                <a:cubicBezTo>
                  <a:pt x="143" y="153"/>
                  <a:pt x="143" y="153"/>
                  <a:pt x="143" y="153"/>
                </a:cubicBezTo>
                <a:cubicBezTo>
                  <a:pt x="142" y="151"/>
                  <a:pt x="139" y="151"/>
                  <a:pt x="138" y="153"/>
                </a:cubicBezTo>
                <a:cubicBezTo>
                  <a:pt x="136" y="154"/>
                  <a:pt x="136" y="157"/>
                  <a:pt x="138" y="158"/>
                </a:cubicBezTo>
                <a:cubicBezTo>
                  <a:pt x="158" y="179"/>
                  <a:pt x="158" y="179"/>
                  <a:pt x="158" y="179"/>
                </a:cubicBezTo>
                <a:cubicBezTo>
                  <a:pt x="161" y="182"/>
                  <a:pt x="161" y="187"/>
                  <a:pt x="158" y="189"/>
                </a:cubicBezTo>
                <a:cubicBezTo>
                  <a:pt x="155" y="192"/>
                  <a:pt x="151" y="192"/>
                  <a:pt x="148" y="189"/>
                </a:cubicBezTo>
                <a:cubicBezTo>
                  <a:pt x="127" y="169"/>
                  <a:pt x="127" y="169"/>
                  <a:pt x="127" y="169"/>
                </a:cubicBezTo>
                <a:cubicBezTo>
                  <a:pt x="126" y="167"/>
                  <a:pt x="123" y="167"/>
                  <a:pt x="122" y="169"/>
                </a:cubicBezTo>
                <a:cubicBezTo>
                  <a:pt x="120" y="170"/>
                  <a:pt x="120" y="173"/>
                  <a:pt x="122" y="174"/>
                </a:cubicBezTo>
                <a:cubicBezTo>
                  <a:pt x="134" y="187"/>
                  <a:pt x="134" y="187"/>
                  <a:pt x="134" y="187"/>
                </a:cubicBezTo>
                <a:cubicBezTo>
                  <a:pt x="134" y="187"/>
                  <a:pt x="134" y="187"/>
                  <a:pt x="134" y="187"/>
                </a:cubicBezTo>
                <a:cubicBezTo>
                  <a:pt x="137" y="190"/>
                  <a:pt x="137" y="195"/>
                  <a:pt x="134" y="197"/>
                </a:cubicBezTo>
                <a:cubicBezTo>
                  <a:pt x="131" y="200"/>
                  <a:pt x="127" y="200"/>
                  <a:pt x="124" y="197"/>
                </a:cubicBezTo>
                <a:cubicBezTo>
                  <a:pt x="116" y="190"/>
                  <a:pt x="116" y="190"/>
                  <a:pt x="116" y="190"/>
                </a:cubicBezTo>
                <a:cubicBezTo>
                  <a:pt x="117" y="185"/>
                  <a:pt x="116" y="180"/>
                  <a:pt x="112" y="176"/>
                </a:cubicBezTo>
                <a:cubicBezTo>
                  <a:pt x="109" y="173"/>
                  <a:pt x="104" y="171"/>
                  <a:pt x="100" y="172"/>
                </a:cubicBezTo>
                <a:cubicBezTo>
                  <a:pt x="101" y="167"/>
                  <a:pt x="99" y="163"/>
                  <a:pt x="96" y="160"/>
                </a:cubicBezTo>
                <a:cubicBezTo>
                  <a:pt x="93" y="157"/>
                  <a:pt x="88" y="155"/>
                  <a:pt x="84" y="156"/>
                </a:cubicBezTo>
                <a:cubicBezTo>
                  <a:pt x="85" y="151"/>
                  <a:pt x="83" y="147"/>
                  <a:pt x="80" y="144"/>
                </a:cubicBezTo>
                <a:cubicBezTo>
                  <a:pt x="77" y="141"/>
                  <a:pt x="72" y="139"/>
                  <a:pt x="68" y="140"/>
                </a:cubicBezTo>
                <a:cubicBezTo>
                  <a:pt x="69" y="135"/>
                  <a:pt x="67" y="131"/>
                  <a:pt x="64" y="128"/>
                </a:cubicBezTo>
                <a:cubicBezTo>
                  <a:pt x="58" y="122"/>
                  <a:pt x="48" y="122"/>
                  <a:pt x="42" y="128"/>
                </a:cubicBezTo>
                <a:cubicBezTo>
                  <a:pt x="33" y="137"/>
                  <a:pt x="33" y="137"/>
                  <a:pt x="33" y="137"/>
                </a:cubicBezTo>
                <a:cubicBezTo>
                  <a:pt x="33" y="138"/>
                  <a:pt x="33" y="138"/>
                  <a:pt x="32" y="138"/>
                </a:cubicBezTo>
                <a:cubicBezTo>
                  <a:pt x="32" y="72"/>
                  <a:pt x="32" y="72"/>
                  <a:pt x="32" y="72"/>
                </a:cubicBezTo>
                <a:cubicBezTo>
                  <a:pt x="95" y="72"/>
                  <a:pt x="95" y="72"/>
                  <a:pt x="95" y="72"/>
                </a:cubicBezTo>
                <a:cubicBezTo>
                  <a:pt x="95" y="72"/>
                  <a:pt x="95" y="72"/>
                  <a:pt x="95" y="72"/>
                </a:cubicBezTo>
                <a:cubicBezTo>
                  <a:pt x="72" y="94"/>
                  <a:pt x="72" y="94"/>
                  <a:pt x="72" y="94"/>
                </a:cubicBezTo>
                <a:cubicBezTo>
                  <a:pt x="65" y="101"/>
                  <a:pt x="64" y="113"/>
                  <a:pt x="71" y="120"/>
                </a:cubicBezTo>
                <a:cubicBezTo>
                  <a:pt x="74" y="123"/>
                  <a:pt x="79" y="126"/>
                  <a:pt x="84" y="126"/>
                </a:cubicBezTo>
                <a:cubicBezTo>
                  <a:pt x="89" y="126"/>
                  <a:pt x="94" y="124"/>
                  <a:pt x="97" y="120"/>
                </a:cubicBezTo>
                <a:cubicBezTo>
                  <a:pt x="111" y="107"/>
                  <a:pt x="111" y="107"/>
                  <a:pt x="111" y="107"/>
                </a:cubicBezTo>
                <a:cubicBezTo>
                  <a:pt x="122" y="97"/>
                  <a:pt x="140" y="97"/>
                  <a:pt x="150" y="107"/>
                </a:cubicBezTo>
                <a:cubicBezTo>
                  <a:pt x="186" y="143"/>
                  <a:pt x="186" y="143"/>
                  <a:pt x="186" y="143"/>
                </a:cubicBezTo>
                <a:cubicBezTo>
                  <a:pt x="189" y="145"/>
                  <a:pt x="189" y="149"/>
                  <a:pt x="187" y="152"/>
                </a:cubicBezTo>
                <a:close/>
                <a:moveTo>
                  <a:pt x="192" y="138"/>
                </a:moveTo>
                <a:cubicBezTo>
                  <a:pt x="192" y="138"/>
                  <a:pt x="192" y="137"/>
                  <a:pt x="192" y="137"/>
                </a:cubicBezTo>
                <a:cubicBezTo>
                  <a:pt x="156" y="101"/>
                  <a:pt x="156" y="101"/>
                  <a:pt x="156" y="101"/>
                </a:cubicBezTo>
                <a:cubicBezTo>
                  <a:pt x="149" y="95"/>
                  <a:pt x="140" y="92"/>
                  <a:pt x="130" y="92"/>
                </a:cubicBezTo>
                <a:cubicBezTo>
                  <a:pt x="130" y="92"/>
                  <a:pt x="130" y="92"/>
                  <a:pt x="130" y="92"/>
                </a:cubicBezTo>
                <a:cubicBezTo>
                  <a:pt x="121" y="92"/>
                  <a:pt x="112" y="95"/>
                  <a:pt x="105" y="101"/>
                </a:cubicBezTo>
                <a:cubicBezTo>
                  <a:pt x="92" y="115"/>
                  <a:pt x="92" y="115"/>
                  <a:pt x="92" y="115"/>
                </a:cubicBezTo>
                <a:cubicBezTo>
                  <a:pt x="90" y="117"/>
                  <a:pt x="87" y="118"/>
                  <a:pt x="84" y="118"/>
                </a:cubicBezTo>
                <a:cubicBezTo>
                  <a:pt x="81" y="118"/>
                  <a:pt x="79" y="116"/>
                  <a:pt x="77" y="114"/>
                </a:cubicBezTo>
                <a:cubicBezTo>
                  <a:pt x="73" y="110"/>
                  <a:pt x="74" y="104"/>
                  <a:pt x="78" y="100"/>
                </a:cubicBezTo>
                <a:cubicBezTo>
                  <a:pt x="100" y="77"/>
                  <a:pt x="100" y="77"/>
                  <a:pt x="100" y="77"/>
                </a:cubicBezTo>
                <a:cubicBezTo>
                  <a:pt x="104" y="74"/>
                  <a:pt x="109" y="72"/>
                  <a:pt x="114" y="72"/>
                </a:cubicBezTo>
                <a:cubicBezTo>
                  <a:pt x="192" y="72"/>
                  <a:pt x="192" y="72"/>
                  <a:pt x="192" y="72"/>
                </a:cubicBezTo>
                <a:lnTo>
                  <a:pt x="192" y="138"/>
                </a:lnTo>
                <a:close/>
                <a:moveTo>
                  <a:pt x="51" y="55"/>
                </a:moveTo>
                <a:cubicBezTo>
                  <a:pt x="54" y="56"/>
                  <a:pt x="56" y="55"/>
                  <a:pt x="56" y="53"/>
                </a:cubicBezTo>
                <a:cubicBezTo>
                  <a:pt x="57" y="48"/>
                  <a:pt x="59" y="44"/>
                  <a:pt x="61" y="40"/>
                </a:cubicBezTo>
                <a:cubicBezTo>
                  <a:pt x="86" y="40"/>
                  <a:pt x="86" y="40"/>
                  <a:pt x="86" y="40"/>
                </a:cubicBezTo>
                <a:cubicBezTo>
                  <a:pt x="85" y="43"/>
                  <a:pt x="85" y="47"/>
                  <a:pt x="84" y="51"/>
                </a:cubicBezTo>
                <a:cubicBezTo>
                  <a:pt x="84" y="53"/>
                  <a:pt x="86" y="55"/>
                  <a:pt x="88" y="56"/>
                </a:cubicBezTo>
                <a:cubicBezTo>
                  <a:pt x="90" y="56"/>
                  <a:pt x="92" y="54"/>
                  <a:pt x="92" y="52"/>
                </a:cubicBezTo>
                <a:cubicBezTo>
                  <a:pt x="93" y="48"/>
                  <a:pt x="93" y="43"/>
                  <a:pt x="94" y="40"/>
                </a:cubicBezTo>
                <a:cubicBezTo>
                  <a:pt x="131" y="40"/>
                  <a:pt x="131" y="40"/>
                  <a:pt x="131" y="40"/>
                </a:cubicBezTo>
                <a:cubicBezTo>
                  <a:pt x="131" y="43"/>
                  <a:pt x="132" y="48"/>
                  <a:pt x="132" y="52"/>
                </a:cubicBezTo>
                <a:cubicBezTo>
                  <a:pt x="133" y="54"/>
                  <a:pt x="134" y="56"/>
                  <a:pt x="136" y="56"/>
                </a:cubicBezTo>
                <a:cubicBezTo>
                  <a:pt x="137" y="56"/>
                  <a:pt x="137" y="56"/>
                  <a:pt x="137" y="56"/>
                </a:cubicBezTo>
                <a:cubicBezTo>
                  <a:pt x="139" y="55"/>
                  <a:pt x="141" y="53"/>
                  <a:pt x="140" y="51"/>
                </a:cubicBezTo>
                <a:cubicBezTo>
                  <a:pt x="140" y="47"/>
                  <a:pt x="139" y="43"/>
                  <a:pt x="139" y="40"/>
                </a:cubicBezTo>
                <a:cubicBezTo>
                  <a:pt x="164" y="40"/>
                  <a:pt x="164" y="40"/>
                  <a:pt x="164" y="40"/>
                </a:cubicBezTo>
                <a:cubicBezTo>
                  <a:pt x="166" y="44"/>
                  <a:pt x="167" y="48"/>
                  <a:pt x="169" y="53"/>
                </a:cubicBezTo>
                <a:cubicBezTo>
                  <a:pt x="169" y="54"/>
                  <a:pt x="171" y="56"/>
                  <a:pt x="172" y="56"/>
                </a:cubicBezTo>
                <a:cubicBezTo>
                  <a:pt x="173" y="56"/>
                  <a:pt x="173" y="56"/>
                  <a:pt x="173" y="55"/>
                </a:cubicBezTo>
                <a:cubicBezTo>
                  <a:pt x="175" y="55"/>
                  <a:pt x="177" y="53"/>
                  <a:pt x="176" y="51"/>
                </a:cubicBezTo>
                <a:cubicBezTo>
                  <a:pt x="169" y="21"/>
                  <a:pt x="142" y="0"/>
                  <a:pt x="112" y="0"/>
                </a:cubicBezTo>
                <a:cubicBezTo>
                  <a:pt x="82" y="0"/>
                  <a:pt x="56" y="21"/>
                  <a:pt x="49" y="51"/>
                </a:cubicBezTo>
                <a:cubicBezTo>
                  <a:pt x="48" y="53"/>
                  <a:pt x="49" y="55"/>
                  <a:pt x="51" y="55"/>
                </a:cubicBezTo>
                <a:close/>
                <a:moveTo>
                  <a:pt x="159" y="32"/>
                </a:moveTo>
                <a:cubicBezTo>
                  <a:pt x="137" y="32"/>
                  <a:pt x="137" y="32"/>
                  <a:pt x="137" y="32"/>
                </a:cubicBezTo>
                <a:cubicBezTo>
                  <a:pt x="135" y="23"/>
                  <a:pt x="132" y="15"/>
                  <a:pt x="128" y="10"/>
                </a:cubicBezTo>
                <a:cubicBezTo>
                  <a:pt x="140" y="13"/>
                  <a:pt x="151" y="21"/>
                  <a:pt x="159" y="32"/>
                </a:cubicBezTo>
                <a:close/>
                <a:moveTo>
                  <a:pt x="112" y="8"/>
                </a:moveTo>
                <a:cubicBezTo>
                  <a:pt x="118" y="8"/>
                  <a:pt x="124" y="16"/>
                  <a:pt x="129" y="32"/>
                </a:cubicBezTo>
                <a:cubicBezTo>
                  <a:pt x="96" y="32"/>
                  <a:pt x="96" y="32"/>
                  <a:pt x="96" y="32"/>
                </a:cubicBezTo>
                <a:cubicBezTo>
                  <a:pt x="100" y="16"/>
                  <a:pt x="107" y="8"/>
                  <a:pt x="112" y="8"/>
                </a:cubicBezTo>
                <a:close/>
                <a:moveTo>
                  <a:pt x="97" y="10"/>
                </a:moveTo>
                <a:cubicBezTo>
                  <a:pt x="93" y="15"/>
                  <a:pt x="90" y="23"/>
                  <a:pt x="88" y="32"/>
                </a:cubicBezTo>
                <a:cubicBezTo>
                  <a:pt x="66" y="32"/>
                  <a:pt x="66" y="32"/>
                  <a:pt x="66" y="32"/>
                </a:cubicBezTo>
                <a:cubicBezTo>
                  <a:pt x="74" y="21"/>
                  <a:pt x="84" y="13"/>
                  <a:pt x="97" y="1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281" name="Group 280">
            <a:extLst>
              <a:ext uri="{FF2B5EF4-FFF2-40B4-BE49-F238E27FC236}">
                <a16:creationId xmlns:a16="http://schemas.microsoft.com/office/drawing/2014/main" id="{88EA8FB3-639A-485F-9711-8F4196F4D61C}"/>
              </a:ext>
            </a:extLst>
          </p:cNvPr>
          <p:cNvGrpSpPr/>
          <p:nvPr/>
        </p:nvGrpSpPr>
        <p:grpSpPr>
          <a:xfrm>
            <a:off x="678091" y="3025556"/>
            <a:ext cx="550535" cy="550538"/>
            <a:chOff x="4946400" y="1144588"/>
            <a:chExt cx="238168" cy="238169"/>
          </a:xfrm>
          <a:solidFill>
            <a:schemeClr val="tx2"/>
          </a:solidFill>
        </p:grpSpPr>
        <p:sp>
          <p:nvSpPr>
            <p:cNvPr id="282" name="Freeform 1423">
              <a:extLst>
                <a:ext uri="{FF2B5EF4-FFF2-40B4-BE49-F238E27FC236}">
                  <a16:creationId xmlns:a16="http://schemas.microsoft.com/office/drawing/2014/main" id="{7CCA625C-213A-47A5-8C21-32596C923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5926" y="1154115"/>
              <a:ext cx="41918" cy="4191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3" name="Freeform 1424">
              <a:extLst>
                <a:ext uri="{FF2B5EF4-FFF2-40B4-BE49-F238E27FC236}">
                  <a16:creationId xmlns:a16="http://schemas.microsoft.com/office/drawing/2014/main" id="{42546EB9-DB2A-421D-917A-097AE361D1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3123" y="1154115"/>
              <a:ext cx="41918" cy="4191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4" name="Freeform 1425">
              <a:extLst>
                <a:ext uri="{FF2B5EF4-FFF2-40B4-BE49-F238E27FC236}">
                  <a16:creationId xmlns:a16="http://schemas.microsoft.com/office/drawing/2014/main" id="{DBF2EBAD-2580-4BB7-A176-1597CF6F6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5926" y="1331312"/>
              <a:ext cx="41918" cy="4191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5" name="Freeform 1426">
              <a:extLst>
                <a:ext uri="{FF2B5EF4-FFF2-40B4-BE49-F238E27FC236}">
                  <a16:creationId xmlns:a16="http://schemas.microsoft.com/office/drawing/2014/main" id="{A2A60774-DF7D-4791-BDE4-2A6E81B811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3572" y="1144588"/>
              <a:ext cx="41918" cy="43823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6" name="Freeform 1427">
              <a:extLst>
                <a:ext uri="{FF2B5EF4-FFF2-40B4-BE49-F238E27FC236}">
                  <a16:creationId xmlns:a16="http://schemas.microsoft.com/office/drawing/2014/main" id="{72A17C2B-1520-4AAD-998B-A7F6BF8B7F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3572" y="1340839"/>
              <a:ext cx="41918" cy="4191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7" name="Freeform 1428">
              <a:extLst>
                <a:ext uri="{FF2B5EF4-FFF2-40B4-BE49-F238E27FC236}">
                  <a16:creationId xmlns:a16="http://schemas.microsoft.com/office/drawing/2014/main" id="{E4875E90-99FC-4FBB-BEBA-3978C9E6E7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3123" y="1331312"/>
              <a:ext cx="41918" cy="4191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8" name="Freeform 1429">
              <a:extLst>
                <a:ext uri="{FF2B5EF4-FFF2-40B4-BE49-F238E27FC236}">
                  <a16:creationId xmlns:a16="http://schemas.microsoft.com/office/drawing/2014/main" id="{8E43BCFE-F4B3-4487-94EC-82190C34B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6400" y="1243666"/>
              <a:ext cx="41918" cy="4191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9" name="Freeform 1430">
              <a:extLst>
                <a:ext uri="{FF2B5EF4-FFF2-40B4-BE49-F238E27FC236}">
                  <a16:creationId xmlns:a16="http://schemas.microsoft.com/office/drawing/2014/main" id="{5E7B853A-1E15-471B-A127-0CB25322D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5465" y="1205559"/>
              <a:ext cx="118131" cy="118131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8 h 112"/>
                <a:gd name="T12" fmla="*/ 8 w 112"/>
                <a:gd name="T13" fmla="*/ 56 h 112"/>
                <a:gd name="T14" fmla="*/ 56 w 112"/>
                <a:gd name="T15" fmla="*/ 104 h 112"/>
                <a:gd name="T16" fmla="*/ 104 w 112"/>
                <a:gd name="T17" fmla="*/ 56 h 112"/>
                <a:gd name="T18" fmla="*/ 56 w 112"/>
                <a:gd name="T19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8"/>
                  </a:moveTo>
                  <a:cubicBezTo>
                    <a:pt x="30" y="8"/>
                    <a:pt x="8" y="29"/>
                    <a:pt x="8" y="56"/>
                  </a:cubicBezTo>
                  <a:cubicBezTo>
                    <a:pt x="8" y="82"/>
                    <a:pt x="30" y="104"/>
                    <a:pt x="56" y="104"/>
                  </a:cubicBezTo>
                  <a:cubicBezTo>
                    <a:pt x="83" y="104"/>
                    <a:pt x="104" y="82"/>
                    <a:pt x="104" y="56"/>
                  </a:cubicBezTo>
                  <a:cubicBezTo>
                    <a:pt x="104" y="29"/>
                    <a:pt x="83" y="8"/>
                    <a:pt x="5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0" name="Freeform 1431">
              <a:extLst>
                <a:ext uri="{FF2B5EF4-FFF2-40B4-BE49-F238E27FC236}">
                  <a16:creationId xmlns:a16="http://schemas.microsoft.com/office/drawing/2014/main" id="{58A59684-9526-4189-9E80-D557D4BEEA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0745" y="1243666"/>
              <a:ext cx="43823" cy="4191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1" name="Rectangle 1432">
              <a:extLst>
                <a:ext uri="{FF2B5EF4-FFF2-40B4-BE49-F238E27FC236}">
                  <a16:creationId xmlns:a16="http://schemas.microsoft.com/office/drawing/2014/main" id="{6DAABB6D-3C65-41F5-8F5D-A03746F87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0720" y="1182695"/>
              <a:ext cx="9527" cy="2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2" name="Rectangle 1433">
              <a:extLst>
                <a:ext uri="{FF2B5EF4-FFF2-40B4-BE49-F238E27FC236}">
                  <a16:creationId xmlns:a16="http://schemas.microsoft.com/office/drawing/2014/main" id="{FA0E16F2-C622-4901-A29D-5F3170686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786" y="1258909"/>
              <a:ext cx="26675" cy="95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3" name="Rectangle 1434">
              <a:extLst>
                <a:ext uri="{FF2B5EF4-FFF2-40B4-BE49-F238E27FC236}">
                  <a16:creationId xmlns:a16="http://schemas.microsoft.com/office/drawing/2014/main" id="{B39ECA9F-75B6-49DD-A0AC-88BEFDFBC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0720" y="1319880"/>
              <a:ext cx="9527" cy="24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4" name="Rectangle 1435">
              <a:extLst>
                <a:ext uri="{FF2B5EF4-FFF2-40B4-BE49-F238E27FC236}">
                  <a16:creationId xmlns:a16="http://schemas.microsoft.com/office/drawing/2014/main" id="{7637DADE-D473-46D9-BC0C-0AEFD05A28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4506" y="1258909"/>
              <a:ext cx="26675" cy="95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5" name="Freeform 1436">
              <a:extLst>
                <a:ext uri="{FF2B5EF4-FFF2-40B4-BE49-F238E27FC236}">
                  <a16:creationId xmlns:a16="http://schemas.microsoft.com/office/drawing/2014/main" id="{54ADD0B6-781E-420B-8C3A-43A9CA5D9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412" y="1300826"/>
              <a:ext cx="43823" cy="41918"/>
            </a:xfrm>
            <a:custGeom>
              <a:avLst/>
              <a:gdLst>
                <a:gd name="T0" fmla="*/ 3 w 23"/>
                <a:gd name="T1" fmla="*/ 22 h 22"/>
                <a:gd name="T2" fmla="*/ 0 w 23"/>
                <a:gd name="T3" fmla="*/ 20 h 22"/>
                <a:gd name="T4" fmla="*/ 20 w 23"/>
                <a:gd name="T5" fmla="*/ 0 h 22"/>
                <a:gd name="T6" fmla="*/ 23 w 23"/>
                <a:gd name="T7" fmla="*/ 2 h 22"/>
                <a:gd name="T8" fmla="*/ 3 w 2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3" y="22"/>
                  </a:moveTo>
                  <a:lnTo>
                    <a:pt x="0" y="20"/>
                  </a:lnTo>
                  <a:lnTo>
                    <a:pt x="20" y="0"/>
                  </a:lnTo>
                  <a:lnTo>
                    <a:pt x="23" y="2"/>
                  </a:lnTo>
                  <a:lnTo>
                    <a:pt x="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6" name="Freeform 1437">
              <a:extLst>
                <a:ext uri="{FF2B5EF4-FFF2-40B4-BE49-F238E27FC236}">
                  <a16:creationId xmlns:a16="http://schemas.microsoft.com/office/drawing/2014/main" id="{F97CE87F-CF02-4991-8CBA-2CB11FCE4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412" y="1182695"/>
              <a:ext cx="43823" cy="45728"/>
            </a:xfrm>
            <a:custGeom>
              <a:avLst/>
              <a:gdLst>
                <a:gd name="T0" fmla="*/ 20 w 23"/>
                <a:gd name="T1" fmla="*/ 24 h 24"/>
                <a:gd name="T2" fmla="*/ 0 w 23"/>
                <a:gd name="T3" fmla="*/ 4 h 24"/>
                <a:gd name="T4" fmla="*/ 3 w 23"/>
                <a:gd name="T5" fmla="*/ 0 h 24"/>
                <a:gd name="T6" fmla="*/ 23 w 23"/>
                <a:gd name="T7" fmla="*/ 20 h 24"/>
                <a:gd name="T8" fmla="*/ 20 w 23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20" y="24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23" y="20"/>
                  </a:lnTo>
                  <a:lnTo>
                    <a:pt x="2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7" name="Freeform 1438">
              <a:extLst>
                <a:ext uri="{FF2B5EF4-FFF2-40B4-BE49-F238E27FC236}">
                  <a16:creationId xmlns:a16="http://schemas.microsoft.com/office/drawing/2014/main" id="{33E58685-DE33-4747-9E69-BE6CB3149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732" y="1182695"/>
              <a:ext cx="45728" cy="45728"/>
            </a:xfrm>
            <a:custGeom>
              <a:avLst/>
              <a:gdLst>
                <a:gd name="T0" fmla="*/ 4 w 24"/>
                <a:gd name="T1" fmla="*/ 24 h 24"/>
                <a:gd name="T2" fmla="*/ 0 w 24"/>
                <a:gd name="T3" fmla="*/ 20 h 24"/>
                <a:gd name="T4" fmla="*/ 20 w 24"/>
                <a:gd name="T5" fmla="*/ 0 h 24"/>
                <a:gd name="T6" fmla="*/ 24 w 24"/>
                <a:gd name="T7" fmla="*/ 4 h 24"/>
                <a:gd name="T8" fmla="*/ 4 w 24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4">
                  <a:moveTo>
                    <a:pt x="4" y="24"/>
                  </a:moveTo>
                  <a:lnTo>
                    <a:pt x="0" y="2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8" name="Freeform 1439">
              <a:extLst>
                <a:ext uri="{FF2B5EF4-FFF2-40B4-BE49-F238E27FC236}">
                  <a16:creationId xmlns:a16="http://schemas.microsoft.com/office/drawing/2014/main" id="{3E0F9706-6FA5-4B90-BE24-169AE863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732" y="1300826"/>
              <a:ext cx="45728" cy="41918"/>
            </a:xfrm>
            <a:custGeom>
              <a:avLst/>
              <a:gdLst>
                <a:gd name="T0" fmla="*/ 20 w 24"/>
                <a:gd name="T1" fmla="*/ 22 h 22"/>
                <a:gd name="T2" fmla="*/ 0 w 24"/>
                <a:gd name="T3" fmla="*/ 2 h 22"/>
                <a:gd name="T4" fmla="*/ 4 w 24"/>
                <a:gd name="T5" fmla="*/ 0 h 22"/>
                <a:gd name="T6" fmla="*/ 24 w 24"/>
                <a:gd name="T7" fmla="*/ 20 h 22"/>
                <a:gd name="T8" fmla="*/ 20 w 24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2">
                  <a:moveTo>
                    <a:pt x="20" y="22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24" y="20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9" name="Freeform 1440">
              <a:extLst>
                <a:ext uri="{FF2B5EF4-FFF2-40B4-BE49-F238E27FC236}">
                  <a16:creationId xmlns:a16="http://schemas.microsoft.com/office/drawing/2014/main" id="{1BFF9EFD-90E9-4176-B34E-0B3CBFE708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9761" y="1230329"/>
              <a:ext cx="51444" cy="51444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0" name="Freeform 1441">
              <a:extLst>
                <a:ext uri="{FF2B5EF4-FFF2-40B4-BE49-F238E27FC236}">
                  <a16:creationId xmlns:a16="http://schemas.microsoft.com/office/drawing/2014/main" id="{BE7CE6FF-B52E-4C37-A131-EB585C9E1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613" y="1276057"/>
              <a:ext cx="85741" cy="26675"/>
            </a:xfrm>
            <a:custGeom>
              <a:avLst/>
              <a:gdLst>
                <a:gd name="T0" fmla="*/ 72 w 80"/>
                <a:gd name="T1" fmla="*/ 25 h 25"/>
                <a:gd name="T2" fmla="*/ 72 w 80"/>
                <a:gd name="T3" fmla="*/ 25 h 25"/>
                <a:gd name="T4" fmla="*/ 65 w 80"/>
                <a:gd name="T5" fmla="*/ 14 h 25"/>
                <a:gd name="T6" fmla="*/ 40 w 80"/>
                <a:gd name="T7" fmla="*/ 8 h 25"/>
                <a:gd name="T8" fmla="*/ 15 w 80"/>
                <a:gd name="T9" fmla="*/ 14 h 25"/>
                <a:gd name="T10" fmla="*/ 8 w 80"/>
                <a:gd name="T11" fmla="*/ 25 h 25"/>
                <a:gd name="T12" fmla="*/ 0 w 80"/>
                <a:gd name="T13" fmla="*/ 25 h 25"/>
                <a:gd name="T14" fmla="*/ 11 w 80"/>
                <a:gd name="T15" fmla="*/ 7 h 25"/>
                <a:gd name="T16" fmla="*/ 40 w 80"/>
                <a:gd name="T17" fmla="*/ 0 h 25"/>
                <a:gd name="T18" fmla="*/ 69 w 80"/>
                <a:gd name="T19" fmla="*/ 7 h 25"/>
                <a:gd name="T20" fmla="*/ 80 w 80"/>
                <a:gd name="T21" fmla="*/ 25 h 25"/>
                <a:gd name="T22" fmla="*/ 72 w 80"/>
                <a:gd name="T2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25">
                  <a:moveTo>
                    <a:pt x="72" y="25"/>
                  </a:moveTo>
                  <a:cubicBezTo>
                    <a:pt x="72" y="25"/>
                    <a:pt x="72" y="25"/>
                    <a:pt x="72" y="25"/>
                  </a:cubicBezTo>
                  <a:cubicBezTo>
                    <a:pt x="72" y="20"/>
                    <a:pt x="69" y="16"/>
                    <a:pt x="65" y="14"/>
                  </a:cubicBezTo>
                  <a:cubicBezTo>
                    <a:pt x="59" y="11"/>
                    <a:pt x="50" y="8"/>
                    <a:pt x="40" y="8"/>
                  </a:cubicBezTo>
                  <a:cubicBezTo>
                    <a:pt x="30" y="8"/>
                    <a:pt x="21" y="11"/>
                    <a:pt x="15" y="14"/>
                  </a:cubicBezTo>
                  <a:cubicBezTo>
                    <a:pt x="11" y="16"/>
                    <a:pt x="8" y="20"/>
                    <a:pt x="8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7"/>
                    <a:pt x="4" y="10"/>
                    <a:pt x="11" y="7"/>
                  </a:cubicBezTo>
                  <a:cubicBezTo>
                    <a:pt x="18" y="4"/>
                    <a:pt x="28" y="0"/>
                    <a:pt x="40" y="0"/>
                  </a:cubicBezTo>
                  <a:cubicBezTo>
                    <a:pt x="52" y="0"/>
                    <a:pt x="62" y="4"/>
                    <a:pt x="69" y="7"/>
                  </a:cubicBezTo>
                  <a:cubicBezTo>
                    <a:pt x="76" y="10"/>
                    <a:pt x="80" y="17"/>
                    <a:pt x="80" y="25"/>
                  </a:cubicBezTo>
                  <a:lnTo>
                    <a:pt x="72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01" name="Group 300">
            <a:extLst>
              <a:ext uri="{FF2B5EF4-FFF2-40B4-BE49-F238E27FC236}">
                <a16:creationId xmlns:a16="http://schemas.microsoft.com/office/drawing/2014/main" id="{73AE67FF-42F0-4BBA-AFB8-3E5AFECFE216}"/>
              </a:ext>
            </a:extLst>
          </p:cNvPr>
          <p:cNvGrpSpPr/>
          <p:nvPr/>
        </p:nvGrpSpPr>
        <p:grpSpPr>
          <a:xfrm>
            <a:off x="670291" y="4880969"/>
            <a:ext cx="510897" cy="506494"/>
            <a:chOff x="5618986" y="1154115"/>
            <a:chExt cx="221020" cy="219115"/>
          </a:xfrm>
          <a:solidFill>
            <a:schemeClr val="tx2"/>
          </a:solidFill>
        </p:grpSpPr>
        <p:sp>
          <p:nvSpPr>
            <p:cNvPr id="302" name="Freeform 1470">
              <a:extLst>
                <a:ext uri="{FF2B5EF4-FFF2-40B4-BE49-F238E27FC236}">
                  <a16:creationId xmlns:a16="http://schemas.microsoft.com/office/drawing/2014/main" id="{30AAC562-F6A8-491A-9ED8-BAD82E64F0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7579" y="1297016"/>
              <a:ext cx="76214" cy="76214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8 h 72"/>
                <a:gd name="T12" fmla="*/ 8 w 72"/>
                <a:gd name="T13" fmla="*/ 36 h 72"/>
                <a:gd name="T14" fmla="*/ 36 w 72"/>
                <a:gd name="T15" fmla="*/ 64 h 72"/>
                <a:gd name="T16" fmla="*/ 64 w 72"/>
                <a:gd name="T17" fmla="*/ 36 h 72"/>
                <a:gd name="T18" fmla="*/ 36 w 72"/>
                <a:gd name="T19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8"/>
                  </a:moveTo>
                  <a:cubicBezTo>
                    <a:pt x="21" y="8"/>
                    <a:pt x="8" y="20"/>
                    <a:pt x="8" y="36"/>
                  </a:cubicBezTo>
                  <a:cubicBezTo>
                    <a:pt x="8" y="51"/>
                    <a:pt x="21" y="64"/>
                    <a:pt x="36" y="64"/>
                  </a:cubicBezTo>
                  <a:cubicBezTo>
                    <a:pt x="51" y="64"/>
                    <a:pt x="64" y="51"/>
                    <a:pt x="64" y="36"/>
                  </a:cubicBezTo>
                  <a:cubicBezTo>
                    <a:pt x="64" y="20"/>
                    <a:pt x="51" y="8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3" name="Freeform 1471">
              <a:extLst>
                <a:ext uri="{FF2B5EF4-FFF2-40B4-BE49-F238E27FC236}">
                  <a16:creationId xmlns:a16="http://schemas.microsoft.com/office/drawing/2014/main" id="{D34BB2D9-324F-42D0-8584-23D20DA135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8537" y="1319880"/>
              <a:ext cx="32391" cy="32391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2" y="8"/>
                    <a:pt x="8" y="11"/>
                    <a:pt x="8" y="16"/>
                  </a:cubicBezTo>
                  <a:cubicBezTo>
                    <a:pt x="8" y="20"/>
                    <a:pt x="12" y="24"/>
                    <a:pt x="16" y="24"/>
                  </a:cubicBezTo>
                  <a:cubicBezTo>
                    <a:pt x="20" y="24"/>
                    <a:pt x="24" y="20"/>
                    <a:pt x="24" y="16"/>
                  </a:cubicBezTo>
                  <a:cubicBezTo>
                    <a:pt x="24" y="11"/>
                    <a:pt x="20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4" name="Freeform 1472">
              <a:extLst>
                <a:ext uri="{FF2B5EF4-FFF2-40B4-BE49-F238E27FC236}">
                  <a16:creationId xmlns:a16="http://schemas.microsoft.com/office/drawing/2014/main" id="{537C0AB5-A363-4FAC-810F-D03929F67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6147" y="1154115"/>
              <a:ext cx="118131" cy="100983"/>
            </a:xfrm>
            <a:custGeom>
              <a:avLst/>
              <a:gdLst>
                <a:gd name="T0" fmla="*/ 22 w 112"/>
                <a:gd name="T1" fmla="*/ 95 h 95"/>
                <a:gd name="T2" fmla="*/ 0 w 112"/>
                <a:gd name="T3" fmla="*/ 35 h 95"/>
                <a:gd name="T4" fmla="*/ 3 w 112"/>
                <a:gd name="T5" fmla="*/ 30 h 95"/>
                <a:gd name="T6" fmla="*/ 85 w 112"/>
                <a:gd name="T7" fmla="*/ 0 h 95"/>
                <a:gd name="T8" fmla="*/ 88 w 112"/>
                <a:gd name="T9" fmla="*/ 0 h 95"/>
                <a:gd name="T10" fmla="*/ 90 w 112"/>
                <a:gd name="T11" fmla="*/ 2 h 95"/>
                <a:gd name="T12" fmla="*/ 112 w 112"/>
                <a:gd name="T13" fmla="*/ 62 h 95"/>
                <a:gd name="T14" fmla="*/ 105 w 112"/>
                <a:gd name="T15" fmla="*/ 65 h 95"/>
                <a:gd name="T16" fmla="*/ 84 w 112"/>
                <a:gd name="T17" fmla="*/ 9 h 95"/>
                <a:gd name="T18" fmla="*/ 9 w 112"/>
                <a:gd name="T19" fmla="*/ 36 h 95"/>
                <a:gd name="T20" fmla="*/ 30 w 112"/>
                <a:gd name="T21" fmla="*/ 93 h 95"/>
                <a:gd name="T22" fmla="*/ 22 w 112"/>
                <a:gd name="T23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2" h="95">
                  <a:moveTo>
                    <a:pt x="22" y="95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0" y="33"/>
                    <a:pt x="1" y="31"/>
                    <a:pt x="3" y="3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0"/>
                    <a:pt x="88" y="0"/>
                  </a:cubicBezTo>
                  <a:cubicBezTo>
                    <a:pt x="89" y="1"/>
                    <a:pt x="90" y="1"/>
                    <a:pt x="90" y="2"/>
                  </a:cubicBezTo>
                  <a:cubicBezTo>
                    <a:pt x="112" y="62"/>
                    <a:pt x="112" y="62"/>
                    <a:pt x="112" y="62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30" y="93"/>
                    <a:pt x="30" y="93"/>
                    <a:pt x="30" y="93"/>
                  </a:cubicBezTo>
                  <a:lnTo>
                    <a:pt x="22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5" name="Freeform 1473">
              <a:extLst>
                <a:ext uri="{FF2B5EF4-FFF2-40B4-BE49-F238E27FC236}">
                  <a16:creationId xmlns:a16="http://schemas.microsoft.com/office/drawing/2014/main" id="{A6E07B30-1544-4751-8A8F-360F0E004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443" y="1169357"/>
              <a:ext cx="34296" cy="36202"/>
            </a:xfrm>
            <a:custGeom>
              <a:avLst/>
              <a:gdLst>
                <a:gd name="T0" fmla="*/ 12 w 31"/>
                <a:gd name="T1" fmla="*/ 33 h 33"/>
                <a:gd name="T2" fmla="*/ 10 w 31"/>
                <a:gd name="T3" fmla="*/ 33 h 33"/>
                <a:gd name="T4" fmla="*/ 8 w 31"/>
                <a:gd name="T5" fmla="*/ 30 h 33"/>
                <a:gd name="T6" fmla="*/ 0 w 31"/>
                <a:gd name="T7" fmla="*/ 8 h 33"/>
                <a:gd name="T8" fmla="*/ 8 w 31"/>
                <a:gd name="T9" fmla="*/ 5 h 33"/>
                <a:gd name="T10" fmla="*/ 14 w 31"/>
                <a:gd name="T11" fmla="*/ 24 h 33"/>
                <a:gd name="T12" fmla="*/ 22 w 31"/>
                <a:gd name="T13" fmla="*/ 21 h 33"/>
                <a:gd name="T14" fmla="*/ 15 w 31"/>
                <a:gd name="T15" fmla="*/ 2 h 33"/>
                <a:gd name="T16" fmla="*/ 23 w 31"/>
                <a:gd name="T17" fmla="*/ 0 h 33"/>
                <a:gd name="T18" fmla="*/ 31 w 31"/>
                <a:gd name="T19" fmla="*/ 22 h 33"/>
                <a:gd name="T20" fmla="*/ 31 w 31"/>
                <a:gd name="T21" fmla="*/ 25 h 33"/>
                <a:gd name="T22" fmla="*/ 28 w 31"/>
                <a:gd name="T23" fmla="*/ 27 h 33"/>
                <a:gd name="T24" fmla="*/ 13 w 31"/>
                <a:gd name="T25" fmla="*/ 33 h 33"/>
                <a:gd name="T26" fmla="*/ 12 w 31"/>
                <a:gd name="T2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3">
                  <a:moveTo>
                    <a:pt x="12" y="33"/>
                  </a:moveTo>
                  <a:cubicBezTo>
                    <a:pt x="11" y="33"/>
                    <a:pt x="11" y="33"/>
                    <a:pt x="10" y="33"/>
                  </a:cubicBezTo>
                  <a:cubicBezTo>
                    <a:pt x="9" y="32"/>
                    <a:pt x="9" y="31"/>
                    <a:pt x="8" y="3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3"/>
                    <a:pt x="31" y="24"/>
                    <a:pt x="31" y="25"/>
                  </a:cubicBezTo>
                  <a:cubicBezTo>
                    <a:pt x="30" y="26"/>
                    <a:pt x="29" y="27"/>
                    <a:pt x="28" y="27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2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6" name="Freeform 1474">
              <a:extLst>
                <a:ext uri="{FF2B5EF4-FFF2-40B4-BE49-F238E27FC236}">
                  <a16:creationId xmlns:a16="http://schemas.microsoft.com/office/drawing/2014/main" id="{9F4AB78C-81E9-4FD9-8D26-FA7107E61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34" y="1230329"/>
              <a:ext cx="32391" cy="34296"/>
            </a:xfrm>
            <a:custGeom>
              <a:avLst/>
              <a:gdLst>
                <a:gd name="T0" fmla="*/ 11 w 31"/>
                <a:gd name="T1" fmla="*/ 33 h 33"/>
                <a:gd name="T2" fmla="*/ 10 w 31"/>
                <a:gd name="T3" fmla="*/ 33 h 33"/>
                <a:gd name="T4" fmla="*/ 8 w 31"/>
                <a:gd name="T5" fmla="*/ 31 h 33"/>
                <a:gd name="T6" fmla="*/ 0 w 31"/>
                <a:gd name="T7" fmla="*/ 8 h 33"/>
                <a:gd name="T8" fmla="*/ 7 w 31"/>
                <a:gd name="T9" fmla="*/ 6 h 33"/>
                <a:gd name="T10" fmla="*/ 14 w 31"/>
                <a:gd name="T11" fmla="*/ 24 h 33"/>
                <a:gd name="T12" fmla="*/ 21 w 31"/>
                <a:gd name="T13" fmla="*/ 22 h 33"/>
                <a:gd name="T14" fmla="*/ 15 w 31"/>
                <a:gd name="T15" fmla="*/ 3 h 33"/>
                <a:gd name="T16" fmla="*/ 22 w 31"/>
                <a:gd name="T17" fmla="*/ 0 h 33"/>
                <a:gd name="T18" fmla="*/ 30 w 31"/>
                <a:gd name="T19" fmla="*/ 23 h 33"/>
                <a:gd name="T20" fmla="*/ 30 w 31"/>
                <a:gd name="T21" fmla="*/ 26 h 33"/>
                <a:gd name="T22" fmla="*/ 28 w 31"/>
                <a:gd name="T23" fmla="*/ 28 h 33"/>
                <a:gd name="T24" fmla="*/ 13 w 31"/>
                <a:gd name="T25" fmla="*/ 33 h 33"/>
                <a:gd name="T26" fmla="*/ 11 w 31"/>
                <a:gd name="T2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3">
                  <a:moveTo>
                    <a:pt x="11" y="33"/>
                  </a:moveTo>
                  <a:cubicBezTo>
                    <a:pt x="11" y="33"/>
                    <a:pt x="10" y="33"/>
                    <a:pt x="10" y="33"/>
                  </a:cubicBezTo>
                  <a:cubicBezTo>
                    <a:pt x="9" y="33"/>
                    <a:pt x="8" y="32"/>
                    <a:pt x="8" y="3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4"/>
                    <a:pt x="31" y="25"/>
                    <a:pt x="30" y="26"/>
                  </a:cubicBezTo>
                  <a:cubicBezTo>
                    <a:pt x="30" y="27"/>
                    <a:pt x="29" y="27"/>
                    <a:pt x="28" y="28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2" y="33"/>
                    <a:pt x="12" y="33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7" name="Freeform 1475">
              <a:extLst>
                <a:ext uri="{FF2B5EF4-FFF2-40B4-BE49-F238E27FC236}">
                  <a16:creationId xmlns:a16="http://schemas.microsoft.com/office/drawing/2014/main" id="{0AB400B4-6E36-41A0-BB6A-17FD441A2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7105" y="1211275"/>
              <a:ext cx="142901" cy="116226"/>
            </a:xfrm>
            <a:custGeom>
              <a:avLst/>
              <a:gdLst>
                <a:gd name="T0" fmla="*/ 57 w 135"/>
                <a:gd name="T1" fmla="*/ 110 h 110"/>
                <a:gd name="T2" fmla="*/ 55 w 135"/>
                <a:gd name="T3" fmla="*/ 103 h 110"/>
                <a:gd name="T4" fmla="*/ 125 w 135"/>
                <a:gd name="T5" fmla="*/ 77 h 110"/>
                <a:gd name="T6" fmla="*/ 100 w 135"/>
                <a:gd name="T7" fmla="*/ 9 h 110"/>
                <a:gd name="T8" fmla="*/ 10 w 135"/>
                <a:gd name="T9" fmla="*/ 42 h 110"/>
                <a:gd name="T10" fmla="*/ 25 w 135"/>
                <a:gd name="T11" fmla="*/ 85 h 110"/>
                <a:gd name="T12" fmla="*/ 18 w 135"/>
                <a:gd name="T13" fmla="*/ 87 h 110"/>
                <a:gd name="T14" fmla="*/ 1 w 135"/>
                <a:gd name="T15" fmla="*/ 41 h 110"/>
                <a:gd name="T16" fmla="*/ 4 w 135"/>
                <a:gd name="T17" fmla="*/ 36 h 110"/>
                <a:gd name="T18" fmla="*/ 101 w 135"/>
                <a:gd name="T19" fmla="*/ 1 h 110"/>
                <a:gd name="T20" fmla="*/ 104 w 135"/>
                <a:gd name="T21" fmla="*/ 1 h 110"/>
                <a:gd name="T22" fmla="*/ 106 w 135"/>
                <a:gd name="T23" fmla="*/ 3 h 110"/>
                <a:gd name="T24" fmla="*/ 134 w 135"/>
                <a:gd name="T25" fmla="*/ 78 h 110"/>
                <a:gd name="T26" fmla="*/ 131 w 135"/>
                <a:gd name="T27" fmla="*/ 83 h 110"/>
                <a:gd name="T28" fmla="*/ 57 w 135"/>
                <a:gd name="T29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5" h="110">
                  <a:moveTo>
                    <a:pt x="57" y="110"/>
                  </a:moveTo>
                  <a:cubicBezTo>
                    <a:pt x="55" y="103"/>
                    <a:pt x="55" y="103"/>
                    <a:pt x="55" y="103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00" y="9"/>
                    <a:pt x="100" y="9"/>
                    <a:pt x="100" y="9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39"/>
                    <a:pt x="1" y="37"/>
                    <a:pt x="4" y="36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02" y="0"/>
                    <a:pt x="103" y="0"/>
                    <a:pt x="104" y="1"/>
                  </a:cubicBezTo>
                  <a:cubicBezTo>
                    <a:pt x="105" y="1"/>
                    <a:pt x="106" y="2"/>
                    <a:pt x="106" y="3"/>
                  </a:cubicBezTo>
                  <a:cubicBezTo>
                    <a:pt x="134" y="78"/>
                    <a:pt x="134" y="78"/>
                    <a:pt x="134" y="78"/>
                  </a:cubicBezTo>
                  <a:cubicBezTo>
                    <a:pt x="135" y="80"/>
                    <a:pt x="133" y="83"/>
                    <a:pt x="131" y="83"/>
                  </a:cubicBezTo>
                  <a:lnTo>
                    <a:pt x="5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8" name="Freeform 1476">
              <a:extLst>
                <a:ext uri="{FF2B5EF4-FFF2-40B4-BE49-F238E27FC236}">
                  <a16:creationId xmlns:a16="http://schemas.microsoft.com/office/drawing/2014/main" id="{91450876-B4E7-41AB-8F47-9E8FF95E68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8986" y="1178884"/>
              <a:ext cx="38107" cy="26675"/>
            </a:xfrm>
            <a:custGeom>
              <a:avLst/>
              <a:gdLst>
                <a:gd name="T0" fmla="*/ 24 w 36"/>
                <a:gd name="T1" fmla="*/ 24 h 24"/>
                <a:gd name="T2" fmla="*/ 12 w 36"/>
                <a:gd name="T3" fmla="*/ 24 h 24"/>
                <a:gd name="T4" fmla="*/ 0 w 36"/>
                <a:gd name="T5" fmla="*/ 12 h 24"/>
                <a:gd name="T6" fmla="*/ 12 w 36"/>
                <a:gd name="T7" fmla="*/ 0 h 24"/>
                <a:gd name="T8" fmla="*/ 24 w 36"/>
                <a:gd name="T9" fmla="*/ 0 h 24"/>
                <a:gd name="T10" fmla="*/ 36 w 36"/>
                <a:gd name="T11" fmla="*/ 12 h 24"/>
                <a:gd name="T12" fmla="*/ 24 w 36"/>
                <a:gd name="T13" fmla="*/ 24 h 24"/>
                <a:gd name="T14" fmla="*/ 12 w 36"/>
                <a:gd name="T15" fmla="*/ 8 h 24"/>
                <a:gd name="T16" fmla="*/ 8 w 36"/>
                <a:gd name="T17" fmla="*/ 12 h 24"/>
                <a:gd name="T18" fmla="*/ 12 w 36"/>
                <a:gd name="T19" fmla="*/ 16 h 24"/>
                <a:gd name="T20" fmla="*/ 24 w 36"/>
                <a:gd name="T21" fmla="*/ 16 h 24"/>
                <a:gd name="T22" fmla="*/ 28 w 36"/>
                <a:gd name="T23" fmla="*/ 12 h 24"/>
                <a:gd name="T24" fmla="*/ 24 w 36"/>
                <a:gd name="T25" fmla="*/ 8 h 24"/>
                <a:gd name="T26" fmla="*/ 12 w 36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24">
                  <a:moveTo>
                    <a:pt x="24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cubicBezTo>
                    <a:pt x="36" y="18"/>
                    <a:pt x="31" y="24"/>
                    <a:pt x="24" y="24"/>
                  </a:cubicBezTo>
                  <a:close/>
                  <a:moveTo>
                    <a:pt x="12" y="8"/>
                  </a:moveTo>
                  <a:cubicBezTo>
                    <a:pt x="10" y="8"/>
                    <a:pt x="8" y="9"/>
                    <a:pt x="8" y="12"/>
                  </a:cubicBezTo>
                  <a:cubicBezTo>
                    <a:pt x="8" y="14"/>
                    <a:pt x="10" y="16"/>
                    <a:pt x="12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6" y="16"/>
                    <a:pt x="28" y="14"/>
                    <a:pt x="28" y="12"/>
                  </a:cubicBezTo>
                  <a:cubicBezTo>
                    <a:pt x="28" y="9"/>
                    <a:pt x="26" y="8"/>
                    <a:pt x="24" y="8"/>
                  </a:cubicBezTo>
                  <a:lnTo>
                    <a:pt x="1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9" name="Freeform 1477">
              <a:extLst>
                <a:ext uri="{FF2B5EF4-FFF2-40B4-BE49-F238E27FC236}">
                  <a16:creationId xmlns:a16="http://schemas.microsoft.com/office/drawing/2014/main" id="{EA4E4DA9-87F3-430B-882A-2DCA864AE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9472" y="1188411"/>
              <a:ext cx="59066" cy="123847"/>
            </a:xfrm>
            <a:custGeom>
              <a:avLst/>
              <a:gdLst>
                <a:gd name="T0" fmla="*/ 53 w 57"/>
                <a:gd name="T1" fmla="*/ 118 h 118"/>
                <a:gd name="T2" fmla="*/ 49 w 57"/>
                <a:gd name="T3" fmla="*/ 115 h 118"/>
                <a:gd name="T4" fmla="*/ 12 w 57"/>
                <a:gd name="T5" fmla="*/ 13 h 118"/>
                <a:gd name="T6" fmla="*/ 4 w 57"/>
                <a:gd name="T7" fmla="*/ 8 h 118"/>
                <a:gd name="T8" fmla="*/ 0 w 57"/>
                <a:gd name="T9" fmla="*/ 4 h 118"/>
                <a:gd name="T10" fmla="*/ 4 w 57"/>
                <a:gd name="T11" fmla="*/ 0 h 118"/>
                <a:gd name="T12" fmla="*/ 19 w 57"/>
                <a:gd name="T13" fmla="*/ 10 h 118"/>
                <a:gd name="T14" fmla="*/ 57 w 57"/>
                <a:gd name="T15" fmla="*/ 113 h 118"/>
                <a:gd name="T16" fmla="*/ 54 w 57"/>
                <a:gd name="T17" fmla="*/ 118 h 118"/>
                <a:gd name="T18" fmla="*/ 53 w 57"/>
                <a:gd name="T1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118">
                  <a:moveTo>
                    <a:pt x="53" y="118"/>
                  </a:moveTo>
                  <a:cubicBezTo>
                    <a:pt x="51" y="118"/>
                    <a:pt x="50" y="117"/>
                    <a:pt x="49" y="115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0"/>
                    <a:pt x="8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1" y="0"/>
                    <a:pt x="17" y="4"/>
                    <a:pt x="19" y="10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115"/>
                    <a:pt x="56" y="117"/>
                    <a:pt x="54" y="118"/>
                  </a:cubicBezTo>
                  <a:cubicBezTo>
                    <a:pt x="54" y="118"/>
                    <a:pt x="53" y="118"/>
                    <a:pt x="53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0" name="Freeform 1478">
              <a:extLst>
                <a:ext uri="{FF2B5EF4-FFF2-40B4-BE49-F238E27FC236}">
                  <a16:creationId xmlns:a16="http://schemas.microsoft.com/office/drawing/2014/main" id="{B2F3F67E-3320-47DE-808B-FAC99D1CD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171" y="1302732"/>
              <a:ext cx="60971" cy="41918"/>
            </a:xfrm>
            <a:custGeom>
              <a:avLst/>
              <a:gdLst>
                <a:gd name="T0" fmla="*/ 3 w 58"/>
                <a:gd name="T1" fmla="*/ 40 h 40"/>
                <a:gd name="T2" fmla="*/ 0 w 58"/>
                <a:gd name="T3" fmla="*/ 32 h 40"/>
                <a:gd name="T4" fmla="*/ 50 w 58"/>
                <a:gd name="T5" fmla="*/ 14 h 40"/>
                <a:gd name="T6" fmla="*/ 50 w 58"/>
                <a:gd name="T7" fmla="*/ 0 h 40"/>
                <a:gd name="T8" fmla="*/ 58 w 58"/>
                <a:gd name="T9" fmla="*/ 0 h 40"/>
                <a:gd name="T10" fmla="*/ 58 w 58"/>
                <a:gd name="T11" fmla="*/ 17 h 40"/>
                <a:gd name="T12" fmla="*/ 55 w 58"/>
                <a:gd name="T13" fmla="*/ 21 h 40"/>
                <a:gd name="T14" fmla="*/ 3 w 58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0">
                  <a:moveTo>
                    <a:pt x="3" y="4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9"/>
                    <a:pt x="57" y="20"/>
                    <a:pt x="55" y="21"/>
                  </a:cubicBezTo>
                  <a:lnTo>
                    <a:pt x="3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45" name="Oval 444">
            <a:extLst>
              <a:ext uri="{FF2B5EF4-FFF2-40B4-BE49-F238E27FC236}">
                <a16:creationId xmlns:a16="http://schemas.microsoft.com/office/drawing/2014/main" id="{5DFB3F73-CC65-410B-86FA-582A612B2109}"/>
              </a:ext>
            </a:extLst>
          </p:cNvPr>
          <p:cNvSpPr/>
          <p:nvPr/>
        </p:nvSpPr>
        <p:spPr>
          <a:xfrm>
            <a:off x="4474982" y="3296889"/>
            <a:ext cx="136534" cy="13653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endParaRPr lang="en-US" sz="2400">
              <a:solidFill>
                <a:srgbClr val="FFFFFF"/>
              </a:solidFill>
              <a:latin typeface="Open Sans"/>
              <a:ea typeface="DengXian Light"/>
              <a:cs typeface="Open Sans"/>
            </a:endParaRPr>
          </a:p>
        </p:txBody>
      </p:sp>
      <p:sp>
        <p:nvSpPr>
          <p:cNvPr id="446" name="Oval 445">
            <a:extLst>
              <a:ext uri="{FF2B5EF4-FFF2-40B4-BE49-F238E27FC236}">
                <a16:creationId xmlns:a16="http://schemas.microsoft.com/office/drawing/2014/main" id="{91491175-E9F5-40D5-9EF9-6A807DE818F6}"/>
              </a:ext>
            </a:extLst>
          </p:cNvPr>
          <p:cNvSpPr/>
          <p:nvPr/>
        </p:nvSpPr>
        <p:spPr>
          <a:xfrm>
            <a:off x="4939802" y="4836129"/>
            <a:ext cx="136534" cy="13653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endParaRPr lang="en-US" sz="2400">
              <a:solidFill>
                <a:srgbClr val="FFFFFF"/>
              </a:solidFill>
              <a:latin typeface="Open Sans"/>
              <a:ea typeface="DengXian Light"/>
              <a:cs typeface="Open Sans"/>
            </a:endParaRPr>
          </a:p>
        </p:txBody>
      </p:sp>
      <p:sp>
        <p:nvSpPr>
          <p:cNvPr id="447" name="Oval 446">
            <a:extLst>
              <a:ext uri="{FF2B5EF4-FFF2-40B4-BE49-F238E27FC236}">
                <a16:creationId xmlns:a16="http://schemas.microsoft.com/office/drawing/2014/main" id="{D01B5CF3-69C0-4B0D-AD4B-FFF8E9D77D31}"/>
              </a:ext>
            </a:extLst>
          </p:cNvPr>
          <p:cNvSpPr/>
          <p:nvPr/>
        </p:nvSpPr>
        <p:spPr>
          <a:xfrm>
            <a:off x="6913382" y="2534889"/>
            <a:ext cx="136534" cy="13653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endParaRPr lang="en-US" sz="2400">
              <a:solidFill>
                <a:srgbClr val="FFFFFF"/>
              </a:solidFill>
              <a:latin typeface="Open Sans"/>
              <a:ea typeface="DengXian Light"/>
              <a:cs typeface="Open Sans"/>
            </a:endParaRPr>
          </a:p>
        </p:txBody>
      </p:sp>
      <p:sp>
        <p:nvSpPr>
          <p:cNvPr id="448" name="Oval 447">
            <a:extLst>
              <a:ext uri="{FF2B5EF4-FFF2-40B4-BE49-F238E27FC236}">
                <a16:creationId xmlns:a16="http://schemas.microsoft.com/office/drawing/2014/main" id="{4C5897E6-7731-4F0F-BFD0-33AFA6EEC23F}"/>
              </a:ext>
            </a:extLst>
          </p:cNvPr>
          <p:cNvSpPr/>
          <p:nvPr/>
        </p:nvSpPr>
        <p:spPr>
          <a:xfrm>
            <a:off x="4217183" y="3792287"/>
            <a:ext cx="136534" cy="13653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r>
              <a:rPr lang="en-US" sz="2400" dirty="0">
                <a:solidFill>
                  <a:srgbClr val="FFFFFF"/>
                </a:solidFill>
                <a:latin typeface="Open Sans"/>
                <a:ea typeface="DengXian Light"/>
                <a:cs typeface="Open Sans"/>
              </a:rPr>
              <a:t>                  </a:t>
            </a:r>
          </a:p>
        </p:txBody>
      </p:sp>
      <p:sp>
        <p:nvSpPr>
          <p:cNvPr id="449" name="Oval 448">
            <a:extLst>
              <a:ext uri="{FF2B5EF4-FFF2-40B4-BE49-F238E27FC236}">
                <a16:creationId xmlns:a16="http://schemas.microsoft.com/office/drawing/2014/main" id="{22CDA1F1-B68A-4FDF-96FD-6449932FB5B1}"/>
              </a:ext>
            </a:extLst>
          </p:cNvPr>
          <p:cNvSpPr/>
          <p:nvPr/>
        </p:nvSpPr>
        <p:spPr>
          <a:xfrm>
            <a:off x="6762263" y="4051367"/>
            <a:ext cx="136534" cy="13653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r>
              <a:rPr lang="en-US" sz="2400" dirty="0">
                <a:solidFill>
                  <a:srgbClr val="FFFFFF"/>
                </a:solidFill>
                <a:latin typeface="Open Sans"/>
                <a:ea typeface="DengXian Light"/>
                <a:cs typeface="Open Sans"/>
              </a:rPr>
              <a:t>                  </a:t>
            </a:r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EFE0EC2D-175F-49DF-8C91-29ADEBFCC4DC}"/>
              </a:ext>
            </a:extLst>
          </p:cNvPr>
          <p:cNvSpPr/>
          <p:nvPr/>
        </p:nvSpPr>
        <p:spPr>
          <a:xfrm>
            <a:off x="7493783" y="2725487"/>
            <a:ext cx="136534" cy="13653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r>
              <a:rPr lang="en-US" sz="2400" dirty="0">
                <a:solidFill>
                  <a:srgbClr val="FFFFFF"/>
                </a:solidFill>
                <a:latin typeface="Open Sans"/>
                <a:ea typeface="DengXian Light"/>
                <a:cs typeface="Open Sans"/>
              </a:rPr>
              <a:t>                  </a:t>
            </a:r>
          </a:p>
        </p:txBody>
      </p:sp>
      <p:sp>
        <p:nvSpPr>
          <p:cNvPr id="451" name="Oval 450">
            <a:extLst>
              <a:ext uri="{FF2B5EF4-FFF2-40B4-BE49-F238E27FC236}">
                <a16:creationId xmlns:a16="http://schemas.microsoft.com/office/drawing/2014/main" id="{D5DBE2E4-559C-403B-B76C-68FDB5A4894D}"/>
              </a:ext>
            </a:extLst>
          </p:cNvPr>
          <p:cNvSpPr/>
          <p:nvPr/>
        </p:nvSpPr>
        <p:spPr>
          <a:xfrm>
            <a:off x="11037083" y="5125787"/>
            <a:ext cx="136534" cy="13653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r>
              <a:rPr lang="en-US" sz="2400" dirty="0">
                <a:solidFill>
                  <a:srgbClr val="FFFFFF"/>
                </a:solidFill>
                <a:latin typeface="Open Sans"/>
                <a:ea typeface="DengXian Light"/>
                <a:cs typeface="Open Sans"/>
              </a:rPr>
              <a:t>                  </a:t>
            </a:r>
          </a:p>
        </p:txBody>
      </p:sp>
      <p:sp>
        <p:nvSpPr>
          <p:cNvPr id="452" name="Oval 451">
            <a:extLst>
              <a:ext uri="{FF2B5EF4-FFF2-40B4-BE49-F238E27FC236}">
                <a16:creationId xmlns:a16="http://schemas.microsoft.com/office/drawing/2014/main" id="{C3B3F8ED-D014-427F-B2D4-96055E67A979}"/>
              </a:ext>
            </a:extLst>
          </p:cNvPr>
          <p:cNvSpPr/>
          <p:nvPr/>
        </p:nvSpPr>
        <p:spPr>
          <a:xfrm>
            <a:off x="6884183" y="3306512"/>
            <a:ext cx="136534" cy="136534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r>
              <a:rPr lang="en-US" sz="2400" dirty="0">
                <a:solidFill>
                  <a:srgbClr val="FFFFFF"/>
                </a:solidFill>
                <a:latin typeface="Open Sans"/>
                <a:ea typeface="DengXian Light"/>
                <a:cs typeface="Open Sans"/>
              </a:rPr>
              <a:t>                  </a:t>
            </a:r>
          </a:p>
        </p:txBody>
      </p:sp>
      <p:sp>
        <p:nvSpPr>
          <p:cNvPr id="453" name="Oval 452">
            <a:extLst>
              <a:ext uri="{FF2B5EF4-FFF2-40B4-BE49-F238E27FC236}">
                <a16:creationId xmlns:a16="http://schemas.microsoft.com/office/drawing/2014/main" id="{CC029851-9C70-462A-8916-9535D4A751D3}"/>
              </a:ext>
            </a:extLst>
          </p:cNvPr>
          <p:cNvSpPr/>
          <p:nvPr/>
        </p:nvSpPr>
        <p:spPr>
          <a:xfrm>
            <a:off x="6067401" y="5502025"/>
            <a:ext cx="136534" cy="13653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endParaRPr lang="en-US" sz="2400">
              <a:solidFill>
                <a:srgbClr val="FFFFFF"/>
              </a:solidFill>
              <a:latin typeface="Open Sans"/>
              <a:ea typeface="DengXian Light"/>
              <a:cs typeface="Open Sans"/>
            </a:endParaRPr>
          </a:p>
        </p:txBody>
      </p:sp>
      <p:sp>
        <p:nvSpPr>
          <p:cNvPr id="454" name="Oval 453">
            <a:extLst>
              <a:ext uri="{FF2B5EF4-FFF2-40B4-BE49-F238E27FC236}">
                <a16:creationId xmlns:a16="http://schemas.microsoft.com/office/drawing/2014/main" id="{2CB9A1C1-1B65-4C67-A4C4-33656B557AF9}"/>
              </a:ext>
            </a:extLst>
          </p:cNvPr>
          <p:cNvSpPr/>
          <p:nvPr/>
        </p:nvSpPr>
        <p:spPr>
          <a:xfrm>
            <a:off x="6067401" y="5996325"/>
            <a:ext cx="136534" cy="13653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r>
              <a:rPr lang="en-US" sz="2400" dirty="0">
                <a:solidFill>
                  <a:srgbClr val="FFFFFF"/>
                </a:solidFill>
                <a:latin typeface="Open Sans"/>
                <a:ea typeface="DengXian Light"/>
                <a:cs typeface="Open Sans"/>
              </a:rPr>
              <a:t>                  </a:t>
            </a:r>
          </a:p>
        </p:txBody>
      </p:sp>
      <p:sp>
        <p:nvSpPr>
          <p:cNvPr id="455" name="Oval 454">
            <a:extLst>
              <a:ext uri="{FF2B5EF4-FFF2-40B4-BE49-F238E27FC236}">
                <a16:creationId xmlns:a16="http://schemas.microsoft.com/office/drawing/2014/main" id="{5EFD957C-2548-45A5-9DC2-197436DA070B}"/>
              </a:ext>
            </a:extLst>
          </p:cNvPr>
          <p:cNvSpPr/>
          <p:nvPr/>
        </p:nvSpPr>
        <p:spPr>
          <a:xfrm>
            <a:off x="6067401" y="5749175"/>
            <a:ext cx="136534" cy="136534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39">
              <a:defRPr/>
            </a:pPr>
            <a:r>
              <a:rPr lang="en-US" sz="2400" dirty="0">
                <a:solidFill>
                  <a:srgbClr val="FFFFFF"/>
                </a:solidFill>
                <a:latin typeface="Open Sans"/>
                <a:ea typeface="DengXian Light"/>
                <a:cs typeface="Open Sans"/>
              </a:rPr>
              <a:t>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830826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-864774" y="291010"/>
            <a:ext cx="13186835" cy="6565900"/>
            <a:chOff x="-237" y="72"/>
            <a:chExt cx="6230" cy="3102"/>
          </a:xfrm>
          <a:solidFill>
            <a:srgbClr val="40786C"/>
          </a:solidFill>
          <a:effectLst>
            <a:outerShdw blurRad="165100" algn="ctr" rotWithShape="0">
              <a:prstClr val="black">
                <a:alpha val="69000"/>
              </a:prstClr>
            </a:outerShdw>
          </a:effectLst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414" y="2292"/>
              <a:ext cx="147" cy="285"/>
            </a:xfrm>
            <a:custGeom>
              <a:avLst/>
              <a:gdLst>
                <a:gd name="T0" fmla="*/ 69 w 83"/>
                <a:gd name="T1" fmla="*/ 0 h 161"/>
                <a:gd name="T2" fmla="*/ 32 w 83"/>
                <a:gd name="T3" fmla="*/ 38 h 161"/>
                <a:gd name="T4" fmla="*/ 19 w 83"/>
                <a:gd name="T5" fmla="*/ 89 h 161"/>
                <a:gd name="T6" fmla="*/ 52 w 83"/>
                <a:gd name="T7" fmla="*/ 123 h 161"/>
                <a:gd name="T8" fmla="*/ 78 w 83"/>
                <a:gd name="T9" fmla="*/ 36 h 161"/>
                <a:gd name="T10" fmla="*/ 83 w 83"/>
                <a:gd name="T11" fmla="*/ 38 h 161"/>
                <a:gd name="T12" fmla="*/ 69 w 83"/>
                <a:gd name="T13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61">
                  <a:moveTo>
                    <a:pt x="69" y="0"/>
                  </a:moveTo>
                  <a:cubicBezTo>
                    <a:pt x="68" y="18"/>
                    <a:pt x="47" y="32"/>
                    <a:pt x="32" y="38"/>
                  </a:cubicBezTo>
                  <a:cubicBezTo>
                    <a:pt x="11" y="47"/>
                    <a:pt x="30" y="72"/>
                    <a:pt x="19" y="89"/>
                  </a:cubicBezTo>
                  <a:cubicBezTo>
                    <a:pt x="0" y="101"/>
                    <a:pt x="24" y="161"/>
                    <a:pt x="52" y="123"/>
                  </a:cubicBezTo>
                  <a:cubicBezTo>
                    <a:pt x="67" y="103"/>
                    <a:pt x="78" y="61"/>
                    <a:pt x="78" y="36"/>
                  </a:cubicBezTo>
                  <a:cubicBezTo>
                    <a:pt x="79" y="37"/>
                    <a:pt x="81" y="37"/>
                    <a:pt x="83" y="38"/>
                  </a:cubicBezTo>
                  <a:cubicBezTo>
                    <a:pt x="83" y="25"/>
                    <a:pt x="81" y="7"/>
                    <a:pt x="69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4070" y="1903"/>
              <a:ext cx="37" cy="78"/>
            </a:xfrm>
            <a:custGeom>
              <a:avLst/>
              <a:gdLst>
                <a:gd name="T0" fmla="*/ 3 w 21"/>
                <a:gd name="T1" fmla="*/ 31 h 44"/>
                <a:gd name="T2" fmla="*/ 21 w 21"/>
                <a:gd name="T3" fmla="*/ 23 h 44"/>
                <a:gd name="T4" fmla="*/ 7 w 21"/>
                <a:gd name="T5" fmla="*/ 0 h 44"/>
                <a:gd name="T6" fmla="*/ 3 w 21"/>
                <a:gd name="T7" fmla="*/ 3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4">
                  <a:moveTo>
                    <a:pt x="3" y="31"/>
                  </a:moveTo>
                  <a:cubicBezTo>
                    <a:pt x="7" y="44"/>
                    <a:pt x="20" y="32"/>
                    <a:pt x="21" y="23"/>
                  </a:cubicBezTo>
                  <a:cubicBezTo>
                    <a:pt x="19" y="14"/>
                    <a:pt x="13" y="6"/>
                    <a:pt x="7" y="0"/>
                  </a:cubicBezTo>
                  <a:cubicBezTo>
                    <a:pt x="5" y="9"/>
                    <a:pt x="0" y="22"/>
                    <a:pt x="3" y="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4345" y="1974"/>
              <a:ext cx="223" cy="201"/>
            </a:xfrm>
            <a:custGeom>
              <a:avLst/>
              <a:gdLst>
                <a:gd name="T0" fmla="*/ 83 w 126"/>
                <a:gd name="T1" fmla="*/ 58 h 113"/>
                <a:gd name="T2" fmla="*/ 48 w 126"/>
                <a:gd name="T3" fmla="*/ 27 h 113"/>
                <a:gd name="T4" fmla="*/ 29 w 126"/>
                <a:gd name="T5" fmla="*/ 8 h 113"/>
                <a:gd name="T6" fmla="*/ 0 w 126"/>
                <a:gd name="T7" fmla="*/ 0 h 113"/>
                <a:gd name="T8" fmla="*/ 26 w 126"/>
                <a:gd name="T9" fmla="*/ 32 h 113"/>
                <a:gd name="T10" fmla="*/ 47 w 126"/>
                <a:gd name="T11" fmla="*/ 58 h 113"/>
                <a:gd name="T12" fmla="*/ 94 w 126"/>
                <a:gd name="T13" fmla="*/ 113 h 113"/>
                <a:gd name="T14" fmla="*/ 83 w 126"/>
                <a:gd name="T15" fmla="*/ 5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13">
                  <a:moveTo>
                    <a:pt x="83" y="58"/>
                  </a:moveTo>
                  <a:cubicBezTo>
                    <a:pt x="76" y="47"/>
                    <a:pt x="63" y="39"/>
                    <a:pt x="48" y="27"/>
                  </a:cubicBezTo>
                  <a:cubicBezTo>
                    <a:pt x="43" y="22"/>
                    <a:pt x="34" y="11"/>
                    <a:pt x="29" y="8"/>
                  </a:cubicBezTo>
                  <a:cubicBezTo>
                    <a:pt x="19" y="3"/>
                    <a:pt x="10" y="4"/>
                    <a:pt x="0" y="0"/>
                  </a:cubicBezTo>
                  <a:cubicBezTo>
                    <a:pt x="2" y="10"/>
                    <a:pt x="18" y="27"/>
                    <a:pt x="26" y="32"/>
                  </a:cubicBezTo>
                  <a:cubicBezTo>
                    <a:pt x="37" y="39"/>
                    <a:pt x="38" y="52"/>
                    <a:pt x="47" y="58"/>
                  </a:cubicBezTo>
                  <a:cubicBezTo>
                    <a:pt x="55" y="69"/>
                    <a:pt x="78" y="113"/>
                    <a:pt x="94" y="113"/>
                  </a:cubicBezTo>
                  <a:cubicBezTo>
                    <a:pt x="126" y="113"/>
                    <a:pt x="88" y="65"/>
                    <a:pt x="83" y="5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4582" y="1949"/>
              <a:ext cx="179" cy="210"/>
            </a:xfrm>
            <a:custGeom>
              <a:avLst/>
              <a:gdLst>
                <a:gd name="T0" fmla="*/ 18 w 101"/>
                <a:gd name="T1" fmla="*/ 97 h 118"/>
                <a:gd name="T2" fmla="*/ 30 w 101"/>
                <a:gd name="T3" fmla="*/ 102 h 118"/>
                <a:gd name="T4" fmla="*/ 75 w 101"/>
                <a:gd name="T5" fmla="*/ 96 h 118"/>
                <a:gd name="T6" fmla="*/ 99 w 101"/>
                <a:gd name="T7" fmla="*/ 57 h 118"/>
                <a:gd name="T8" fmla="*/ 101 w 101"/>
                <a:gd name="T9" fmla="*/ 18 h 118"/>
                <a:gd name="T10" fmla="*/ 81 w 101"/>
                <a:gd name="T11" fmla="*/ 0 h 118"/>
                <a:gd name="T12" fmla="*/ 51 w 101"/>
                <a:gd name="T13" fmla="*/ 25 h 118"/>
                <a:gd name="T14" fmla="*/ 18 w 101"/>
                <a:gd name="T15" fmla="*/ 55 h 118"/>
                <a:gd name="T16" fmla="*/ 11 w 101"/>
                <a:gd name="T17" fmla="*/ 78 h 118"/>
                <a:gd name="T18" fmla="*/ 18 w 101"/>
                <a:gd name="T19" fmla="*/ 9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18">
                  <a:moveTo>
                    <a:pt x="18" y="97"/>
                  </a:moveTo>
                  <a:cubicBezTo>
                    <a:pt x="27" y="100"/>
                    <a:pt x="26" y="95"/>
                    <a:pt x="30" y="102"/>
                  </a:cubicBezTo>
                  <a:cubicBezTo>
                    <a:pt x="47" y="100"/>
                    <a:pt x="68" y="118"/>
                    <a:pt x="75" y="96"/>
                  </a:cubicBezTo>
                  <a:cubicBezTo>
                    <a:pt x="79" y="84"/>
                    <a:pt x="82" y="60"/>
                    <a:pt x="99" y="57"/>
                  </a:cubicBezTo>
                  <a:cubicBezTo>
                    <a:pt x="73" y="42"/>
                    <a:pt x="89" y="28"/>
                    <a:pt x="101" y="18"/>
                  </a:cubicBezTo>
                  <a:cubicBezTo>
                    <a:pt x="93" y="14"/>
                    <a:pt x="85" y="8"/>
                    <a:pt x="81" y="0"/>
                  </a:cubicBezTo>
                  <a:cubicBezTo>
                    <a:pt x="70" y="6"/>
                    <a:pt x="61" y="18"/>
                    <a:pt x="51" y="25"/>
                  </a:cubicBezTo>
                  <a:cubicBezTo>
                    <a:pt x="39" y="34"/>
                    <a:pt x="30" y="47"/>
                    <a:pt x="18" y="55"/>
                  </a:cubicBezTo>
                  <a:cubicBezTo>
                    <a:pt x="0" y="66"/>
                    <a:pt x="2" y="59"/>
                    <a:pt x="11" y="78"/>
                  </a:cubicBezTo>
                  <a:cubicBezTo>
                    <a:pt x="14" y="84"/>
                    <a:pt x="11" y="94"/>
                    <a:pt x="18" y="9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4754" y="2034"/>
              <a:ext cx="112" cy="137"/>
            </a:xfrm>
            <a:custGeom>
              <a:avLst/>
              <a:gdLst>
                <a:gd name="T0" fmla="*/ 29 w 63"/>
                <a:gd name="T1" fmla="*/ 17 h 77"/>
                <a:gd name="T2" fmla="*/ 63 w 63"/>
                <a:gd name="T3" fmla="*/ 4 h 77"/>
                <a:gd name="T4" fmla="*/ 11 w 63"/>
                <a:gd name="T5" fmla="*/ 20 h 77"/>
                <a:gd name="T6" fmla="*/ 13 w 63"/>
                <a:gd name="T7" fmla="*/ 77 h 77"/>
                <a:gd name="T8" fmla="*/ 23 w 63"/>
                <a:gd name="T9" fmla="*/ 48 h 77"/>
                <a:gd name="T10" fmla="*/ 27 w 63"/>
                <a:gd name="T11" fmla="*/ 69 h 77"/>
                <a:gd name="T12" fmla="*/ 27 w 63"/>
                <a:gd name="T13" fmla="*/ 39 h 77"/>
                <a:gd name="T14" fmla="*/ 45 w 63"/>
                <a:gd name="T15" fmla="*/ 26 h 77"/>
                <a:gd name="T16" fmla="*/ 25 w 63"/>
                <a:gd name="T17" fmla="*/ 31 h 77"/>
                <a:gd name="T18" fmla="*/ 29 w 63"/>
                <a:gd name="T19" fmla="*/ 1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77">
                  <a:moveTo>
                    <a:pt x="29" y="17"/>
                  </a:moveTo>
                  <a:cubicBezTo>
                    <a:pt x="43" y="15"/>
                    <a:pt x="59" y="23"/>
                    <a:pt x="63" y="4"/>
                  </a:cubicBezTo>
                  <a:cubicBezTo>
                    <a:pt x="45" y="21"/>
                    <a:pt x="27" y="0"/>
                    <a:pt x="11" y="20"/>
                  </a:cubicBezTo>
                  <a:cubicBezTo>
                    <a:pt x="0" y="35"/>
                    <a:pt x="0" y="66"/>
                    <a:pt x="13" y="77"/>
                  </a:cubicBezTo>
                  <a:cubicBezTo>
                    <a:pt x="21" y="67"/>
                    <a:pt x="10" y="51"/>
                    <a:pt x="23" y="48"/>
                  </a:cubicBezTo>
                  <a:cubicBezTo>
                    <a:pt x="22" y="55"/>
                    <a:pt x="24" y="63"/>
                    <a:pt x="27" y="69"/>
                  </a:cubicBezTo>
                  <a:cubicBezTo>
                    <a:pt x="46" y="67"/>
                    <a:pt x="33" y="50"/>
                    <a:pt x="27" y="39"/>
                  </a:cubicBezTo>
                  <a:cubicBezTo>
                    <a:pt x="35" y="36"/>
                    <a:pt x="42" y="33"/>
                    <a:pt x="45" y="26"/>
                  </a:cubicBezTo>
                  <a:cubicBezTo>
                    <a:pt x="40" y="27"/>
                    <a:pt x="27" y="31"/>
                    <a:pt x="25" y="31"/>
                  </a:cubicBezTo>
                  <a:cubicBezTo>
                    <a:pt x="12" y="36"/>
                    <a:pt x="12" y="19"/>
                    <a:pt x="29" y="1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4524" y="2162"/>
              <a:ext cx="179" cy="62"/>
            </a:xfrm>
            <a:custGeom>
              <a:avLst/>
              <a:gdLst>
                <a:gd name="T0" fmla="*/ 101 w 101"/>
                <a:gd name="T1" fmla="*/ 31 h 35"/>
                <a:gd name="T2" fmla="*/ 69 w 101"/>
                <a:gd name="T3" fmla="*/ 20 h 35"/>
                <a:gd name="T4" fmla="*/ 76 w 101"/>
                <a:gd name="T5" fmla="*/ 18 h 35"/>
                <a:gd name="T6" fmla="*/ 58 w 101"/>
                <a:gd name="T7" fmla="*/ 14 h 35"/>
                <a:gd name="T8" fmla="*/ 35 w 101"/>
                <a:gd name="T9" fmla="*/ 16 h 35"/>
                <a:gd name="T10" fmla="*/ 0 w 101"/>
                <a:gd name="T11" fmla="*/ 15 h 35"/>
                <a:gd name="T12" fmla="*/ 97 w 101"/>
                <a:gd name="T13" fmla="*/ 35 h 35"/>
                <a:gd name="T14" fmla="*/ 101 w 101"/>
                <a:gd name="T15" fmla="*/ 3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35">
                  <a:moveTo>
                    <a:pt x="101" y="31"/>
                  </a:moveTo>
                  <a:cubicBezTo>
                    <a:pt x="90" y="27"/>
                    <a:pt x="80" y="25"/>
                    <a:pt x="69" y="20"/>
                  </a:cubicBezTo>
                  <a:cubicBezTo>
                    <a:pt x="72" y="19"/>
                    <a:pt x="74" y="19"/>
                    <a:pt x="76" y="18"/>
                  </a:cubicBezTo>
                  <a:cubicBezTo>
                    <a:pt x="70" y="19"/>
                    <a:pt x="64" y="17"/>
                    <a:pt x="58" y="14"/>
                  </a:cubicBezTo>
                  <a:cubicBezTo>
                    <a:pt x="51" y="12"/>
                    <a:pt x="42" y="16"/>
                    <a:pt x="35" y="16"/>
                  </a:cubicBezTo>
                  <a:cubicBezTo>
                    <a:pt x="19" y="14"/>
                    <a:pt x="14" y="0"/>
                    <a:pt x="0" y="15"/>
                  </a:cubicBezTo>
                  <a:cubicBezTo>
                    <a:pt x="26" y="31"/>
                    <a:pt x="72" y="33"/>
                    <a:pt x="97" y="35"/>
                  </a:cubicBezTo>
                  <a:cubicBezTo>
                    <a:pt x="98" y="34"/>
                    <a:pt x="99" y="33"/>
                    <a:pt x="101" y="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4658" y="2194"/>
              <a:ext cx="11" cy="0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4775" y="2215"/>
              <a:ext cx="54" cy="15"/>
            </a:xfrm>
            <a:custGeom>
              <a:avLst/>
              <a:gdLst>
                <a:gd name="T0" fmla="*/ 20 w 30"/>
                <a:gd name="T1" fmla="*/ 7 h 8"/>
                <a:gd name="T2" fmla="*/ 30 w 30"/>
                <a:gd name="T3" fmla="*/ 0 h 8"/>
                <a:gd name="T4" fmla="*/ 0 w 30"/>
                <a:gd name="T5" fmla="*/ 4 h 8"/>
                <a:gd name="T6" fmla="*/ 20 w 30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8">
                  <a:moveTo>
                    <a:pt x="20" y="7"/>
                  </a:moveTo>
                  <a:cubicBezTo>
                    <a:pt x="23" y="5"/>
                    <a:pt x="27" y="3"/>
                    <a:pt x="30" y="0"/>
                  </a:cubicBezTo>
                  <a:cubicBezTo>
                    <a:pt x="19" y="6"/>
                    <a:pt x="10" y="0"/>
                    <a:pt x="0" y="4"/>
                  </a:cubicBezTo>
                  <a:cubicBezTo>
                    <a:pt x="6" y="7"/>
                    <a:pt x="13" y="8"/>
                    <a:pt x="20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4722" y="2214"/>
              <a:ext cx="37" cy="16"/>
            </a:xfrm>
            <a:custGeom>
              <a:avLst/>
              <a:gdLst>
                <a:gd name="T0" fmla="*/ 0 w 21"/>
                <a:gd name="T1" fmla="*/ 7 h 9"/>
                <a:gd name="T2" fmla="*/ 21 w 21"/>
                <a:gd name="T3" fmla="*/ 8 h 9"/>
                <a:gd name="T4" fmla="*/ 0 w 21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9">
                  <a:moveTo>
                    <a:pt x="0" y="7"/>
                  </a:moveTo>
                  <a:cubicBezTo>
                    <a:pt x="7" y="9"/>
                    <a:pt x="13" y="8"/>
                    <a:pt x="21" y="8"/>
                  </a:cubicBezTo>
                  <a:cubicBezTo>
                    <a:pt x="17" y="0"/>
                    <a:pt x="9" y="4"/>
                    <a:pt x="0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4761" y="2231"/>
              <a:ext cx="29" cy="23"/>
            </a:xfrm>
            <a:custGeom>
              <a:avLst/>
              <a:gdLst>
                <a:gd name="T0" fmla="*/ 0 w 16"/>
                <a:gd name="T1" fmla="*/ 4 h 13"/>
                <a:gd name="T2" fmla="*/ 11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7" y="5"/>
                    <a:pt x="7" y="10"/>
                    <a:pt x="11" y="13"/>
                  </a:cubicBezTo>
                  <a:cubicBezTo>
                    <a:pt x="16" y="6"/>
                    <a:pt x="10" y="0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4706" y="2217"/>
              <a:ext cx="13" cy="11"/>
            </a:xfrm>
            <a:custGeom>
              <a:avLst/>
              <a:gdLst>
                <a:gd name="T0" fmla="*/ 4 w 7"/>
                <a:gd name="T1" fmla="*/ 6 h 6"/>
                <a:gd name="T2" fmla="*/ 7 w 7"/>
                <a:gd name="T3" fmla="*/ 3 h 6"/>
                <a:gd name="T4" fmla="*/ 1 w 7"/>
                <a:gd name="T5" fmla="*/ 0 h 6"/>
                <a:gd name="T6" fmla="*/ 4 w 7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4" y="6"/>
                  </a:moveTo>
                  <a:cubicBezTo>
                    <a:pt x="5" y="5"/>
                    <a:pt x="6" y="4"/>
                    <a:pt x="7" y="3"/>
                  </a:cubicBezTo>
                  <a:cubicBezTo>
                    <a:pt x="5" y="1"/>
                    <a:pt x="2" y="1"/>
                    <a:pt x="1" y="0"/>
                  </a:cubicBezTo>
                  <a:cubicBezTo>
                    <a:pt x="2" y="2"/>
                    <a:pt x="0" y="4"/>
                    <a:pt x="4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4836" y="2219"/>
              <a:ext cx="65" cy="35"/>
            </a:xfrm>
            <a:custGeom>
              <a:avLst/>
              <a:gdLst>
                <a:gd name="T0" fmla="*/ 16 w 37"/>
                <a:gd name="T1" fmla="*/ 10 h 20"/>
                <a:gd name="T2" fmla="*/ 37 w 37"/>
                <a:gd name="T3" fmla="*/ 2 h 20"/>
                <a:gd name="T4" fmla="*/ 4 w 37"/>
                <a:gd name="T5" fmla="*/ 20 h 20"/>
                <a:gd name="T6" fmla="*/ 16 w 37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0">
                  <a:moveTo>
                    <a:pt x="16" y="10"/>
                  </a:moveTo>
                  <a:cubicBezTo>
                    <a:pt x="24" y="10"/>
                    <a:pt x="31" y="7"/>
                    <a:pt x="37" y="2"/>
                  </a:cubicBezTo>
                  <a:cubicBezTo>
                    <a:pt x="25" y="0"/>
                    <a:pt x="0" y="7"/>
                    <a:pt x="4" y="20"/>
                  </a:cubicBezTo>
                  <a:cubicBezTo>
                    <a:pt x="11" y="19"/>
                    <a:pt x="14" y="15"/>
                    <a:pt x="16" y="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5022" y="2169"/>
              <a:ext cx="9" cy="25"/>
            </a:xfrm>
            <a:custGeom>
              <a:avLst/>
              <a:gdLst>
                <a:gd name="T0" fmla="*/ 5 w 5"/>
                <a:gd name="T1" fmla="*/ 0 h 14"/>
                <a:gd name="T2" fmla="*/ 2 w 5"/>
                <a:gd name="T3" fmla="*/ 14 h 14"/>
                <a:gd name="T4" fmla="*/ 5 w 5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4">
                  <a:moveTo>
                    <a:pt x="5" y="0"/>
                  </a:moveTo>
                  <a:cubicBezTo>
                    <a:pt x="3" y="5"/>
                    <a:pt x="0" y="9"/>
                    <a:pt x="2" y="14"/>
                  </a:cubicBezTo>
                  <a:cubicBezTo>
                    <a:pt x="5" y="9"/>
                    <a:pt x="5" y="4"/>
                    <a:pt x="5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4882" y="2128"/>
              <a:ext cx="17" cy="13"/>
            </a:xfrm>
            <a:custGeom>
              <a:avLst/>
              <a:gdLst>
                <a:gd name="T0" fmla="*/ 7 w 10"/>
                <a:gd name="T1" fmla="*/ 7 h 7"/>
                <a:gd name="T2" fmla="*/ 10 w 10"/>
                <a:gd name="T3" fmla="*/ 2 h 7"/>
                <a:gd name="T4" fmla="*/ 0 w 10"/>
                <a:gd name="T5" fmla="*/ 0 h 7"/>
                <a:gd name="T6" fmla="*/ 7 w 10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8" y="5"/>
                    <a:pt x="9" y="4"/>
                    <a:pt x="10" y="2"/>
                  </a:cubicBezTo>
                  <a:cubicBezTo>
                    <a:pt x="7" y="2"/>
                    <a:pt x="4" y="1"/>
                    <a:pt x="0" y="0"/>
                  </a:cubicBezTo>
                  <a:cubicBezTo>
                    <a:pt x="2" y="2"/>
                    <a:pt x="5" y="5"/>
                    <a:pt x="7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4914" y="2121"/>
              <a:ext cx="51" cy="15"/>
            </a:xfrm>
            <a:custGeom>
              <a:avLst/>
              <a:gdLst>
                <a:gd name="T0" fmla="*/ 0 w 29"/>
                <a:gd name="T1" fmla="*/ 4 h 8"/>
                <a:gd name="T2" fmla="*/ 29 w 29"/>
                <a:gd name="T3" fmla="*/ 8 h 8"/>
                <a:gd name="T4" fmla="*/ 25 w 29"/>
                <a:gd name="T5" fmla="*/ 2 h 8"/>
                <a:gd name="T6" fmla="*/ 0 w 29"/>
                <a:gd name="T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8">
                  <a:moveTo>
                    <a:pt x="0" y="4"/>
                  </a:moveTo>
                  <a:cubicBezTo>
                    <a:pt x="10" y="5"/>
                    <a:pt x="20" y="7"/>
                    <a:pt x="29" y="8"/>
                  </a:cubicBezTo>
                  <a:cubicBezTo>
                    <a:pt x="27" y="6"/>
                    <a:pt x="26" y="4"/>
                    <a:pt x="25" y="2"/>
                  </a:cubicBezTo>
                  <a:cubicBezTo>
                    <a:pt x="16" y="1"/>
                    <a:pt x="7" y="0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4912" y="2070"/>
              <a:ext cx="7" cy="11"/>
            </a:xfrm>
            <a:custGeom>
              <a:avLst/>
              <a:gdLst>
                <a:gd name="T0" fmla="*/ 4 w 4"/>
                <a:gd name="T1" fmla="*/ 6 h 6"/>
                <a:gd name="T2" fmla="*/ 1 w 4"/>
                <a:gd name="T3" fmla="*/ 0 h 6"/>
                <a:gd name="T4" fmla="*/ 0 w 4"/>
                <a:gd name="T5" fmla="*/ 0 h 6"/>
                <a:gd name="T6" fmla="*/ 4 w 4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cubicBezTo>
                    <a:pt x="3" y="4"/>
                    <a:pt x="2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2" y="2"/>
                    <a:pt x="3" y="4"/>
                    <a:pt x="4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4907" y="2031"/>
              <a:ext cx="21" cy="39"/>
            </a:xfrm>
            <a:custGeom>
              <a:avLst/>
              <a:gdLst>
                <a:gd name="T0" fmla="*/ 3 w 12"/>
                <a:gd name="T1" fmla="*/ 0 h 22"/>
                <a:gd name="T2" fmla="*/ 4 w 12"/>
                <a:gd name="T3" fmla="*/ 22 h 22"/>
                <a:gd name="T4" fmla="*/ 11 w 12"/>
                <a:gd name="T5" fmla="*/ 19 h 22"/>
                <a:gd name="T6" fmla="*/ 3 w 12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2">
                  <a:moveTo>
                    <a:pt x="3" y="0"/>
                  </a:moveTo>
                  <a:cubicBezTo>
                    <a:pt x="0" y="8"/>
                    <a:pt x="1" y="15"/>
                    <a:pt x="4" y="22"/>
                  </a:cubicBezTo>
                  <a:cubicBezTo>
                    <a:pt x="5" y="21"/>
                    <a:pt x="7" y="18"/>
                    <a:pt x="11" y="19"/>
                  </a:cubicBezTo>
                  <a:cubicBezTo>
                    <a:pt x="12" y="12"/>
                    <a:pt x="11" y="6"/>
                    <a:pt x="3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5275" y="2144"/>
              <a:ext cx="80" cy="41"/>
            </a:xfrm>
            <a:custGeom>
              <a:avLst/>
              <a:gdLst>
                <a:gd name="T0" fmla="*/ 0 w 45"/>
                <a:gd name="T1" fmla="*/ 14 h 23"/>
                <a:gd name="T2" fmla="*/ 10 w 45"/>
                <a:gd name="T3" fmla="*/ 21 h 23"/>
                <a:gd name="T4" fmla="*/ 36 w 45"/>
                <a:gd name="T5" fmla="*/ 0 h 23"/>
                <a:gd name="T6" fmla="*/ 0 w 45"/>
                <a:gd name="T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23">
                  <a:moveTo>
                    <a:pt x="0" y="14"/>
                  </a:moveTo>
                  <a:cubicBezTo>
                    <a:pt x="4" y="16"/>
                    <a:pt x="7" y="19"/>
                    <a:pt x="10" y="21"/>
                  </a:cubicBezTo>
                  <a:cubicBezTo>
                    <a:pt x="14" y="23"/>
                    <a:pt x="45" y="17"/>
                    <a:pt x="36" y="0"/>
                  </a:cubicBezTo>
                  <a:cubicBezTo>
                    <a:pt x="30" y="13"/>
                    <a:pt x="13" y="14"/>
                    <a:pt x="0" y="1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4963" y="2073"/>
              <a:ext cx="355" cy="217"/>
            </a:xfrm>
            <a:custGeom>
              <a:avLst/>
              <a:gdLst>
                <a:gd name="T0" fmla="*/ 74 w 200"/>
                <a:gd name="T1" fmla="*/ 14 h 122"/>
                <a:gd name="T2" fmla="*/ 47 w 200"/>
                <a:gd name="T3" fmla="*/ 31 h 122"/>
                <a:gd name="T4" fmla="*/ 27 w 200"/>
                <a:gd name="T5" fmla="*/ 5 h 122"/>
                <a:gd name="T6" fmla="*/ 0 w 200"/>
                <a:gd name="T7" fmla="*/ 10 h 122"/>
                <a:gd name="T8" fmla="*/ 30 w 200"/>
                <a:gd name="T9" fmla="*/ 21 h 122"/>
                <a:gd name="T10" fmla="*/ 13 w 200"/>
                <a:gd name="T11" fmla="*/ 27 h 122"/>
                <a:gd name="T12" fmla="*/ 29 w 200"/>
                <a:gd name="T13" fmla="*/ 34 h 122"/>
                <a:gd name="T14" fmla="*/ 71 w 200"/>
                <a:gd name="T15" fmla="*/ 79 h 122"/>
                <a:gd name="T16" fmla="*/ 102 w 200"/>
                <a:gd name="T17" fmla="*/ 87 h 122"/>
                <a:gd name="T18" fmla="*/ 123 w 200"/>
                <a:gd name="T19" fmla="*/ 90 h 122"/>
                <a:gd name="T20" fmla="*/ 133 w 200"/>
                <a:gd name="T21" fmla="*/ 75 h 122"/>
                <a:gd name="T22" fmla="*/ 200 w 200"/>
                <a:gd name="T23" fmla="*/ 99 h 122"/>
                <a:gd name="T24" fmla="*/ 163 w 200"/>
                <a:gd name="T25" fmla="*/ 68 h 122"/>
                <a:gd name="T26" fmla="*/ 100 w 200"/>
                <a:gd name="T27" fmla="*/ 23 h 122"/>
                <a:gd name="T28" fmla="*/ 74 w 200"/>
                <a:gd name="T29" fmla="*/ 1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122">
                  <a:moveTo>
                    <a:pt x="74" y="14"/>
                  </a:moveTo>
                  <a:cubicBezTo>
                    <a:pt x="66" y="10"/>
                    <a:pt x="53" y="31"/>
                    <a:pt x="47" y="31"/>
                  </a:cubicBezTo>
                  <a:cubicBezTo>
                    <a:pt x="33" y="29"/>
                    <a:pt x="36" y="10"/>
                    <a:pt x="27" y="5"/>
                  </a:cubicBezTo>
                  <a:cubicBezTo>
                    <a:pt x="17" y="0"/>
                    <a:pt x="8" y="4"/>
                    <a:pt x="0" y="10"/>
                  </a:cubicBezTo>
                  <a:cubicBezTo>
                    <a:pt x="9" y="18"/>
                    <a:pt x="18" y="25"/>
                    <a:pt x="30" y="21"/>
                  </a:cubicBezTo>
                  <a:cubicBezTo>
                    <a:pt x="24" y="23"/>
                    <a:pt x="19" y="26"/>
                    <a:pt x="13" y="27"/>
                  </a:cubicBezTo>
                  <a:cubicBezTo>
                    <a:pt x="17" y="35"/>
                    <a:pt x="22" y="43"/>
                    <a:pt x="29" y="34"/>
                  </a:cubicBezTo>
                  <a:cubicBezTo>
                    <a:pt x="33" y="40"/>
                    <a:pt x="105" y="61"/>
                    <a:pt x="71" y="79"/>
                  </a:cubicBezTo>
                  <a:cubicBezTo>
                    <a:pt x="81" y="82"/>
                    <a:pt x="93" y="85"/>
                    <a:pt x="102" y="87"/>
                  </a:cubicBezTo>
                  <a:cubicBezTo>
                    <a:pt x="109" y="89"/>
                    <a:pt x="115" y="92"/>
                    <a:pt x="123" y="90"/>
                  </a:cubicBezTo>
                  <a:cubicBezTo>
                    <a:pt x="126" y="89"/>
                    <a:pt x="126" y="77"/>
                    <a:pt x="133" y="75"/>
                  </a:cubicBezTo>
                  <a:cubicBezTo>
                    <a:pt x="151" y="69"/>
                    <a:pt x="185" y="122"/>
                    <a:pt x="200" y="99"/>
                  </a:cubicBezTo>
                  <a:cubicBezTo>
                    <a:pt x="182" y="95"/>
                    <a:pt x="175" y="81"/>
                    <a:pt x="163" y="68"/>
                  </a:cubicBezTo>
                  <a:cubicBezTo>
                    <a:pt x="183" y="53"/>
                    <a:pt x="111" y="31"/>
                    <a:pt x="100" y="23"/>
                  </a:cubicBezTo>
                  <a:cubicBezTo>
                    <a:pt x="99" y="24"/>
                    <a:pt x="83" y="18"/>
                    <a:pt x="74" y="1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5323" y="2116"/>
              <a:ext cx="36" cy="36"/>
            </a:xfrm>
            <a:custGeom>
              <a:avLst/>
              <a:gdLst>
                <a:gd name="T0" fmla="*/ 0 w 20"/>
                <a:gd name="T1" fmla="*/ 0 h 20"/>
                <a:gd name="T2" fmla="*/ 18 w 20"/>
                <a:gd name="T3" fmla="*/ 20 h 20"/>
                <a:gd name="T4" fmla="*/ 0 w 2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0">
                  <a:moveTo>
                    <a:pt x="0" y="0"/>
                  </a:moveTo>
                  <a:cubicBezTo>
                    <a:pt x="8" y="5"/>
                    <a:pt x="15" y="12"/>
                    <a:pt x="18" y="20"/>
                  </a:cubicBezTo>
                  <a:cubicBezTo>
                    <a:pt x="20" y="14"/>
                    <a:pt x="9" y="5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5380" y="2169"/>
              <a:ext cx="18" cy="23"/>
            </a:xfrm>
            <a:custGeom>
              <a:avLst/>
              <a:gdLst>
                <a:gd name="T0" fmla="*/ 5 w 10"/>
                <a:gd name="T1" fmla="*/ 7 h 13"/>
                <a:gd name="T2" fmla="*/ 7 w 10"/>
                <a:gd name="T3" fmla="*/ 13 h 13"/>
                <a:gd name="T4" fmla="*/ 10 w 10"/>
                <a:gd name="T5" fmla="*/ 10 h 13"/>
                <a:gd name="T6" fmla="*/ 0 w 10"/>
                <a:gd name="T7" fmla="*/ 0 h 13"/>
                <a:gd name="T8" fmla="*/ 5 w 10"/>
                <a:gd name="T9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3">
                  <a:moveTo>
                    <a:pt x="5" y="7"/>
                  </a:moveTo>
                  <a:cubicBezTo>
                    <a:pt x="6" y="9"/>
                    <a:pt x="5" y="11"/>
                    <a:pt x="7" y="13"/>
                  </a:cubicBezTo>
                  <a:cubicBezTo>
                    <a:pt x="8" y="12"/>
                    <a:pt x="9" y="11"/>
                    <a:pt x="10" y="10"/>
                  </a:cubicBezTo>
                  <a:cubicBezTo>
                    <a:pt x="7" y="6"/>
                    <a:pt x="3" y="3"/>
                    <a:pt x="0" y="0"/>
                  </a:cubicBezTo>
                  <a:cubicBezTo>
                    <a:pt x="2" y="2"/>
                    <a:pt x="3" y="5"/>
                    <a:pt x="5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5508" y="2260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5508" y="22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5499" y="2251"/>
              <a:ext cx="9" cy="9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5 w 5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3" y="4"/>
                    <a:pt x="2" y="2"/>
                    <a:pt x="0" y="0"/>
                  </a:cubicBezTo>
                  <a:cubicBezTo>
                    <a:pt x="1" y="1"/>
                    <a:pt x="4" y="4"/>
                    <a:pt x="5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5472" y="2242"/>
              <a:ext cx="20" cy="7"/>
            </a:xfrm>
            <a:custGeom>
              <a:avLst/>
              <a:gdLst>
                <a:gd name="T0" fmla="*/ 11 w 11"/>
                <a:gd name="T1" fmla="*/ 4 h 4"/>
                <a:gd name="T2" fmla="*/ 0 w 11"/>
                <a:gd name="T3" fmla="*/ 0 h 4"/>
                <a:gd name="T4" fmla="*/ 11 w 11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4">
                  <a:moveTo>
                    <a:pt x="11" y="4"/>
                  </a:moveTo>
                  <a:cubicBezTo>
                    <a:pt x="7" y="3"/>
                    <a:pt x="3" y="1"/>
                    <a:pt x="0" y="0"/>
                  </a:cubicBezTo>
                  <a:cubicBezTo>
                    <a:pt x="3" y="2"/>
                    <a:pt x="8" y="3"/>
                    <a:pt x="11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5474" y="2217"/>
              <a:ext cx="18" cy="20"/>
            </a:xfrm>
            <a:custGeom>
              <a:avLst/>
              <a:gdLst>
                <a:gd name="T0" fmla="*/ 0 w 10"/>
                <a:gd name="T1" fmla="*/ 0 h 11"/>
                <a:gd name="T2" fmla="*/ 10 w 10"/>
                <a:gd name="T3" fmla="*/ 11 h 11"/>
                <a:gd name="T4" fmla="*/ 0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3" y="6"/>
                    <a:pt x="6" y="7"/>
                    <a:pt x="10" y="11"/>
                  </a:cubicBezTo>
                  <a:cubicBezTo>
                    <a:pt x="7" y="7"/>
                    <a:pt x="5" y="3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5440" y="2203"/>
              <a:ext cx="22" cy="12"/>
            </a:xfrm>
            <a:custGeom>
              <a:avLst/>
              <a:gdLst>
                <a:gd name="T0" fmla="*/ 12 w 12"/>
                <a:gd name="T1" fmla="*/ 7 h 7"/>
                <a:gd name="T2" fmla="*/ 0 w 12"/>
                <a:gd name="T3" fmla="*/ 0 h 7"/>
                <a:gd name="T4" fmla="*/ 12 w 12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12" y="7"/>
                  </a:moveTo>
                  <a:cubicBezTo>
                    <a:pt x="8" y="4"/>
                    <a:pt x="4" y="2"/>
                    <a:pt x="0" y="0"/>
                  </a:cubicBezTo>
                  <a:cubicBezTo>
                    <a:pt x="1" y="1"/>
                    <a:pt x="6" y="7"/>
                    <a:pt x="12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5410" y="2187"/>
              <a:ext cx="14" cy="9"/>
            </a:xfrm>
            <a:custGeom>
              <a:avLst/>
              <a:gdLst>
                <a:gd name="T0" fmla="*/ 8 w 8"/>
                <a:gd name="T1" fmla="*/ 5 h 5"/>
                <a:gd name="T2" fmla="*/ 0 w 8"/>
                <a:gd name="T3" fmla="*/ 0 h 5"/>
                <a:gd name="T4" fmla="*/ 8 w 8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5"/>
                  </a:moveTo>
                  <a:cubicBezTo>
                    <a:pt x="5" y="3"/>
                    <a:pt x="3" y="2"/>
                    <a:pt x="0" y="0"/>
                  </a:cubicBezTo>
                  <a:cubicBezTo>
                    <a:pt x="1" y="1"/>
                    <a:pt x="2" y="4"/>
                    <a:pt x="8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5199" y="2813"/>
              <a:ext cx="76" cy="91"/>
            </a:xfrm>
            <a:custGeom>
              <a:avLst/>
              <a:gdLst>
                <a:gd name="T0" fmla="*/ 19 w 43"/>
                <a:gd name="T1" fmla="*/ 11 h 51"/>
                <a:gd name="T2" fmla="*/ 0 w 43"/>
                <a:gd name="T3" fmla="*/ 11 h 51"/>
                <a:gd name="T4" fmla="*/ 26 w 43"/>
                <a:gd name="T5" fmla="*/ 41 h 51"/>
                <a:gd name="T6" fmla="*/ 19 w 43"/>
                <a:gd name="T7" fmla="*/ 1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51">
                  <a:moveTo>
                    <a:pt x="19" y="11"/>
                  </a:moveTo>
                  <a:cubicBezTo>
                    <a:pt x="13" y="9"/>
                    <a:pt x="6" y="9"/>
                    <a:pt x="0" y="11"/>
                  </a:cubicBezTo>
                  <a:cubicBezTo>
                    <a:pt x="2" y="21"/>
                    <a:pt x="13" y="51"/>
                    <a:pt x="26" y="41"/>
                  </a:cubicBezTo>
                  <a:cubicBezTo>
                    <a:pt x="40" y="30"/>
                    <a:pt x="43" y="0"/>
                    <a:pt x="19" y="1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5252" y="2810"/>
              <a:ext cx="13" cy="11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0 h 6"/>
                <a:gd name="T4" fmla="*/ 6 w 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6"/>
                  </a:moveTo>
                  <a:cubicBezTo>
                    <a:pt x="7" y="4"/>
                    <a:pt x="7" y="2"/>
                    <a:pt x="7" y="0"/>
                  </a:cubicBezTo>
                  <a:cubicBezTo>
                    <a:pt x="5" y="3"/>
                    <a:pt x="0" y="0"/>
                    <a:pt x="6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4944" y="2274"/>
              <a:ext cx="25" cy="9"/>
            </a:xfrm>
            <a:custGeom>
              <a:avLst/>
              <a:gdLst>
                <a:gd name="T0" fmla="*/ 14 w 14"/>
                <a:gd name="T1" fmla="*/ 5 h 5"/>
                <a:gd name="T2" fmla="*/ 14 w 14"/>
                <a:gd name="T3" fmla="*/ 0 h 5"/>
                <a:gd name="T4" fmla="*/ 0 w 14"/>
                <a:gd name="T5" fmla="*/ 1 h 5"/>
                <a:gd name="T6" fmla="*/ 14 w 14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5">
                  <a:moveTo>
                    <a:pt x="14" y="5"/>
                  </a:moveTo>
                  <a:cubicBezTo>
                    <a:pt x="14" y="3"/>
                    <a:pt x="14" y="1"/>
                    <a:pt x="14" y="0"/>
                  </a:cubicBezTo>
                  <a:cubicBezTo>
                    <a:pt x="9" y="0"/>
                    <a:pt x="5" y="0"/>
                    <a:pt x="0" y="1"/>
                  </a:cubicBezTo>
                  <a:cubicBezTo>
                    <a:pt x="4" y="4"/>
                    <a:pt x="9" y="4"/>
                    <a:pt x="14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4648" y="2263"/>
              <a:ext cx="712" cy="549"/>
            </a:xfrm>
            <a:custGeom>
              <a:avLst/>
              <a:gdLst>
                <a:gd name="T0" fmla="*/ 376 w 402"/>
                <a:gd name="T1" fmla="*/ 131 h 309"/>
                <a:gd name="T2" fmla="*/ 371 w 402"/>
                <a:gd name="T3" fmla="*/ 118 h 309"/>
                <a:gd name="T4" fmla="*/ 360 w 402"/>
                <a:gd name="T5" fmla="*/ 114 h 309"/>
                <a:gd name="T6" fmla="*/ 346 w 402"/>
                <a:gd name="T7" fmla="*/ 93 h 309"/>
                <a:gd name="T8" fmla="*/ 329 w 402"/>
                <a:gd name="T9" fmla="*/ 78 h 309"/>
                <a:gd name="T10" fmla="*/ 307 w 402"/>
                <a:gd name="T11" fmla="*/ 37 h 309"/>
                <a:gd name="T12" fmla="*/ 293 w 402"/>
                <a:gd name="T13" fmla="*/ 0 h 309"/>
                <a:gd name="T14" fmla="*/ 265 w 402"/>
                <a:gd name="T15" fmla="*/ 70 h 309"/>
                <a:gd name="T16" fmla="*/ 234 w 402"/>
                <a:gd name="T17" fmla="*/ 19 h 309"/>
                <a:gd name="T18" fmla="*/ 187 w 402"/>
                <a:gd name="T19" fmla="*/ 5 h 309"/>
                <a:gd name="T20" fmla="*/ 193 w 402"/>
                <a:gd name="T21" fmla="*/ 13 h 309"/>
                <a:gd name="T22" fmla="*/ 161 w 402"/>
                <a:gd name="T23" fmla="*/ 44 h 309"/>
                <a:gd name="T24" fmla="*/ 148 w 402"/>
                <a:gd name="T25" fmla="*/ 45 h 309"/>
                <a:gd name="T26" fmla="*/ 112 w 402"/>
                <a:gd name="T27" fmla="*/ 59 h 309"/>
                <a:gd name="T28" fmla="*/ 105 w 402"/>
                <a:gd name="T29" fmla="*/ 56 h 309"/>
                <a:gd name="T30" fmla="*/ 101 w 402"/>
                <a:gd name="T31" fmla="*/ 66 h 309"/>
                <a:gd name="T32" fmla="*/ 96 w 402"/>
                <a:gd name="T33" fmla="*/ 59 h 309"/>
                <a:gd name="T34" fmla="*/ 50 w 402"/>
                <a:gd name="T35" fmla="*/ 97 h 309"/>
                <a:gd name="T36" fmla="*/ 9 w 402"/>
                <a:gd name="T37" fmla="*/ 114 h 309"/>
                <a:gd name="T38" fmla="*/ 9 w 402"/>
                <a:gd name="T39" fmla="*/ 160 h 309"/>
                <a:gd name="T40" fmla="*/ 6 w 402"/>
                <a:gd name="T41" fmla="*/ 156 h 309"/>
                <a:gd name="T42" fmla="*/ 27 w 402"/>
                <a:gd name="T43" fmla="*/ 223 h 309"/>
                <a:gd name="T44" fmla="*/ 38 w 402"/>
                <a:gd name="T45" fmla="*/ 254 h 309"/>
                <a:gd name="T46" fmla="*/ 75 w 402"/>
                <a:gd name="T47" fmla="*/ 244 h 309"/>
                <a:gd name="T48" fmla="*/ 158 w 402"/>
                <a:gd name="T49" fmla="*/ 218 h 309"/>
                <a:gd name="T50" fmla="*/ 222 w 402"/>
                <a:gd name="T51" fmla="*/ 253 h 309"/>
                <a:gd name="T52" fmla="*/ 244 w 402"/>
                <a:gd name="T53" fmla="*/ 230 h 309"/>
                <a:gd name="T54" fmla="*/ 234 w 402"/>
                <a:gd name="T55" fmla="*/ 254 h 309"/>
                <a:gd name="T56" fmla="*/ 238 w 402"/>
                <a:gd name="T57" fmla="*/ 257 h 309"/>
                <a:gd name="T58" fmla="*/ 247 w 402"/>
                <a:gd name="T59" fmla="*/ 246 h 309"/>
                <a:gd name="T60" fmla="*/ 249 w 402"/>
                <a:gd name="T61" fmla="*/ 260 h 309"/>
                <a:gd name="T62" fmla="*/ 260 w 402"/>
                <a:gd name="T63" fmla="*/ 259 h 309"/>
                <a:gd name="T64" fmla="*/ 310 w 402"/>
                <a:gd name="T65" fmla="*/ 292 h 309"/>
                <a:gd name="T66" fmla="*/ 329 w 402"/>
                <a:gd name="T67" fmla="*/ 299 h 309"/>
                <a:gd name="T68" fmla="*/ 339 w 402"/>
                <a:gd name="T69" fmla="*/ 290 h 309"/>
                <a:gd name="T70" fmla="*/ 366 w 402"/>
                <a:gd name="T71" fmla="*/ 275 h 309"/>
                <a:gd name="T72" fmla="*/ 394 w 402"/>
                <a:gd name="T73" fmla="*/ 213 h 309"/>
                <a:gd name="T74" fmla="*/ 390 w 402"/>
                <a:gd name="T75" fmla="*/ 146 h 309"/>
                <a:gd name="T76" fmla="*/ 376 w 402"/>
                <a:gd name="T77" fmla="*/ 13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2" h="309">
                  <a:moveTo>
                    <a:pt x="376" y="131"/>
                  </a:moveTo>
                  <a:cubicBezTo>
                    <a:pt x="372" y="127"/>
                    <a:pt x="374" y="122"/>
                    <a:pt x="371" y="118"/>
                  </a:cubicBezTo>
                  <a:cubicBezTo>
                    <a:pt x="369" y="115"/>
                    <a:pt x="362" y="117"/>
                    <a:pt x="360" y="114"/>
                  </a:cubicBezTo>
                  <a:cubicBezTo>
                    <a:pt x="354" y="107"/>
                    <a:pt x="352" y="100"/>
                    <a:pt x="346" y="93"/>
                  </a:cubicBezTo>
                  <a:cubicBezTo>
                    <a:pt x="340" y="87"/>
                    <a:pt x="332" y="87"/>
                    <a:pt x="329" y="78"/>
                  </a:cubicBezTo>
                  <a:cubicBezTo>
                    <a:pt x="324" y="64"/>
                    <a:pt x="322" y="42"/>
                    <a:pt x="307" y="37"/>
                  </a:cubicBezTo>
                  <a:cubicBezTo>
                    <a:pt x="300" y="34"/>
                    <a:pt x="295" y="8"/>
                    <a:pt x="293" y="0"/>
                  </a:cubicBezTo>
                  <a:cubicBezTo>
                    <a:pt x="282" y="7"/>
                    <a:pt x="284" y="81"/>
                    <a:pt x="265" y="70"/>
                  </a:cubicBezTo>
                  <a:cubicBezTo>
                    <a:pt x="247" y="59"/>
                    <a:pt x="202" y="42"/>
                    <a:pt x="234" y="19"/>
                  </a:cubicBezTo>
                  <a:cubicBezTo>
                    <a:pt x="229" y="12"/>
                    <a:pt x="199" y="10"/>
                    <a:pt x="187" y="5"/>
                  </a:cubicBezTo>
                  <a:cubicBezTo>
                    <a:pt x="189" y="8"/>
                    <a:pt x="191" y="11"/>
                    <a:pt x="193" y="13"/>
                  </a:cubicBezTo>
                  <a:cubicBezTo>
                    <a:pt x="174" y="18"/>
                    <a:pt x="163" y="22"/>
                    <a:pt x="161" y="44"/>
                  </a:cubicBezTo>
                  <a:cubicBezTo>
                    <a:pt x="159" y="44"/>
                    <a:pt x="150" y="45"/>
                    <a:pt x="148" y="45"/>
                  </a:cubicBezTo>
                  <a:cubicBezTo>
                    <a:pt x="144" y="17"/>
                    <a:pt x="116" y="44"/>
                    <a:pt x="112" y="59"/>
                  </a:cubicBezTo>
                  <a:cubicBezTo>
                    <a:pt x="110" y="58"/>
                    <a:pt x="107" y="57"/>
                    <a:pt x="105" y="56"/>
                  </a:cubicBezTo>
                  <a:cubicBezTo>
                    <a:pt x="104" y="59"/>
                    <a:pt x="102" y="63"/>
                    <a:pt x="101" y="66"/>
                  </a:cubicBezTo>
                  <a:cubicBezTo>
                    <a:pt x="99" y="64"/>
                    <a:pt x="98" y="62"/>
                    <a:pt x="96" y="59"/>
                  </a:cubicBezTo>
                  <a:cubicBezTo>
                    <a:pt x="86" y="85"/>
                    <a:pt x="77" y="89"/>
                    <a:pt x="50" y="97"/>
                  </a:cubicBezTo>
                  <a:cubicBezTo>
                    <a:pt x="39" y="100"/>
                    <a:pt x="14" y="116"/>
                    <a:pt x="9" y="114"/>
                  </a:cubicBezTo>
                  <a:cubicBezTo>
                    <a:pt x="0" y="128"/>
                    <a:pt x="7" y="145"/>
                    <a:pt x="9" y="160"/>
                  </a:cubicBezTo>
                  <a:cubicBezTo>
                    <a:pt x="8" y="159"/>
                    <a:pt x="7" y="157"/>
                    <a:pt x="6" y="156"/>
                  </a:cubicBezTo>
                  <a:cubicBezTo>
                    <a:pt x="3" y="175"/>
                    <a:pt x="24" y="203"/>
                    <a:pt x="27" y="223"/>
                  </a:cubicBezTo>
                  <a:cubicBezTo>
                    <a:pt x="30" y="239"/>
                    <a:pt x="11" y="249"/>
                    <a:pt x="38" y="254"/>
                  </a:cubicBezTo>
                  <a:cubicBezTo>
                    <a:pt x="52" y="256"/>
                    <a:pt x="62" y="248"/>
                    <a:pt x="75" y="244"/>
                  </a:cubicBezTo>
                  <a:cubicBezTo>
                    <a:pt x="103" y="237"/>
                    <a:pt x="129" y="232"/>
                    <a:pt x="158" y="218"/>
                  </a:cubicBezTo>
                  <a:cubicBezTo>
                    <a:pt x="189" y="203"/>
                    <a:pt x="209" y="232"/>
                    <a:pt x="222" y="253"/>
                  </a:cubicBezTo>
                  <a:cubicBezTo>
                    <a:pt x="233" y="248"/>
                    <a:pt x="237" y="238"/>
                    <a:pt x="244" y="230"/>
                  </a:cubicBezTo>
                  <a:cubicBezTo>
                    <a:pt x="245" y="239"/>
                    <a:pt x="242" y="248"/>
                    <a:pt x="234" y="254"/>
                  </a:cubicBezTo>
                  <a:cubicBezTo>
                    <a:pt x="235" y="255"/>
                    <a:pt x="237" y="256"/>
                    <a:pt x="238" y="257"/>
                  </a:cubicBezTo>
                  <a:cubicBezTo>
                    <a:pt x="241" y="252"/>
                    <a:pt x="246" y="252"/>
                    <a:pt x="247" y="246"/>
                  </a:cubicBezTo>
                  <a:cubicBezTo>
                    <a:pt x="247" y="251"/>
                    <a:pt x="250" y="254"/>
                    <a:pt x="249" y="260"/>
                  </a:cubicBezTo>
                  <a:cubicBezTo>
                    <a:pt x="252" y="259"/>
                    <a:pt x="256" y="261"/>
                    <a:pt x="260" y="259"/>
                  </a:cubicBezTo>
                  <a:cubicBezTo>
                    <a:pt x="268" y="280"/>
                    <a:pt x="282" y="309"/>
                    <a:pt x="310" y="292"/>
                  </a:cubicBezTo>
                  <a:cubicBezTo>
                    <a:pt x="315" y="289"/>
                    <a:pt x="323" y="296"/>
                    <a:pt x="329" y="299"/>
                  </a:cubicBezTo>
                  <a:cubicBezTo>
                    <a:pt x="333" y="301"/>
                    <a:pt x="334" y="293"/>
                    <a:pt x="339" y="290"/>
                  </a:cubicBezTo>
                  <a:cubicBezTo>
                    <a:pt x="349" y="285"/>
                    <a:pt x="360" y="284"/>
                    <a:pt x="366" y="275"/>
                  </a:cubicBezTo>
                  <a:cubicBezTo>
                    <a:pt x="368" y="251"/>
                    <a:pt x="386" y="234"/>
                    <a:pt x="394" y="213"/>
                  </a:cubicBezTo>
                  <a:cubicBezTo>
                    <a:pt x="401" y="194"/>
                    <a:pt x="402" y="164"/>
                    <a:pt x="390" y="146"/>
                  </a:cubicBezTo>
                  <a:cubicBezTo>
                    <a:pt x="388" y="142"/>
                    <a:pt x="381" y="136"/>
                    <a:pt x="376" y="1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5596" y="2961"/>
              <a:ext cx="13" cy="10"/>
            </a:xfrm>
            <a:custGeom>
              <a:avLst/>
              <a:gdLst>
                <a:gd name="T0" fmla="*/ 0 w 7"/>
                <a:gd name="T1" fmla="*/ 6 h 6"/>
                <a:gd name="T2" fmla="*/ 7 w 7"/>
                <a:gd name="T3" fmla="*/ 0 h 6"/>
                <a:gd name="T4" fmla="*/ 0 w 7"/>
                <a:gd name="T5" fmla="*/ 0 h 6"/>
                <a:gd name="T6" fmla="*/ 0 w 7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6"/>
                  </a:moveTo>
                  <a:cubicBezTo>
                    <a:pt x="2" y="4"/>
                    <a:pt x="4" y="2"/>
                    <a:pt x="7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4"/>
                    <a:pt x="0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5563" y="2828"/>
              <a:ext cx="172" cy="136"/>
            </a:xfrm>
            <a:custGeom>
              <a:avLst/>
              <a:gdLst>
                <a:gd name="T0" fmla="*/ 75 w 97"/>
                <a:gd name="T1" fmla="*/ 8 h 77"/>
                <a:gd name="T2" fmla="*/ 70 w 97"/>
                <a:gd name="T3" fmla="*/ 0 h 77"/>
                <a:gd name="T4" fmla="*/ 55 w 97"/>
                <a:gd name="T5" fmla="*/ 20 h 77"/>
                <a:gd name="T6" fmla="*/ 16 w 97"/>
                <a:gd name="T7" fmla="*/ 53 h 77"/>
                <a:gd name="T8" fmla="*/ 42 w 97"/>
                <a:gd name="T9" fmla="*/ 71 h 77"/>
                <a:gd name="T10" fmla="*/ 55 w 97"/>
                <a:gd name="T11" fmla="*/ 50 h 77"/>
                <a:gd name="T12" fmla="*/ 71 w 97"/>
                <a:gd name="T13" fmla="*/ 34 h 77"/>
                <a:gd name="T14" fmla="*/ 75 w 97"/>
                <a:gd name="T15" fmla="*/ 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77">
                  <a:moveTo>
                    <a:pt x="75" y="8"/>
                  </a:moveTo>
                  <a:cubicBezTo>
                    <a:pt x="74" y="5"/>
                    <a:pt x="72" y="3"/>
                    <a:pt x="70" y="0"/>
                  </a:cubicBezTo>
                  <a:cubicBezTo>
                    <a:pt x="64" y="6"/>
                    <a:pt x="60" y="14"/>
                    <a:pt x="55" y="20"/>
                  </a:cubicBezTo>
                  <a:cubicBezTo>
                    <a:pt x="45" y="35"/>
                    <a:pt x="28" y="41"/>
                    <a:pt x="16" y="53"/>
                  </a:cubicBezTo>
                  <a:cubicBezTo>
                    <a:pt x="0" y="68"/>
                    <a:pt x="31" y="77"/>
                    <a:pt x="42" y="71"/>
                  </a:cubicBezTo>
                  <a:cubicBezTo>
                    <a:pt x="50" y="66"/>
                    <a:pt x="49" y="56"/>
                    <a:pt x="55" y="50"/>
                  </a:cubicBezTo>
                  <a:cubicBezTo>
                    <a:pt x="60" y="45"/>
                    <a:pt x="71" y="38"/>
                    <a:pt x="71" y="34"/>
                  </a:cubicBezTo>
                  <a:cubicBezTo>
                    <a:pt x="71" y="28"/>
                    <a:pt x="97" y="0"/>
                    <a:pt x="75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5688" y="2702"/>
              <a:ext cx="109" cy="149"/>
            </a:xfrm>
            <a:custGeom>
              <a:avLst/>
              <a:gdLst>
                <a:gd name="T0" fmla="*/ 29 w 61"/>
                <a:gd name="T1" fmla="*/ 25 h 84"/>
                <a:gd name="T2" fmla="*/ 0 w 61"/>
                <a:gd name="T3" fmla="*/ 0 h 84"/>
                <a:gd name="T4" fmla="*/ 18 w 61"/>
                <a:gd name="T5" fmla="*/ 31 h 84"/>
                <a:gd name="T6" fmla="*/ 10 w 61"/>
                <a:gd name="T7" fmla="*/ 56 h 84"/>
                <a:gd name="T8" fmla="*/ 28 w 61"/>
                <a:gd name="T9" fmla="*/ 79 h 84"/>
                <a:gd name="T10" fmla="*/ 44 w 61"/>
                <a:gd name="T11" fmla="*/ 56 h 84"/>
                <a:gd name="T12" fmla="*/ 55 w 61"/>
                <a:gd name="T13" fmla="*/ 37 h 84"/>
                <a:gd name="T14" fmla="*/ 29 w 61"/>
                <a:gd name="T15" fmla="*/ 2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84">
                  <a:moveTo>
                    <a:pt x="29" y="25"/>
                  </a:moveTo>
                  <a:cubicBezTo>
                    <a:pt x="20" y="32"/>
                    <a:pt x="11" y="7"/>
                    <a:pt x="0" y="0"/>
                  </a:cubicBezTo>
                  <a:cubicBezTo>
                    <a:pt x="3" y="14"/>
                    <a:pt x="15" y="18"/>
                    <a:pt x="18" y="31"/>
                  </a:cubicBezTo>
                  <a:cubicBezTo>
                    <a:pt x="20" y="35"/>
                    <a:pt x="18" y="49"/>
                    <a:pt x="10" y="56"/>
                  </a:cubicBezTo>
                  <a:cubicBezTo>
                    <a:pt x="23" y="62"/>
                    <a:pt x="18" y="84"/>
                    <a:pt x="28" y="79"/>
                  </a:cubicBezTo>
                  <a:cubicBezTo>
                    <a:pt x="37" y="74"/>
                    <a:pt x="38" y="60"/>
                    <a:pt x="44" y="56"/>
                  </a:cubicBezTo>
                  <a:cubicBezTo>
                    <a:pt x="46" y="55"/>
                    <a:pt x="61" y="41"/>
                    <a:pt x="55" y="37"/>
                  </a:cubicBezTo>
                  <a:cubicBezTo>
                    <a:pt x="47" y="31"/>
                    <a:pt x="30" y="47"/>
                    <a:pt x="29" y="2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5765" y="2380"/>
              <a:ext cx="26" cy="16"/>
            </a:xfrm>
            <a:custGeom>
              <a:avLst/>
              <a:gdLst>
                <a:gd name="T0" fmla="*/ 7 w 15"/>
                <a:gd name="T1" fmla="*/ 0 h 9"/>
                <a:gd name="T2" fmla="*/ 0 w 15"/>
                <a:gd name="T3" fmla="*/ 6 h 9"/>
                <a:gd name="T4" fmla="*/ 7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7" y="0"/>
                  </a:moveTo>
                  <a:cubicBezTo>
                    <a:pt x="5" y="2"/>
                    <a:pt x="2" y="4"/>
                    <a:pt x="0" y="6"/>
                  </a:cubicBezTo>
                  <a:cubicBezTo>
                    <a:pt x="9" y="9"/>
                    <a:pt x="15" y="8"/>
                    <a:pt x="7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5788" y="2363"/>
              <a:ext cx="19" cy="12"/>
            </a:xfrm>
            <a:custGeom>
              <a:avLst/>
              <a:gdLst>
                <a:gd name="T0" fmla="*/ 2 w 11"/>
                <a:gd name="T1" fmla="*/ 7 h 7"/>
                <a:gd name="T2" fmla="*/ 11 w 11"/>
                <a:gd name="T3" fmla="*/ 0 h 7"/>
                <a:gd name="T4" fmla="*/ 0 w 11"/>
                <a:gd name="T5" fmla="*/ 4 h 7"/>
                <a:gd name="T6" fmla="*/ 2 w 11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2" y="7"/>
                  </a:moveTo>
                  <a:cubicBezTo>
                    <a:pt x="8" y="6"/>
                    <a:pt x="9" y="1"/>
                    <a:pt x="11" y="0"/>
                  </a:cubicBezTo>
                  <a:cubicBezTo>
                    <a:pt x="7" y="1"/>
                    <a:pt x="4" y="3"/>
                    <a:pt x="0" y="4"/>
                  </a:cubicBezTo>
                  <a:cubicBezTo>
                    <a:pt x="1" y="5"/>
                    <a:pt x="2" y="6"/>
                    <a:pt x="2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auto">
            <a:xfrm>
              <a:off x="4880" y="196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auto">
            <a:xfrm>
              <a:off x="4798" y="1901"/>
              <a:ext cx="94" cy="75"/>
            </a:xfrm>
            <a:custGeom>
              <a:avLst/>
              <a:gdLst>
                <a:gd name="T0" fmla="*/ 38 w 53"/>
                <a:gd name="T1" fmla="*/ 0 h 42"/>
                <a:gd name="T2" fmla="*/ 8 w 53"/>
                <a:gd name="T3" fmla="*/ 35 h 42"/>
                <a:gd name="T4" fmla="*/ 14 w 53"/>
                <a:gd name="T5" fmla="*/ 22 h 42"/>
                <a:gd name="T6" fmla="*/ 38 w 53"/>
                <a:gd name="T7" fmla="*/ 42 h 42"/>
                <a:gd name="T8" fmla="*/ 43 w 53"/>
                <a:gd name="T9" fmla="*/ 30 h 42"/>
                <a:gd name="T10" fmla="*/ 46 w 53"/>
                <a:gd name="T11" fmla="*/ 36 h 42"/>
                <a:gd name="T12" fmla="*/ 38 w 5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42">
                  <a:moveTo>
                    <a:pt x="38" y="0"/>
                  </a:moveTo>
                  <a:cubicBezTo>
                    <a:pt x="34" y="24"/>
                    <a:pt x="0" y="4"/>
                    <a:pt x="8" y="35"/>
                  </a:cubicBezTo>
                  <a:cubicBezTo>
                    <a:pt x="9" y="31"/>
                    <a:pt x="12" y="27"/>
                    <a:pt x="14" y="22"/>
                  </a:cubicBezTo>
                  <a:cubicBezTo>
                    <a:pt x="31" y="22"/>
                    <a:pt x="20" y="36"/>
                    <a:pt x="38" y="42"/>
                  </a:cubicBezTo>
                  <a:cubicBezTo>
                    <a:pt x="38" y="35"/>
                    <a:pt x="38" y="29"/>
                    <a:pt x="43" y="30"/>
                  </a:cubicBezTo>
                  <a:cubicBezTo>
                    <a:pt x="41" y="25"/>
                    <a:pt x="46" y="35"/>
                    <a:pt x="46" y="36"/>
                  </a:cubicBezTo>
                  <a:cubicBezTo>
                    <a:pt x="53" y="25"/>
                    <a:pt x="48" y="7"/>
                    <a:pt x="38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4736" y="1882"/>
              <a:ext cx="36" cy="41"/>
            </a:xfrm>
            <a:custGeom>
              <a:avLst/>
              <a:gdLst>
                <a:gd name="T0" fmla="*/ 1 w 20"/>
                <a:gd name="T1" fmla="*/ 23 h 23"/>
                <a:gd name="T2" fmla="*/ 18 w 20"/>
                <a:gd name="T3" fmla="*/ 0 h 23"/>
                <a:gd name="T4" fmla="*/ 1 w 20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1" y="23"/>
                  </a:moveTo>
                  <a:cubicBezTo>
                    <a:pt x="10" y="16"/>
                    <a:pt x="20" y="8"/>
                    <a:pt x="18" y="0"/>
                  </a:cubicBezTo>
                  <a:cubicBezTo>
                    <a:pt x="14" y="9"/>
                    <a:pt x="0" y="17"/>
                    <a:pt x="1" y="2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4763" y="1749"/>
              <a:ext cx="74" cy="106"/>
            </a:xfrm>
            <a:custGeom>
              <a:avLst/>
              <a:gdLst>
                <a:gd name="T0" fmla="*/ 13 w 42"/>
                <a:gd name="T1" fmla="*/ 38 h 60"/>
                <a:gd name="T2" fmla="*/ 29 w 42"/>
                <a:gd name="T3" fmla="*/ 54 h 60"/>
                <a:gd name="T4" fmla="*/ 29 w 42"/>
                <a:gd name="T5" fmla="*/ 48 h 60"/>
                <a:gd name="T6" fmla="*/ 42 w 42"/>
                <a:gd name="T7" fmla="*/ 60 h 60"/>
                <a:gd name="T8" fmla="*/ 37 w 42"/>
                <a:gd name="T9" fmla="*/ 52 h 60"/>
                <a:gd name="T10" fmla="*/ 39 w 42"/>
                <a:gd name="T11" fmla="*/ 48 h 60"/>
                <a:gd name="T12" fmla="*/ 24 w 42"/>
                <a:gd name="T13" fmla="*/ 47 h 60"/>
                <a:gd name="T14" fmla="*/ 17 w 42"/>
                <a:gd name="T15" fmla="*/ 2 h 60"/>
                <a:gd name="T16" fmla="*/ 8 w 42"/>
                <a:gd name="T17" fmla="*/ 0 h 60"/>
                <a:gd name="T18" fmla="*/ 4 w 42"/>
                <a:gd name="T19" fmla="*/ 24 h 60"/>
                <a:gd name="T20" fmla="*/ 13 w 42"/>
                <a:gd name="T21" fmla="*/ 3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60">
                  <a:moveTo>
                    <a:pt x="13" y="38"/>
                  </a:moveTo>
                  <a:cubicBezTo>
                    <a:pt x="10" y="49"/>
                    <a:pt x="20" y="48"/>
                    <a:pt x="29" y="54"/>
                  </a:cubicBezTo>
                  <a:cubicBezTo>
                    <a:pt x="29" y="52"/>
                    <a:pt x="29" y="50"/>
                    <a:pt x="29" y="48"/>
                  </a:cubicBezTo>
                  <a:cubicBezTo>
                    <a:pt x="33" y="53"/>
                    <a:pt x="38" y="55"/>
                    <a:pt x="42" y="60"/>
                  </a:cubicBezTo>
                  <a:cubicBezTo>
                    <a:pt x="41" y="53"/>
                    <a:pt x="41" y="56"/>
                    <a:pt x="37" y="52"/>
                  </a:cubicBezTo>
                  <a:cubicBezTo>
                    <a:pt x="38" y="51"/>
                    <a:pt x="38" y="50"/>
                    <a:pt x="39" y="48"/>
                  </a:cubicBezTo>
                  <a:cubicBezTo>
                    <a:pt x="33" y="46"/>
                    <a:pt x="28" y="45"/>
                    <a:pt x="24" y="47"/>
                  </a:cubicBezTo>
                  <a:cubicBezTo>
                    <a:pt x="10" y="35"/>
                    <a:pt x="26" y="18"/>
                    <a:pt x="17" y="2"/>
                  </a:cubicBezTo>
                  <a:cubicBezTo>
                    <a:pt x="16" y="2"/>
                    <a:pt x="10" y="0"/>
                    <a:pt x="8" y="0"/>
                  </a:cubicBezTo>
                  <a:cubicBezTo>
                    <a:pt x="4" y="8"/>
                    <a:pt x="5" y="15"/>
                    <a:pt x="4" y="24"/>
                  </a:cubicBezTo>
                  <a:cubicBezTo>
                    <a:pt x="0" y="34"/>
                    <a:pt x="4" y="40"/>
                    <a:pt x="13" y="3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4843" y="1853"/>
              <a:ext cx="25" cy="45"/>
            </a:xfrm>
            <a:custGeom>
              <a:avLst/>
              <a:gdLst>
                <a:gd name="T0" fmla="*/ 0 w 14"/>
                <a:gd name="T1" fmla="*/ 3 h 25"/>
                <a:gd name="T2" fmla="*/ 7 w 14"/>
                <a:gd name="T3" fmla="*/ 11 h 25"/>
                <a:gd name="T4" fmla="*/ 1 w 14"/>
                <a:gd name="T5" fmla="*/ 13 h 25"/>
                <a:gd name="T6" fmla="*/ 7 w 14"/>
                <a:gd name="T7" fmla="*/ 25 h 25"/>
                <a:gd name="T8" fmla="*/ 10 w 14"/>
                <a:gd name="T9" fmla="*/ 25 h 25"/>
                <a:gd name="T10" fmla="*/ 12 w 14"/>
                <a:gd name="T11" fmla="*/ 17 h 25"/>
                <a:gd name="T12" fmla="*/ 0 w 14"/>
                <a:gd name="T13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5">
                  <a:moveTo>
                    <a:pt x="0" y="3"/>
                  </a:moveTo>
                  <a:cubicBezTo>
                    <a:pt x="2" y="6"/>
                    <a:pt x="4" y="9"/>
                    <a:pt x="7" y="11"/>
                  </a:cubicBezTo>
                  <a:cubicBezTo>
                    <a:pt x="6" y="12"/>
                    <a:pt x="2" y="13"/>
                    <a:pt x="1" y="13"/>
                  </a:cubicBezTo>
                  <a:cubicBezTo>
                    <a:pt x="3" y="16"/>
                    <a:pt x="5" y="22"/>
                    <a:pt x="7" y="25"/>
                  </a:cubicBezTo>
                  <a:cubicBezTo>
                    <a:pt x="8" y="25"/>
                    <a:pt x="9" y="25"/>
                    <a:pt x="10" y="25"/>
                  </a:cubicBezTo>
                  <a:cubicBezTo>
                    <a:pt x="6" y="17"/>
                    <a:pt x="12" y="19"/>
                    <a:pt x="12" y="17"/>
                  </a:cubicBezTo>
                  <a:cubicBezTo>
                    <a:pt x="14" y="8"/>
                    <a:pt x="10" y="0"/>
                    <a:pt x="0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4802" y="1868"/>
              <a:ext cx="23" cy="26"/>
            </a:xfrm>
            <a:custGeom>
              <a:avLst/>
              <a:gdLst>
                <a:gd name="T0" fmla="*/ 3 w 13"/>
                <a:gd name="T1" fmla="*/ 15 h 15"/>
                <a:gd name="T2" fmla="*/ 13 w 13"/>
                <a:gd name="T3" fmla="*/ 5 h 15"/>
                <a:gd name="T4" fmla="*/ 4 w 13"/>
                <a:gd name="T5" fmla="*/ 0 h 15"/>
                <a:gd name="T6" fmla="*/ 6 w 13"/>
                <a:gd name="T7" fmla="*/ 1 h 15"/>
                <a:gd name="T8" fmla="*/ 3 w 13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3" y="15"/>
                  </a:moveTo>
                  <a:cubicBezTo>
                    <a:pt x="8" y="12"/>
                    <a:pt x="10" y="10"/>
                    <a:pt x="13" y="5"/>
                  </a:cubicBezTo>
                  <a:cubicBezTo>
                    <a:pt x="10" y="4"/>
                    <a:pt x="7" y="2"/>
                    <a:pt x="4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3"/>
                    <a:pt x="0" y="6"/>
                    <a:pt x="3" y="1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4818" y="1885"/>
              <a:ext cx="27" cy="32"/>
            </a:xfrm>
            <a:custGeom>
              <a:avLst/>
              <a:gdLst>
                <a:gd name="T0" fmla="*/ 10 w 15"/>
                <a:gd name="T1" fmla="*/ 3 h 18"/>
                <a:gd name="T2" fmla="*/ 6 w 15"/>
                <a:gd name="T3" fmla="*/ 0 h 18"/>
                <a:gd name="T4" fmla="*/ 0 w 15"/>
                <a:gd name="T5" fmla="*/ 10 h 18"/>
                <a:gd name="T6" fmla="*/ 6 w 15"/>
                <a:gd name="T7" fmla="*/ 18 h 18"/>
                <a:gd name="T8" fmla="*/ 9 w 15"/>
                <a:gd name="T9" fmla="*/ 10 h 18"/>
                <a:gd name="T10" fmla="*/ 9 w 15"/>
                <a:gd name="T11" fmla="*/ 11 h 18"/>
                <a:gd name="T12" fmla="*/ 15 w 15"/>
                <a:gd name="T13" fmla="*/ 0 h 18"/>
                <a:gd name="T14" fmla="*/ 10 w 15"/>
                <a:gd name="T15" fmla="*/ 6 h 18"/>
                <a:gd name="T16" fmla="*/ 10 w 15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0" y="3"/>
                  </a:moveTo>
                  <a:cubicBezTo>
                    <a:pt x="9" y="2"/>
                    <a:pt x="7" y="1"/>
                    <a:pt x="6" y="0"/>
                  </a:cubicBezTo>
                  <a:cubicBezTo>
                    <a:pt x="5" y="1"/>
                    <a:pt x="0" y="8"/>
                    <a:pt x="0" y="10"/>
                  </a:cubicBezTo>
                  <a:cubicBezTo>
                    <a:pt x="2" y="13"/>
                    <a:pt x="4" y="15"/>
                    <a:pt x="6" y="18"/>
                  </a:cubicBezTo>
                  <a:cubicBezTo>
                    <a:pt x="7" y="16"/>
                    <a:pt x="8" y="13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2" y="9"/>
                    <a:pt x="13" y="4"/>
                    <a:pt x="15" y="0"/>
                  </a:cubicBezTo>
                  <a:cubicBezTo>
                    <a:pt x="14" y="1"/>
                    <a:pt x="11" y="3"/>
                    <a:pt x="10" y="6"/>
                  </a:cubicBezTo>
                  <a:cubicBezTo>
                    <a:pt x="10" y="5"/>
                    <a:pt x="10" y="4"/>
                    <a:pt x="10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4839" y="1898"/>
              <a:ext cx="13" cy="12"/>
            </a:xfrm>
            <a:custGeom>
              <a:avLst/>
              <a:gdLst>
                <a:gd name="T0" fmla="*/ 7 w 7"/>
                <a:gd name="T1" fmla="*/ 1 h 7"/>
                <a:gd name="T2" fmla="*/ 0 w 7"/>
                <a:gd name="T3" fmla="*/ 5 h 7"/>
                <a:gd name="T4" fmla="*/ 7 w 7"/>
                <a:gd name="T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7" y="1"/>
                  </a:moveTo>
                  <a:cubicBezTo>
                    <a:pt x="4" y="2"/>
                    <a:pt x="1" y="0"/>
                    <a:pt x="0" y="5"/>
                  </a:cubicBezTo>
                  <a:cubicBezTo>
                    <a:pt x="4" y="7"/>
                    <a:pt x="3" y="3"/>
                    <a:pt x="7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4825" y="1848"/>
              <a:ext cx="14" cy="21"/>
            </a:xfrm>
            <a:custGeom>
              <a:avLst/>
              <a:gdLst>
                <a:gd name="T0" fmla="*/ 0 w 8"/>
                <a:gd name="T1" fmla="*/ 9 h 12"/>
                <a:gd name="T2" fmla="*/ 8 w 8"/>
                <a:gd name="T3" fmla="*/ 12 h 12"/>
                <a:gd name="T4" fmla="*/ 0 w 8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0" y="9"/>
                  </a:moveTo>
                  <a:cubicBezTo>
                    <a:pt x="4" y="10"/>
                    <a:pt x="5" y="8"/>
                    <a:pt x="8" y="12"/>
                  </a:cubicBezTo>
                  <a:cubicBezTo>
                    <a:pt x="2" y="0"/>
                    <a:pt x="4" y="6"/>
                    <a:pt x="0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4779" y="1839"/>
              <a:ext cx="18" cy="20"/>
            </a:xfrm>
            <a:custGeom>
              <a:avLst/>
              <a:gdLst>
                <a:gd name="T0" fmla="*/ 0 w 10"/>
                <a:gd name="T1" fmla="*/ 0 h 11"/>
                <a:gd name="T2" fmla="*/ 9 w 10"/>
                <a:gd name="T3" fmla="*/ 11 h 11"/>
                <a:gd name="T4" fmla="*/ 0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2" y="4"/>
                    <a:pt x="5" y="8"/>
                    <a:pt x="9" y="11"/>
                  </a:cubicBezTo>
                  <a:cubicBezTo>
                    <a:pt x="8" y="5"/>
                    <a:pt x="10" y="1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4765" y="1607"/>
              <a:ext cx="39" cy="55"/>
            </a:xfrm>
            <a:custGeom>
              <a:avLst/>
              <a:gdLst>
                <a:gd name="T0" fmla="*/ 16 w 22"/>
                <a:gd name="T1" fmla="*/ 0 h 31"/>
                <a:gd name="T2" fmla="*/ 9 w 22"/>
                <a:gd name="T3" fmla="*/ 31 h 31"/>
                <a:gd name="T4" fmla="*/ 16 w 22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31">
                  <a:moveTo>
                    <a:pt x="16" y="0"/>
                  </a:moveTo>
                  <a:cubicBezTo>
                    <a:pt x="5" y="7"/>
                    <a:pt x="0" y="20"/>
                    <a:pt x="9" y="31"/>
                  </a:cubicBezTo>
                  <a:cubicBezTo>
                    <a:pt x="18" y="24"/>
                    <a:pt x="22" y="10"/>
                    <a:pt x="16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4571" y="1674"/>
              <a:ext cx="82" cy="96"/>
            </a:xfrm>
            <a:custGeom>
              <a:avLst/>
              <a:gdLst>
                <a:gd name="T0" fmla="*/ 0 w 46"/>
                <a:gd name="T1" fmla="*/ 24 h 54"/>
                <a:gd name="T2" fmla="*/ 0 w 46"/>
                <a:gd name="T3" fmla="*/ 2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4">
                  <a:moveTo>
                    <a:pt x="0" y="24"/>
                  </a:moveTo>
                  <a:cubicBezTo>
                    <a:pt x="2" y="54"/>
                    <a:pt x="46" y="0"/>
                    <a:pt x="0" y="2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4513" y="2084"/>
              <a:ext cx="28" cy="28"/>
            </a:xfrm>
            <a:custGeom>
              <a:avLst/>
              <a:gdLst>
                <a:gd name="T0" fmla="*/ 9 w 16"/>
                <a:gd name="T1" fmla="*/ 14 h 16"/>
                <a:gd name="T2" fmla="*/ 16 w 16"/>
                <a:gd name="T3" fmla="*/ 16 h 16"/>
                <a:gd name="T4" fmla="*/ 7 w 16"/>
                <a:gd name="T5" fmla="*/ 0 h 16"/>
                <a:gd name="T6" fmla="*/ 0 w 16"/>
                <a:gd name="T7" fmla="*/ 5 h 16"/>
                <a:gd name="T8" fmla="*/ 9 w 16"/>
                <a:gd name="T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9" y="14"/>
                  </a:moveTo>
                  <a:cubicBezTo>
                    <a:pt x="12" y="14"/>
                    <a:pt x="13" y="16"/>
                    <a:pt x="16" y="16"/>
                  </a:cubicBezTo>
                  <a:cubicBezTo>
                    <a:pt x="14" y="11"/>
                    <a:pt x="10" y="4"/>
                    <a:pt x="7" y="0"/>
                  </a:cubicBezTo>
                  <a:cubicBezTo>
                    <a:pt x="5" y="2"/>
                    <a:pt x="2" y="3"/>
                    <a:pt x="0" y="5"/>
                  </a:cubicBezTo>
                  <a:cubicBezTo>
                    <a:pt x="6" y="7"/>
                    <a:pt x="6" y="11"/>
                    <a:pt x="9" y="1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4557" y="2105"/>
              <a:ext cx="11" cy="11"/>
            </a:xfrm>
            <a:custGeom>
              <a:avLst/>
              <a:gdLst>
                <a:gd name="T0" fmla="*/ 0 w 6"/>
                <a:gd name="T1" fmla="*/ 0 h 6"/>
                <a:gd name="T2" fmla="*/ 3 w 6"/>
                <a:gd name="T3" fmla="*/ 6 h 6"/>
                <a:gd name="T4" fmla="*/ 6 w 6"/>
                <a:gd name="T5" fmla="*/ 2 h 6"/>
                <a:gd name="T6" fmla="*/ 0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cubicBezTo>
                    <a:pt x="0" y="0"/>
                    <a:pt x="2" y="5"/>
                    <a:pt x="3" y="6"/>
                  </a:cubicBezTo>
                  <a:cubicBezTo>
                    <a:pt x="4" y="4"/>
                    <a:pt x="5" y="3"/>
                    <a:pt x="6" y="2"/>
                  </a:cubicBezTo>
                  <a:cubicBezTo>
                    <a:pt x="4" y="0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4401" y="2079"/>
              <a:ext cx="11" cy="16"/>
            </a:xfrm>
            <a:custGeom>
              <a:avLst/>
              <a:gdLst>
                <a:gd name="T0" fmla="*/ 0 w 6"/>
                <a:gd name="T1" fmla="*/ 0 h 9"/>
                <a:gd name="T2" fmla="*/ 6 w 6"/>
                <a:gd name="T3" fmla="*/ 9 h 9"/>
                <a:gd name="T4" fmla="*/ 2 w 6"/>
                <a:gd name="T5" fmla="*/ 0 h 9"/>
                <a:gd name="T6" fmla="*/ 0 w 6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9">
                  <a:moveTo>
                    <a:pt x="0" y="0"/>
                  </a:moveTo>
                  <a:cubicBezTo>
                    <a:pt x="2" y="3"/>
                    <a:pt x="4" y="6"/>
                    <a:pt x="6" y="9"/>
                  </a:cubicBezTo>
                  <a:cubicBezTo>
                    <a:pt x="5" y="6"/>
                    <a:pt x="3" y="3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auto">
            <a:xfrm>
              <a:off x="4405" y="207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4405" y="2079"/>
              <a:ext cx="2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4405" y="207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4382" y="2040"/>
              <a:ext cx="9" cy="16"/>
            </a:xfrm>
            <a:custGeom>
              <a:avLst/>
              <a:gdLst>
                <a:gd name="T0" fmla="*/ 5 w 5"/>
                <a:gd name="T1" fmla="*/ 9 h 9"/>
                <a:gd name="T2" fmla="*/ 0 w 5"/>
                <a:gd name="T3" fmla="*/ 1 h 9"/>
                <a:gd name="T4" fmla="*/ 5 w 5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cubicBezTo>
                    <a:pt x="4" y="6"/>
                    <a:pt x="2" y="3"/>
                    <a:pt x="0" y="1"/>
                  </a:cubicBezTo>
                  <a:cubicBezTo>
                    <a:pt x="0" y="0"/>
                    <a:pt x="2" y="7"/>
                    <a:pt x="5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auto">
            <a:xfrm>
              <a:off x="4928" y="1433"/>
              <a:ext cx="60" cy="62"/>
            </a:xfrm>
            <a:custGeom>
              <a:avLst/>
              <a:gdLst>
                <a:gd name="T0" fmla="*/ 13 w 34"/>
                <a:gd name="T1" fmla="*/ 14 h 35"/>
                <a:gd name="T2" fmla="*/ 15 w 34"/>
                <a:gd name="T3" fmla="*/ 23 h 35"/>
                <a:gd name="T4" fmla="*/ 17 w 34"/>
                <a:gd name="T5" fmla="*/ 35 h 35"/>
                <a:gd name="T6" fmla="*/ 25 w 34"/>
                <a:gd name="T7" fmla="*/ 9 h 35"/>
                <a:gd name="T8" fmla="*/ 13 w 34"/>
                <a:gd name="T9" fmla="*/ 1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5">
                  <a:moveTo>
                    <a:pt x="13" y="14"/>
                  </a:moveTo>
                  <a:cubicBezTo>
                    <a:pt x="16" y="17"/>
                    <a:pt x="16" y="19"/>
                    <a:pt x="15" y="23"/>
                  </a:cubicBezTo>
                  <a:cubicBezTo>
                    <a:pt x="13" y="30"/>
                    <a:pt x="13" y="33"/>
                    <a:pt x="17" y="35"/>
                  </a:cubicBezTo>
                  <a:cubicBezTo>
                    <a:pt x="22" y="29"/>
                    <a:pt x="34" y="14"/>
                    <a:pt x="25" y="9"/>
                  </a:cubicBezTo>
                  <a:cubicBezTo>
                    <a:pt x="12" y="0"/>
                    <a:pt x="0" y="23"/>
                    <a:pt x="13" y="1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4972" y="1419"/>
              <a:ext cx="64" cy="44"/>
            </a:xfrm>
            <a:custGeom>
              <a:avLst/>
              <a:gdLst>
                <a:gd name="T0" fmla="*/ 26 w 36"/>
                <a:gd name="T1" fmla="*/ 19 h 25"/>
                <a:gd name="T2" fmla="*/ 12 w 36"/>
                <a:gd name="T3" fmla="*/ 25 h 25"/>
                <a:gd name="T4" fmla="*/ 26 w 36"/>
                <a:gd name="T5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25">
                  <a:moveTo>
                    <a:pt x="26" y="19"/>
                  </a:moveTo>
                  <a:cubicBezTo>
                    <a:pt x="36" y="0"/>
                    <a:pt x="0" y="9"/>
                    <a:pt x="12" y="25"/>
                  </a:cubicBezTo>
                  <a:cubicBezTo>
                    <a:pt x="17" y="16"/>
                    <a:pt x="20" y="19"/>
                    <a:pt x="26" y="1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3" name="Freeform 63"/>
            <p:cNvSpPr>
              <a:spLocks/>
            </p:cNvSpPr>
            <p:nvPr/>
          </p:nvSpPr>
          <p:spPr bwMode="auto">
            <a:xfrm>
              <a:off x="4960" y="1291"/>
              <a:ext cx="202" cy="158"/>
            </a:xfrm>
            <a:custGeom>
              <a:avLst/>
              <a:gdLst>
                <a:gd name="T0" fmla="*/ 30 w 114"/>
                <a:gd name="T1" fmla="*/ 66 h 89"/>
                <a:gd name="T2" fmla="*/ 0 w 114"/>
                <a:gd name="T3" fmla="*/ 82 h 89"/>
                <a:gd name="T4" fmla="*/ 44 w 114"/>
                <a:gd name="T5" fmla="*/ 86 h 89"/>
                <a:gd name="T6" fmla="*/ 60 w 114"/>
                <a:gd name="T7" fmla="*/ 80 h 89"/>
                <a:gd name="T8" fmla="*/ 59 w 114"/>
                <a:gd name="T9" fmla="*/ 72 h 89"/>
                <a:gd name="T10" fmla="*/ 90 w 114"/>
                <a:gd name="T11" fmla="*/ 67 h 89"/>
                <a:gd name="T12" fmla="*/ 90 w 114"/>
                <a:gd name="T13" fmla="*/ 73 h 89"/>
                <a:gd name="T14" fmla="*/ 101 w 114"/>
                <a:gd name="T15" fmla="*/ 0 h 89"/>
                <a:gd name="T16" fmla="*/ 102 w 114"/>
                <a:gd name="T17" fmla="*/ 3 h 89"/>
                <a:gd name="T18" fmla="*/ 91 w 114"/>
                <a:gd name="T19" fmla="*/ 23 h 89"/>
                <a:gd name="T20" fmla="*/ 63 w 114"/>
                <a:gd name="T21" fmla="*/ 52 h 89"/>
                <a:gd name="T22" fmla="*/ 62 w 114"/>
                <a:gd name="T23" fmla="*/ 46 h 89"/>
                <a:gd name="T24" fmla="*/ 30 w 114"/>
                <a:gd name="T25" fmla="*/ 6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" h="89">
                  <a:moveTo>
                    <a:pt x="30" y="66"/>
                  </a:moveTo>
                  <a:cubicBezTo>
                    <a:pt x="16" y="65"/>
                    <a:pt x="11" y="76"/>
                    <a:pt x="0" y="82"/>
                  </a:cubicBezTo>
                  <a:cubicBezTo>
                    <a:pt x="12" y="84"/>
                    <a:pt x="48" y="65"/>
                    <a:pt x="44" y="86"/>
                  </a:cubicBezTo>
                  <a:cubicBezTo>
                    <a:pt x="50" y="89"/>
                    <a:pt x="55" y="85"/>
                    <a:pt x="60" y="80"/>
                  </a:cubicBezTo>
                  <a:cubicBezTo>
                    <a:pt x="58" y="76"/>
                    <a:pt x="59" y="75"/>
                    <a:pt x="59" y="72"/>
                  </a:cubicBezTo>
                  <a:cubicBezTo>
                    <a:pt x="68" y="81"/>
                    <a:pt x="83" y="75"/>
                    <a:pt x="90" y="67"/>
                  </a:cubicBezTo>
                  <a:cubicBezTo>
                    <a:pt x="90" y="69"/>
                    <a:pt x="90" y="71"/>
                    <a:pt x="90" y="73"/>
                  </a:cubicBezTo>
                  <a:cubicBezTo>
                    <a:pt x="104" y="63"/>
                    <a:pt x="114" y="12"/>
                    <a:pt x="101" y="0"/>
                  </a:cubicBezTo>
                  <a:cubicBezTo>
                    <a:pt x="101" y="0"/>
                    <a:pt x="102" y="3"/>
                    <a:pt x="102" y="3"/>
                  </a:cubicBezTo>
                  <a:cubicBezTo>
                    <a:pt x="90" y="2"/>
                    <a:pt x="92" y="15"/>
                    <a:pt x="91" y="23"/>
                  </a:cubicBezTo>
                  <a:cubicBezTo>
                    <a:pt x="88" y="38"/>
                    <a:pt x="76" y="47"/>
                    <a:pt x="63" y="52"/>
                  </a:cubicBezTo>
                  <a:cubicBezTo>
                    <a:pt x="62" y="49"/>
                    <a:pt x="62" y="50"/>
                    <a:pt x="62" y="46"/>
                  </a:cubicBezTo>
                  <a:cubicBezTo>
                    <a:pt x="54" y="62"/>
                    <a:pt x="47" y="66"/>
                    <a:pt x="30" y="6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5118" y="1204"/>
              <a:ext cx="101" cy="83"/>
            </a:xfrm>
            <a:custGeom>
              <a:avLst/>
              <a:gdLst>
                <a:gd name="T0" fmla="*/ 8 w 57"/>
                <a:gd name="T1" fmla="*/ 25 h 47"/>
                <a:gd name="T2" fmla="*/ 2 w 57"/>
                <a:gd name="T3" fmla="*/ 47 h 47"/>
                <a:gd name="T4" fmla="*/ 13 w 57"/>
                <a:gd name="T5" fmla="*/ 42 h 47"/>
                <a:gd name="T6" fmla="*/ 6 w 57"/>
                <a:gd name="T7" fmla="*/ 37 h 47"/>
                <a:gd name="T8" fmla="*/ 30 w 57"/>
                <a:gd name="T9" fmla="*/ 38 h 47"/>
                <a:gd name="T10" fmla="*/ 57 w 57"/>
                <a:gd name="T11" fmla="*/ 25 h 47"/>
                <a:gd name="T12" fmla="*/ 55 w 57"/>
                <a:gd name="T13" fmla="*/ 16 h 47"/>
                <a:gd name="T14" fmla="*/ 21 w 57"/>
                <a:gd name="T15" fmla="*/ 0 h 47"/>
                <a:gd name="T16" fmla="*/ 8 w 57"/>
                <a:gd name="T17" fmla="*/ 2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7">
                  <a:moveTo>
                    <a:pt x="8" y="25"/>
                  </a:moveTo>
                  <a:cubicBezTo>
                    <a:pt x="5" y="26"/>
                    <a:pt x="0" y="38"/>
                    <a:pt x="2" y="47"/>
                  </a:cubicBezTo>
                  <a:cubicBezTo>
                    <a:pt x="6" y="47"/>
                    <a:pt x="10" y="45"/>
                    <a:pt x="13" y="42"/>
                  </a:cubicBezTo>
                  <a:cubicBezTo>
                    <a:pt x="10" y="40"/>
                    <a:pt x="8" y="39"/>
                    <a:pt x="6" y="37"/>
                  </a:cubicBezTo>
                  <a:cubicBezTo>
                    <a:pt x="16" y="31"/>
                    <a:pt x="21" y="33"/>
                    <a:pt x="30" y="38"/>
                  </a:cubicBezTo>
                  <a:cubicBezTo>
                    <a:pt x="33" y="40"/>
                    <a:pt x="48" y="26"/>
                    <a:pt x="57" y="25"/>
                  </a:cubicBezTo>
                  <a:cubicBezTo>
                    <a:pt x="56" y="23"/>
                    <a:pt x="55" y="17"/>
                    <a:pt x="55" y="16"/>
                  </a:cubicBezTo>
                  <a:cubicBezTo>
                    <a:pt x="40" y="19"/>
                    <a:pt x="31" y="9"/>
                    <a:pt x="21" y="0"/>
                  </a:cubicBezTo>
                  <a:cubicBezTo>
                    <a:pt x="20" y="9"/>
                    <a:pt x="20" y="22"/>
                    <a:pt x="8" y="2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5217" y="1223"/>
              <a:ext cx="12" cy="16"/>
            </a:xfrm>
            <a:custGeom>
              <a:avLst/>
              <a:gdLst>
                <a:gd name="T0" fmla="*/ 0 w 7"/>
                <a:gd name="T1" fmla="*/ 9 h 9"/>
                <a:gd name="T2" fmla="*/ 7 w 7"/>
                <a:gd name="T3" fmla="*/ 0 h 9"/>
                <a:gd name="T4" fmla="*/ 0 w 7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0" y="9"/>
                  </a:moveTo>
                  <a:cubicBezTo>
                    <a:pt x="5" y="7"/>
                    <a:pt x="7" y="1"/>
                    <a:pt x="7" y="0"/>
                  </a:cubicBezTo>
                  <a:cubicBezTo>
                    <a:pt x="6" y="1"/>
                    <a:pt x="2" y="5"/>
                    <a:pt x="0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auto">
            <a:xfrm>
              <a:off x="5251" y="1199"/>
              <a:ext cx="23" cy="19"/>
            </a:xfrm>
            <a:custGeom>
              <a:avLst/>
              <a:gdLst>
                <a:gd name="T0" fmla="*/ 0 w 13"/>
                <a:gd name="T1" fmla="*/ 11 h 11"/>
                <a:gd name="T2" fmla="*/ 13 w 13"/>
                <a:gd name="T3" fmla="*/ 4 h 11"/>
                <a:gd name="T4" fmla="*/ 0 w 13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11"/>
                  </a:moveTo>
                  <a:cubicBezTo>
                    <a:pt x="4" y="8"/>
                    <a:pt x="9" y="7"/>
                    <a:pt x="13" y="4"/>
                  </a:cubicBezTo>
                  <a:cubicBezTo>
                    <a:pt x="8" y="0"/>
                    <a:pt x="3" y="4"/>
                    <a:pt x="0" y="1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7" name="Freeform 67"/>
            <p:cNvSpPr>
              <a:spLocks/>
            </p:cNvSpPr>
            <p:nvPr/>
          </p:nvSpPr>
          <p:spPr bwMode="auto">
            <a:xfrm>
              <a:off x="5286" y="1184"/>
              <a:ext cx="18" cy="15"/>
            </a:xfrm>
            <a:custGeom>
              <a:avLst/>
              <a:gdLst>
                <a:gd name="T0" fmla="*/ 4 w 10"/>
                <a:gd name="T1" fmla="*/ 5 h 8"/>
                <a:gd name="T2" fmla="*/ 10 w 10"/>
                <a:gd name="T3" fmla="*/ 0 h 8"/>
                <a:gd name="T4" fmla="*/ 4 w 10"/>
                <a:gd name="T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4" y="5"/>
                  </a:moveTo>
                  <a:cubicBezTo>
                    <a:pt x="0" y="8"/>
                    <a:pt x="9" y="1"/>
                    <a:pt x="10" y="0"/>
                  </a:cubicBezTo>
                  <a:cubicBezTo>
                    <a:pt x="5" y="0"/>
                    <a:pt x="6" y="3"/>
                    <a:pt x="4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8" name="Freeform 68"/>
            <p:cNvSpPr>
              <a:spLocks/>
            </p:cNvSpPr>
            <p:nvPr/>
          </p:nvSpPr>
          <p:spPr bwMode="auto">
            <a:xfrm>
              <a:off x="5149" y="998"/>
              <a:ext cx="50" cy="192"/>
            </a:xfrm>
            <a:custGeom>
              <a:avLst/>
              <a:gdLst>
                <a:gd name="T0" fmla="*/ 21 w 28"/>
                <a:gd name="T1" fmla="*/ 65 h 108"/>
                <a:gd name="T2" fmla="*/ 28 w 28"/>
                <a:gd name="T3" fmla="*/ 70 h 108"/>
                <a:gd name="T4" fmla="*/ 9 w 28"/>
                <a:gd name="T5" fmla="*/ 0 h 108"/>
                <a:gd name="T6" fmla="*/ 1 w 28"/>
                <a:gd name="T7" fmla="*/ 24 h 108"/>
                <a:gd name="T8" fmla="*/ 5 w 28"/>
                <a:gd name="T9" fmla="*/ 51 h 108"/>
                <a:gd name="T10" fmla="*/ 4 w 28"/>
                <a:gd name="T11" fmla="*/ 108 h 108"/>
                <a:gd name="T12" fmla="*/ 21 w 28"/>
                <a:gd name="T13" fmla="*/ 103 h 108"/>
                <a:gd name="T14" fmla="*/ 21 w 28"/>
                <a:gd name="T15" fmla="*/ 6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08">
                  <a:moveTo>
                    <a:pt x="21" y="65"/>
                  </a:moveTo>
                  <a:cubicBezTo>
                    <a:pt x="23" y="67"/>
                    <a:pt x="26" y="69"/>
                    <a:pt x="28" y="70"/>
                  </a:cubicBezTo>
                  <a:cubicBezTo>
                    <a:pt x="21" y="49"/>
                    <a:pt x="20" y="15"/>
                    <a:pt x="9" y="0"/>
                  </a:cubicBezTo>
                  <a:cubicBezTo>
                    <a:pt x="10" y="10"/>
                    <a:pt x="2" y="14"/>
                    <a:pt x="1" y="24"/>
                  </a:cubicBezTo>
                  <a:cubicBezTo>
                    <a:pt x="0" y="33"/>
                    <a:pt x="5" y="42"/>
                    <a:pt x="5" y="51"/>
                  </a:cubicBezTo>
                  <a:cubicBezTo>
                    <a:pt x="7" y="70"/>
                    <a:pt x="4" y="89"/>
                    <a:pt x="4" y="108"/>
                  </a:cubicBezTo>
                  <a:cubicBezTo>
                    <a:pt x="9" y="100"/>
                    <a:pt x="15" y="98"/>
                    <a:pt x="21" y="103"/>
                  </a:cubicBezTo>
                  <a:cubicBezTo>
                    <a:pt x="11" y="93"/>
                    <a:pt x="4" y="71"/>
                    <a:pt x="21" y="6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3673" y="547"/>
              <a:ext cx="8" cy="9"/>
            </a:xfrm>
            <a:custGeom>
              <a:avLst/>
              <a:gdLst>
                <a:gd name="T0" fmla="*/ 3 w 5"/>
                <a:gd name="T1" fmla="*/ 4 h 5"/>
                <a:gd name="T2" fmla="*/ 5 w 5"/>
                <a:gd name="T3" fmla="*/ 5 h 5"/>
                <a:gd name="T4" fmla="*/ 3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4" y="4"/>
                    <a:pt x="4" y="4"/>
                    <a:pt x="5" y="5"/>
                  </a:cubicBezTo>
                  <a:cubicBezTo>
                    <a:pt x="5" y="3"/>
                    <a:pt x="0" y="0"/>
                    <a:pt x="3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0" name="Freeform 70"/>
            <p:cNvSpPr>
              <a:spLocks/>
            </p:cNvSpPr>
            <p:nvPr/>
          </p:nvSpPr>
          <p:spPr bwMode="auto">
            <a:xfrm>
              <a:off x="3561" y="316"/>
              <a:ext cx="335" cy="247"/>
            </a:xfrm>
            <a:custGeom>
              <a:avLst/>
              <a:gdLst>
                <a:gd name="T0" fmla="*/ 25 w 189"/>
                <a:gd name="T1" fmla="*/ 121 h 139"/>
                <a:gd name="T2" fmla="*/ 29 w 189"/>
                <a:gd name="T3" fmla="*/ 130 h 139"/>
                <a:gd name="T4" fmla="*/ 40 w 189"/>
                <a:gd name="T5" fmla="*/ 134 h 139"/>
                <a:gd name="T6" fmla="*/ 68 w 189"/>
                <a:gd name="T7" fmla="*/ 136 h 139"/>
                <a:gd name="T8" fmla="*/ 66 w 189"/>
                <a:gd name="T9" fmla="*/ 134 h 139"/>
                <a:gd name="T10" fmla="*/ 93 w 189"/>
                <a:gd name="T11" fmla="*/ 58 h 139"/>
                <a:gd name="T12" fmla="*/ 134 w 189"/>
                <a:gd name="T13" fmla="*/ 39 h 139"/>
                <a:gd name="T14" fmla="*/ 179 w 189"/>
                <a:gd name="T15" fmla="*/ 21 h 139"/>
                <a:gd name="T16" fmla="*/ 140 w 189"/>
                <a:gd name="T17" fmla="*/ 19 h 139"/>
                <a:gd name="T18" fmla="*/ 94 w 189"/>
                <a:gd name="T19" fmla="*/ 28 h 139"/>
                <a:gd name="T20" fmla="*/ 70 w 189"/>
                <a:gd name="T21" fmla="*/ 42 h 139"/>
                <a:gd name="T22" fmla="*/ 49 w 189"/>
                <a:gd name="T23" fmla="*/ 47 h 139"/>
                <a:gd name="T24" fmla="*/ 35 w 189"/>
                <a:gd name="T25" fmla="*/ 85 h 139"/>
                <a:gd name="T26" fmla="*/ 15 w 189"/>
                <a:gd name="T27" fmla="*/ 103 h 139"/>
                <a:gd name="T28" fmla="*/ 25 w 189"/>
                <a:gd name="T29" fmla="*/ 12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139">
                  <a:moveTo>
                    <a:pt x="25" y="121"/>
                  </a:moveTo>
                  <a:cubicBezTo>
                    <a:pt x="27" y="123"/>
                    <a:pt x="29" y="126"/>
                    <a:pt x="29" y="130"/>
                  </a:cubicBezTo>
                  <a:cubicBezTo>
                    <a:pt x="30" y="137"/>
                    <a:pt x="35" y="130"/>
                    <a:pt x="40" y="134"/>
                  </a:cubicBezTo>
                  <a:cubicBezTo>
                    <a:pt x="44" y="139"/>
                    <a:pt x="61" y="136"/>
                    <a:pt x="68" y="136"/>
                  </a:cubicBezTo>
                  <a:cubicBezTo>
                    <a:pt x="67" y="135"/>
                    <a:pt x="66" y="134"/>
                    <a:pt x="66" y="134"/>
                  </a:cubicBezTo>
                  <a:cubicBezTo>
                    <a:pt x="27" y="105"/>
                    <a:pt x="65" y="78"/>
                    <a:pt x="93" y="58"/>
                  </a:cubicBezTo>
                  <a:cubicBezTo>
                    <a:pt x="107" y="49"/>
                    <a:pt x="117" y="43"/>
                    <a:pt x="134" y="39"/>
                  </a:cubicBezTo>
                  <a:cubicBezTo>
                    <a:pt x="145" y="37"/>
                    <a:pt x="173" y="32"/>
                    <a:pt x="179" y="21"/>
                  </a:cubicBezTo>
                  <a:cubicBezTo>
                    <a:pt x="189" y="0"/>
                    <a:pt x="145" y="17"/>
                    <a:pt x="140" y="19"/>
                  </a:cubicBezTo>
                  <a:cubicBezTo>
                    <a:pt x="122" y="27"/>
                    <a:pt x="111" y="24"/>
                    <a:pt x="94" y="28"/>
                  </a:cubicBezTo>
                  <a:cubicBezTo>
                    <a:pt x="84" y="31"/>
                    <a:pt x="79" y="38"/>
                    <a:pt x="70" y="42"/>
                  </a:cubicBezTo>
                  <a:cubicBezTo>
                    <a:pt x="66" y="44"/>
                    <a:pt x="52" y="45"/>
                    <a:pt x="49" y="47"/>
                  </a:cubicBezTo>
                  <a:cubicBezTo>
                    <a:pt x="44" y="52"/>
                    <a:pt x="30" y="80"/>
                    <a:pt x="35" y="85"/>
                  </a:cubicBezTo>
                  <a:cubicBezTo>
                    <a:pt x="21" y="87"/>
                    <a:pt x="22" y="96"/>
                    <a:pt x="15" y="103"/>
                  </a:cubicBezTo>
                  <a:cubicBezTo>
                    <a:pt x="0" y="120"/>
                    <a:pt x="17" y="115"/>
                    <a:pt x="25" y="12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1" name="Freeform 71"/>
            <p:cNvSpPr>
              <a:spLocks noEditPoints="1"/>
            </p:cNvSpPr>
            <p:nvPr/>
          </p:nvSpPr>
          <p:spPr bwMode="auto">
            <a:xfrm>
              <a:off x="2382" y="306"/>
              <a:ext cx="3611" cy="2401"/>
            </a:xfrm>
            <a:custGeom>
              <a:avLst/>
              <a:gdLst>
                <a:gd name="T0" fmla="*/ 1825 w 2037"/>
                <a:gd name="T1" fmla="*/ 156 h 1353"/>
                <a:gd name="T2" fmla="*/ 1655 w 2037"/>
                <a:gd name="T3" fmla="*/ 121 h 1353"/>
                <a:gd name="T4" fmla="*/ 1569 w 2037"/>
                <a:gd name="T5" fmla="*/ 96 h 1353"/>
                <a:gd name="T6" fmla="*/ 1316 w 2037"/>
                <a:gd name="T7" fmla="*/ 89 h 1353"/>
                <a:gd name="T8" fmla="*/ 1188 w 2037"/>
                <a:gd name="T9" fmla="*/ 5 h 1353"/>
                <a:gd name="T10" fmla="*/ 964 w 2037"/>
                <a:gd name="T11" fmla="*/ 109 h 1353"/>
                <a:gd name="T12" fmla="*/ 881 w 2037"/>
                <a:gd name="T13" fmla="*/ 134 h 1353"/>
                <a:gd name="T14" fmla="*/ 844 w 2037"/>
                <a:gd name="T15" fmla="*/ 175 h 1353"/>
                <a:gd name="T16" fmla="*/ 677 w 2037"/>
                <a:gd name="T17" fmla="*/ 176 h 1353"/>
                <a:gd name="T18" fmla="*/ 531 w 2037"/>
                <a:gd name="T19" fmla="*/ 249 h 1353"/>
                <a:gd name="T20" fmla="*/ 489 w 2037"/>
                <a:gd name="T21" fmla="*/ 157 h 1353"/>
                <a:gd name="T22" fmla="*/ 386 w 2037"/>
                <a:gd name="T23" fmla="*/ 140 h 1353"/>
                <a:gd name="T24" fmla="*/ 344 w 2037"/>
                <a:gd name="T25" fmla="*/ 164 h 1353"/>
                <a:gd name="T26" fmla="*/ 221 w 2037"/>
                <a:gd name="T27" fmla="*/ 321 h 1353"/>
                <a:gd name="T28" fmla="*/ 350 w 2037"/>
                <a:gd name="T29" fmla="*/ 319 h 1353"/>
                <a:gd name="T30" fmla="*/ 456 w 2037"/>
                <a:gd name="T31" fmla="*/ 312 h 1353"/>
                <a:gd name="T32" fmla="*/ 384 w 2037"/>
                <a:gd name="T33" fmla="*/ 345 h 1353"/>
                <a:gd name="T34" fmla="*/ 293 w 2037"/>
                <a:gd name="T35" fmla="*/ 380 h 1353"/>
                <a:gd name="T36" fmla="*/ 249 w 2037"/>
                <a:gd name="T37" fmla="*/ 371 h 1353"/>
                <a:gd name="T38" fmla="*/ 159 w 2037"/>
                <a:gd name="T39" fmla="*/ 464 h 1353"/>
                <a:gd name="T40" fmla="*/ 105 w 2037"/>
                <a:gd name="T41" fmla="*/ 534 h 1353"/>
                <a:gd name="T42" fmla="*/ 181 w 2037"/>
                <a:gd name="T43" fmla="*/ 562 h 1353"/>
                <a:gd name="T44" fmla="*/ 315 w 2037"/>
                <a:gd name="T45" fmla="*/ 568 h 1353"/>
                <a:gd name="T46" fmla="*/ 312 w 2037"/>
                <a:gd name="T47" fmla="*/ 550 h 1353"/>
                <a:gd name="T48" fmla="*/ 397 w 2037"/>
                <a:gd name="T49" fmla="*/ 608 h 1353"/>
                <a:gd name="T50" fmla="*/ 403 w 2037"/>
                <a:gd name="T51" fmla="*/ 575 h 1353"/>
                <a:gd name="T52" fmla="*/ 522 w 2037"/>
                <a:gd name="T53" fmla="*/ 508 h 1353"/>
                <a:gd name="T54" fmla="*/ 579 w 2037"/>
                <a:gd name="T55" fmla="*/ 556 h 1353"/>
                <a:gd name="T56" fmla="*/ 479 w 2037"/>
                <a:gd name="T57" fmla="*/ 613 h 1353"/>
                <a:gd name="T58" fmla="*/ 437 w 2037"/>
                <a:gd name="T59" fmla="*/ 673 h 1353"/>
                <a:gd name="T60" fmla="*/ 296 w 2037"/>
                <a:gd name="T61" fmla="*/ 649 h 1353"/>
                <a:gd name="T62" fmla="*/ 109 w 2037"/>
                <a:gd name="T63" fmla="*/ 628 h 1353"/>
                <a:gd name="T64" fmla="*/ 18 w 2037"/>
                <a:gd name="T65" fmla="*/ 747 h 1353"/>
                <a:gd name="T66" fmla="*/ 54 w 2037"/>
                <a:gd name="T67" fmla="*/ 925 h 1353"/>
                <a:gd name="T68" fmla="*/ 258 w 2037"/>
                <a:gd name="T69" fmla="*/ 947 h 1353"/>
                <a:gd name="T70" fmla="*/ 289 w 2037"/>
                <a:gd name="T71" fmla="*/ 1135 h 1353"/>
                <a:gd name="T72" fmla="*/ 370 w 2037"/>
                <a:gd name="T73" fmla="*/ 1350 h 1353"/>
                <a:gd name="T74" fmla="*/ 515 w 2037"/>
                <a:gd name="T75" fmla="*/ 1239 h 1353"/>
                <a:gd name="T76" fmla="*/ 551 w 2037"/>
                <a:gd name="T77" fmla="*/ 1041 h 1353"/>
                <a:gd name="T78" fmla="*/ 652 w 2037"/>
                <a:gd name="T79" fmla="*/ 879 h 1353"/>
                <a:gd name="T80" fmla="*/ 483 w 2037"/>
                <a:gd name="T81" fmla="*/ 685 h 1353"/>
                <a:gd name="T82" fmla="*/ 612 w 2037"/>
                <a:gd name="T83" fmla="*/ 866 h 1353"/>
                <a:gd name="T84" fmla="*/ 743 w 2037"/>
                <a:gd name="T85" fmla="*/ 749 h 1353"/>
                <a:gd name="T86" fmla="*/ 777 w 2037"/>
                <a:gd name="T87" fmla="*/ 739 h 1353"/>
                <a:gd name="T88" fmla="*/ 894 w 2037"/>
                <a:gd name="T89" fmla="*/ 836 h 1353"/>
                <a:gd name="T90" fmla="*/ 1017 w 2037"/>
                <a:gd name="T91" fmla="*/ 776 h 1353"/>
                <a:gd name="T92" fmla="*/ 1151 w 2037"/>
                <a:gd name="T93" fmla="*/ 852 h 1353"/>
                <a:gd name="T94" fmla="*/ 1241 w 2037"/>
                <a:gd name="T95" fmla="*/ 872 h 1353"/>
                <a:gd name="T96" fmla="*/ 1339 w 2037"/>
                <a:gd name="T97" fmla="*/ 738 h 1353"/>
                <a:gd name="T98" fmla="*/ 1341 w 2037"/>
                <a:gd name="T99" fmla="*/ 628 h 1353"/>
                <a:gd name="T100" fmla="*/ 1415 w 2037"/>
                <a:gd name="T101" fmla="*/ 602 h 1353"/>
                <a:gd name="T102" fmla="*/ 1517 w 2037"/>
                <a:gd name="T103" fmla="*/ 510 h 1353"/>
                <a:gd name="T104" fmla="*/ 1528 w 2037"/>
                <a:gd name="T105" fmla="*/ 359 h 1353"/>
                <a:gd name="T106" fmla="*/ 1708 w 2037"/>
                <a:gd name="T107" fmla="*/ 289 h 1353"/>
                <a:gd name="T108" fmla="*/ 1714 w 2037"/>
                <a:gd name="T109" fmla="*/ 433 h 1353"/>
                <a:gd name="T110" fmla="*/ 1813 w 2037"/>
                <a:gd name="T111" fmla="*/ 309 h 1353"/>
                <a:gd name="T112" fmla="*/ 1939 w 2037"/>
                <a:gd name="T113" fmla="*/ 229 h 1353"/>
                <a:gd name="T114" fmla="*/ 683 w 2037"/>
                <a:gd name="T115" fmla="*/ 573 h 1353"/>
                <a:gd name="T116" fmla="*/ 700 w 2037"/>
                <a:gd name="T117" fmla="*/ 506 h 1353"/>
                <a:gd name="T118" fmla="*/ 776 w 2037"/>
                <a:gd name="T119" fmla="*/ 6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37" h="1353">
                  <a:moveTo>
                    <a:pt x="1961" y="184"/>
                  </a:moveTo>
                  <a:cubicBezTo>
                    <a:pt x="1958" y="168"/>
                    <a:pt x="1948" y="174"/>
                    <a:pt x="1937" y="169"/>
                  </a:cubicBezTo>
                  <a:cubicBezTo>
                    <a:pt x="1933" y="167"/>
                    <a:pt x="1925" y="158"/>
                    <a:pt x="1922" y="157"/>
                  </a:cubicBezTo>
                  <a:cubicBezTo>
                    <a:pt x="1917" y="156"/>
                    <a:pt x="1913" y="161"/>
                    <a:pt x="1907" y="159"/>
                  </a:cubicBezTo>
                  <a:cubicBezTo>
                    <a:pt x="1886" y="152"/>
                    <a:pt x="1868" y="142"/>
                    <a:pt x="1843" y="154"/>
                  </a:cubicBezTo>
                  <a:cubicBezTo>
                    <a:pt x="1857" y="168"/>
                    <a:pt x="1840" y="168"/>
                    <a:pt x="1832" y="166"/>
                  </a:cubicBezTo>
                  <a:cubicBezTo>
                    <a:pt x="1826" y="165"/>
                    <a:pt x="1836" y="155"/>
                    <a:pt x="1825" y="156"/>
                  </a:cubicBezTo>
                  <a:cubicBezTo>
                    <a:pt x="1818" y="157"/>
                    <a:pt x="1813" y="154"/>
                    <a:pt x="1807" y="152"/>
                  </a:cubicBezTo>
                  <a:cubicBezTo>
                    <a:pt x="1799" y="151"/>
                    <a:pt x="1799" y="157"/>
                    <a:pt x="1793" y="157"/>
                  </a:cubicBezTo>
                  <a:cubicBezTo>
                    <a:pt x="1786" y="157"/>
                    <a:pt x="1780" y="153"/>
                    <a:pt x="1775" y="153"/>
                  </a:cubicBezTo>
                  <a:cubicBezTo>
                    <a:pt x="1763" y="153"/>
                    <a:pt x="1752" y="152"/>
                    <a:pt x="1741" y="153"/>
                  </a:cubicBezTo>
                  <a:cubicBezTo>
                    <a:pt x="1742" y="129"/>
                    <a:pt x="1716" y="126"/>
                    <a:pt x="1696" y="129"/>
                  </a:cubicBezTo>
                  <a:cubicBezTo>
                    <a:pt x="1687" y="130"/>
                    <a:pt x="1673" y="133"/>
                    <a:pt x="1665" y="131"/>
                  </a:cubicBezTo>
                  <a:cubicBezTo>
                    <a:pt x="1657" y="128"/>
                    <a:pt x="1660" y="125"/>
                    <a:pt x="1655" y="121"/>
                  </a:cubicBezTo>
                  <a:cubicBezTo>
                    <a:pt x="1654" y="118"/>
                    <a:pt x="1653" y="115"/>
                    <a:pt x="1653" y="112"/>
                  </a:cubicBezTo>
                  <a:cubicBezTo>
                    <a:pt x="1650" y="112"/>
                    <a:pt x="1647" y="112"/>
                    <a:pt x="1644" y="112"/>
                  </a:cubicBezTo>
                  <a:cubicBezTo>
                    <a:pt x="1638" y="108"/>
                    <a:pt x="1624" y="103"/>
                    <a:pt x="1618" y="102"/>
                  </a:cubicBezTo>
                  <a:cubicBezTo>
                    <a:pt x="1611" y="100"/>
                    <a:pt x="1590" y="102"/>
                    <a:pt x="1588" y="100"/>
                  </a:cubicBezTo>
                  <a:cubicBezTo>
                    <a:pt x="1585" y="97"/>
                    <a:pt x="1581" y="96"/>
                    <a:pt x="1578" y="95"/>
                  </a:cubicBezTo>
                  <a:cubicBezTo>
                    <a:pt x="1574" y="80"/>
                    <a:pt x="1555" y="81"/>
                    <a:pt x="1546" y="93"/>
                  </a:cubicBezTo>
                  <a:cubicBezTo>
                    <a:pt x="1553" y="92"/>
                    <a:pt x="1561" y="95"/>
                    <a:pt x="1569" y="96"/>
                  </a:cubicBezTo>
                  <a:cubicBezTo>
                    <a:pt x="1558" y="100"/>
                    <a:pt x="1549" y="113"/>
                    <a:pt x="1543" y="121"/>
                  </a:cubicBezTo>
                  <a:cubicBezTo>
                    <a:pt x="1539" y="126"/>
                    <a:pt x="1493" y="129"/>
                    <a:pt x="1486" y="128"/>
                  </a:cubicBezTo>
                  <a:cubicBezTo>
                    <a:pt x="1475" y="125"/>
                    <a:pt x="1477" y="117"/>
                    <a:pt x="1464" y="119"/>
                  </a:cubicBezTo>
                  <a:cubicBezTo>
                    <a:pt x="1458" y="120"/>
                    <a:pt x="1453" y="136"/>
                    <a:pt x="1443" y="133"/>
                  </a:cubicBezTo>
                  <a:cubicBezTo>
                    <a:pt x="1420" y="125"/>
                    <a:pt x="1449" y="92"/>
                    <a:pt x="1431" y="88"/>
                  </a:cubicBezTo>
                  <a:cubicBezTo>
                    <a:pt x="1417" y="84"/>
                    <a:pt x="1375" y="66"/>
                    <a:pt x="1379" y="96"/>
                  </a:cubicBezTo>
                  <a:cubicBezTo>
                    <a:pt x="1360" y="80"/>
                    <a:pt x="1334" y="103"/>
                    <a:pt x="1316" y="89"/>
                  </a:cubicBezTo>
                  <a:cubicBezTo>
                    <a:pt x="1302" y="79"/>
                    <a:pt x="1263" y="87"/>
                    <a:pt x="1260" y="68"/>
                  </a:cubicBezTo>
                  <a:cubicBezTo>
                    <a:pt x="1251" y="81"/>
                    <a:pt x="1238" y="84"/>
                    <a:pt x="1226" y="93"/>
                  </a:cubicBezTo>
                  <a:cubicBezTo>
                    <a:pt x="1221" y="68"/>
                    <a:pt x="1270" y="68"/>
                    <a:pt x="1281" y="50"/>
                  </a:cubicBezTo>
                  <a:cubicBezTo>
                    <a:pt x="1290" y="35"/>
                    <a:pt x="1282" y="32"/>
                    <a:pt x="1271" y="26"/>
                  </a:cubicBezTo>
                  <a:cubicBezTo>
                    <a:pt x="1260" y="21"/>
                    <a:pt x="1243" y="15"/>
                    <a:pt x="1231" y="21"/>
                  </a:cubicBezTo>
                  <a:cubicBezTo>
                    <a:pt x="1218" y="28"/>
                    <a:pt x="1213" y="6"/>
                    <a:pt x="1204" y="6"/>
                  </a:cubicBezTo>
                  <a:cubicBezTo>
                    <a:pt x="1197" y="7"/>
                    <a:pt x="1195" y="0"/>
                    <a:pt x="1188" y="5"/>
                  </a:cubicBezTo>
                  <a:cubicBezTo>
                    <a:pt x="1183" y="9"/>
                    <a:pt x="1179" y="10"/>
                    <a:pt x="1173" y="11"/>
                  </a:cubicBezTo>
                  <a:cubicBezTo>
                    <a:pt x="1168" y="11"/>
                    <a:pt x="1113" y="59"/>
                    <a:pt x="1114" y="29"/>
                  </a:cubicBezTo>
                  <a:cubicBezTo>
                    <a:pt x="1102" y="40"/>
                    <a:pt x="1081" y="36"/>
                    <a:pt x="1065" y="40"/>
                  </a:cubicBezTo>
                  <a:cubicBezTo>
                    <a:pt x="1057" y="43"/>
                    <a:pt x="1051" y="48"/>
                    <a:pt x="1044" y="49"/>
                  </a:cubicBezTo>
                  <a:cubicBezTo>
                    <a:pt x="1028" y="52"/>
                    <a:pt x="1033" y="54"/>
                    <a:pt x="1024" y="65"/>
                  </a:cubicBezTo>
                  <a:cubicBezTo>
                    <a:pt x="1008" y="83"/>
                    <a:pt x="1002" y="71"/>
                    <a:pt x="982" y="76"/>
                  </a:cubicBezTo>
                  <a:cubicBezTo>
                    <a:pt x="968" y="79"/>
                    <a:pt x="950" y="94"/>
                    <a:pt x="964" y="109"/>
                  </a:cubicBezTo>
                  <a:cubicBezTo>
                    <a:pt x="945" y="121"/>
                    <a:pt x="931" y="93"/>
                    <a:pt x="914" y="122"/>
                  </a:cubicBezTo>
                  <a:cubicBezTo>
                    <a:pt x="912" y="114"/>
                    <a:pt x="910" y="107"/>
                    <a:pt x="906" y="100"/>
                  </a:cubicBezTo>
                  <a:cubicBezTo>
                    <a:pt x="904" y="111"/>
                    <a:pt x="892" y="114"/>
                    <a:pt x="882" y="117"/>
                  </a:cubicBezTo>
                  <a:cubicBezTo>
                    <a:pt x="901" y="126"/>
                    <a:pt x="891" y="133"/>
                    <a:pt x="892" y="149"/>
                  </a:cubicBezTo>
                  <a:cubicBezTo>
                    <a:pt x="893" y="156"/>
                    <a:pt x="906" y="191"/>
                    <a:pt x="886" y="177"/>
                  </a:cubicBezTo>
                  <a:cubicBezTo>
                    <a:pt x="889" y="180"/>
                    <a:pt x="880" y="156"/>
                    <a:pt x="880" y="158"/>
                  </a:cubicBezTo>
                  <a:cubicBezTo>
                    <a:pt x="879" y="149"/>
                    <a:pt x="881" y="142"/>
                    <a:pt x="881" y="134"/>
                  </a:cubicBezTo>
                  <a:cubicBezTo>
                    <a:pt x="880" y="125"/>
                    <a:pt x="872" y="124"/>
                    <a:pt x="875" y="115"/>
                  </a:cubicBezTo>
                  <a:cubicBezTo>
                    <a:pt x="878" y="107"/>
                    <a:pt x="881" y="104"/>
                    <a:pt x="876" y="96"/>
                  </a:cubicBezTo>
                  <a:cubicBezTo>
                    <a:pt x="874" y="98"/>
                    <a:pt x="871" y="99"/>
                    <a:pt x="869" y="100"/>
                  </a:cubicBezTo>
                  <a:cubicBezTo>
                    <a:pt x="866" y="98"/>
                    <a:pt x="863" y="95"/>
                    <a:pt x="860" y="93"/>
                  </a:cubicBezTo>
                  <a:cubicBezTo>
                    <a:pt x="857" y="96"/>
                    <a:pt x="856" y="99"/>
                    <a:pt x="855" y="102"/>
                  </a:cubicBezTo>
                  <a:cubicBezTo>
                    <a:pt x="844" y="104"/>
                    <a:pt x="834" y="105"/>
                    <a:pt x="828" y="119"/>
                  </a:cubicBezTo>
                  <a:cubicBezTo>
                    <a:pt x="815" y="150"/>
                    <a:pt x="835" y="148"/>
                    <a:pt x="844" y="175"/>
                  </a:cubicBezTo>
                  <a:cubicBezTo>
                    <a:pt x="822" y="180"/>
                    <a:pt x="761" y="128"/>
                    <a:pt x="763" y="174"/>
                  </a:cubicBezTo>
                  <a:cubicBezTo>
                    <a:pt x="763" y="187"/>
                    <a:pt x="744" y="171"/>
                    <a:pt x="744" y="171"/>
                  </a:cubicBezTo>
                  <a:cubicBezTo>
                    <a:pt x="736" y="172"/>
                    <a:pt x="727" y="179"/>
                    <a:pt x="722" y="179"/>
                  </a:cubicBezTo>
                  <a:cubicBezTo>
                    <a:pt x="716" y="177"/>
                    <a:pt x="715" y="176"/>
                    <a:pt x="709" y="180"/>
                  </a:cubicBezTo>
                  <a:cubicBezTo>
                    <a:pt x="699" y="186"/>
                    <a:pt x="706" y="176"/>
                    <a:pt x="697" y="175"/>
                  </a:cubicBezTo>
                  <a:cubicBezTo>
                    <a:pt x="692" y="175"/>
                    <a:pt x="692" y="166"/>
                    <a:pt x="686" y="171"/>
                  </a:cubicBezTo>
                  <a:cubicBezTo>
                    <a:pt x="682" y="174"/>
                    <a:pt x="681" y="177"/>
                    <a:pt x="677" y="176"/>
                  </a:cubicBezTo>
                  <a:cubicBezTo>
                    <a:pt x="663" y="173"/>
                    <a:pt x="665" y="182"/>
                    <a:pt x="655" y="188"/>
                  </a:cubicBezTo>
                  <a:cubicBezTo>
                    <a:pt x="657" y="187"/>
                    <a:pt x="627" y="203"/>
                    <a:pt x="632" y="203"/>
                  </a:cubicBezTo>
                  <a:cubicBezTo>
                    <a:pt x="606" y="204"/>
                    <a:pt x="624" y="165"/>
                    <a:pt x="600" y="180"/>
                  </a:cubicBezTo>
                  <a:cubicBezTo>
                    <a:pt x="598" y="182"/>
                    <a:pt x="597" y="201"/>
                    <a:pt x="599" y="205"/>
                  </a:cubicBezTo>
                  <a:cubicBezTo>
                    <a:pt x="605" y="215"/>
                    <a:pt x="586" y="217"/>
                    <a:pt x="580" y="216"/>
                  </a:cubicBezTo>
                  <a:cubicBezTo>
                    <a:pt x="561" y="211"/>
                    <a:pt x="559" y="253"/>
                    <a:pt x="531" y="235"/>
                  </a:cubicBezTo>
                  <a:cubicBezTo>
                    <a:pt x="532" y="239"/>
                    <a:pt x="530" y="244"/>
                    <a:pt x="531" y="249"/>
                  </a:cubicBezTo>
                  <a:cubicBezTo>
                    <a:pt x="507" y="243"/>
                    <a:pt x="520" y="221"/>
                    <a:pt x="503" y="212"/>
                  </a:cubicBezTo>
                  <a:cubicBezTo>
                    <a:pt x="517" y="217"/>
                    <a:pt x="548" y="225"/>
                    <a:pt x="560" y="217"/>
                  </a:cubicBezTo>
                  <a:cubicBezTo>
                    <a:pt x="568" y="211"/>
                    <a:pt x="573" y="204"/>
                    <a:pt x="566" y="196"/>
                  </a:cubicBezTo>
                  <a:cubicBezTo>
                    <a:pt x="563" y="192"/>
                    <a:pt x="560" y="192"/>
                    <a:pt x="556" y="189"/>
                  </a:cubicBezTo>
                  <a:cubicBezTo>
                    <a:pt x="554" y="186"/>
                    <a:pt x="553" y="183"/>
                    <a:pt x="551" y="179"/>
                  </a:cubicBezTo>
                  <a:cubicBezTo>
                    <a:pt x="548" y="181"/>
                    <a:pt x="544" y="182"/>
                    <a:pt x="541" y="183"/>
                  </a:cubicBezTo>
                  <a:cubicBezTo>
                    <a:pt x="525" y="175"/>
                    <a:pt x="505" y="166"/>
                    <a:pt x="489" y="157"/>
                  </a:cubicBezTo>
                  <a:cubicBezTo>
                    <a:pt x="479" y="150"/>
                    <a:pt x="434" y="167"/>
                    <a:pt x="462" y="141"/>
                  </a:cubicBezTo>
                  <a:cubicBezTo>
                    <a:pt x="448" y="142"/>
                    <a:pt x="437" y="126"/>
                    <a:pt x="430" y="145"/>
                  </a:cubicBezTo>
                  <a:cubicBezTo>
                    <a:pt x="430" y="141"/>
                    <a:pt x="429" y="137"/>
                    <a:pt x="429" y="133"/>
                  </a:cubicBezTo>
                  <a:cubicBezTo>
                    <a:pt x="425" y="138"/>
                    <a:pt x="420" y="141"/>
                    <a:pt x="416" y="146"/>
                  </a:cubicBezTo>
                  <a:cubicBezTo>
                    <a:pt x="418" y="143"/>
                    <a:pt x="420" y="139"/>
                    <a:pt x="423" y="136"/>
                  </a:cubicBezTo>
                  <a:cubicBezTo>
                    <a:pt x="415" y="135"/>
                    <a:pt x="410" y="137"/>
                    <a:pt x="404" y="142"/>
                  </a:cubicBezTo>
                  <a:cubicBezTo>
                    <a:pt x="402" y="143"/>
                    <a:pt x="392" y="139"/>
                    <a:pt x="386" y="140"/>
                  </a:cubicBezTo>
                  <a:cubicBezTo>
                    <a:pt x="388" y="141"/>
                    <a:pt x="389" y="142"/>
                    <a:pt x="391" y="144"/>
                  </a:cubicBezTo>
                  <a:cubicBezTo>
                    <a:pt x="384" y="147"/>
                    <a:pt x="383" y="148"/>
                    <a:pt x="377" y="153"/>
                  </a:cubicBezTo>
                  <a:cubicBezTo>
                    <a:pt x="377" y="151"/>
                    <a:pt x="377" y="149"/>
                    <a:pt x="377" y="147"/>
                  </a:cubicBezTo>
                  <a:cubicBezTo>
                    <a:pt x="369" y="152"/>
                    <a:pt x="369" y="148"/>
                    <a:pt x="365" y="156"/>
                  </a:cubicBezTo>
                  <a:cubicBezTo>
                    <a:pt x="365" y="154"/>
                    <a:pt x="365" y="153"/>
                    <a:pt x="365" y="152"/>
                  </a:cubicBezTo>
                  <a:cubicBezTo>
                    <a:pt x="352" y="158"/>
                    <a:pt x="344" y="156"/>
                    <a:pt x="335" y="167"/>
                  </a:cubicBezTo>
                  <a:cubicBezTo>
                    <a:pt x="338" y="166"/>
                    <a:pt x="341" y="165"/>
                    <a:pt x="344" y="164"/>
                  </a:cubicBezTo>
                  <a:cubicBezTo>
                    <a:pt x="341" y="171"/>
                    <a:pt x="335" y="175"/>
                    <a:pt x="329" y="175"/>
                  </a:cubicBezTo>
                  <a:cubicBezTo>
                    <a:pt x="325" y="182"/>
                    <a:pt x="323" y="190"/>
                    <a:pt x="317" y="195"/>
                  </a:cubicBezTo>
                  <a:cubicBezTo>
                    <a:pt x="309" y="201"/>
                    <a:pt x="295" y="204"/>
                    <a:pt x="295" y="215"/>
                  </a:cubicBezTo>
                  <a:cubicBezTo>
                    <a:pt x="295" y="233"/>
                    <a:pt x="268" y="247"/>
                    <a:pt x="255" y="256"/>
                  </a:cubicBezTo>
                  <a:cubicBezTo>
                    <a:pt x="257" y="257"/>
                    <a:pt x="260" y="257"/>
                    <a:pt x="263" y="258"/>
                  </a:cubicBezTo>
                  <a:cubicBezTo>
                    <a:pt x="245" y="260"/>
                    <a:pt x="196" y="302"/>
                    <a:pt x="230" y="312"/>
                  </a:cubicBezTo>
                  <a:cubicBezTo>
                    <a:pt x="227" y="314"/>
                    <a:pt x="224" y="319"/>
                    <a:pt x="221" y="321"/>
                  </a:cubicBezTo>
                  <a:cubicBezTo>
                    <a:pt x="234" y="319"/>
                    <a:pt x="233" y="325"/>
                    <a:pt x="221" y="330"/>
                  </a:cubicBezTo>
                  <a:cubicBezTo>
                    <a:pt x="235" y="342"/>
                    <a:pt x="264" y="337"/>
                    <a:pt x="271" y="319"/>
                  </a:cubicBezTo>
                  <a:cubicBezTo>
                    <a:pt x="274" y="322"/>
                    <a:pt x="276" y="326"/>
                    <a:pt x="279" y="329"/>
                  </a:cubicBezTo>
                  <a:cubicBezTo>
                    <a:pt x="277" y="328"/>
                    <a:pt x="287" y="346"/>
                    <a:pt x="287" y="346"/>
                  </a:cubicBezTo>
                  <a:cubicBezTo>
                    <a:pt x="289" y="361"/>
                    <a:pt x="290" y="368"/>
                    <a:pt x="299" y="383"/>
                  </a:cubicBezTo>
                  <a:cubicBezTo>
                    <a:pt x="319" y="372"/>
                    <a:pt x="329" y="363"/>
                    <a:pt x="330" y="343"/>
                  </a:cubicBezTo>
                  <a:cubicBezTo>
                    <a:pt x="331" y="329"/>
                    <a:pt x="346" y="331"/>
                    <a:pt x="350" y="319"/>
                  </a:cubicBezTo>
                  <a:cubicBezTo>
                    <a:pt x="354" y="306"/>
                    <a:pt x="339" y="305"/>
                    <a:pt x="338" y="294"/>
                  </a:cubicBezTo>
                  <a:cubicBezTo>
                    <a:pt x="336" y="268"/>
                    <a:pt x="358" y="263"/>
                    <a:pt x="375" y="248"/>
                  </a:cubicBezTo>
                  <a:cubicBezTo>
                    <a:pt x="385" y="240"/>
                    <a:pt x="373" y="234"/>
                    <a:pt x="390" y="226"/>
                  </a:cubicBezTo>
                  <a:cubicBezTo>
                    <a:pt x="405" y="220"/>
                    <a:pt x="409" y="221"/>
                    <a:pt x="421" y="233"/>
                  </a:cubicBezTo>
                  <a:cubicBezTo>
                    <a:pt x="407" y="238"/>
                    <a:pt x="353" y="277"/>
                    <a:pt x="381" y="288"/>
                  </a:cubicBezTo>
                  <a:cubicBezTo>
                    <a:pt x="358" y="300"/>
                    <a:pt x="398" y="313"/>
                    <a:pt x="407" y="312"/>
                  </a:cubicBezTo>
                  <a:cubicBezTo>
                    <a:pt x="430" y="310"/>
                    <a:pt x="438" y="293"/>
                    <a:pt x="456" y="312"/>
                  </a:cubicBezTo>
                  <a:cubicBezTo>
                    <a:pt x="438" y="329"/>
                    <a:pt x="410" y="306"/>
                    <a:pt x="397" y="330"/>
                  </a:cubicBezTo>
                  <a:cubicBezTo>
                    <a:pt x="415" y="337"/>
                    <a:pt x="400" y="359"/>
                    <a:pt x="390" y="344"/>
                  </a:cubicBezTo>
                  <a:cubicBezTo>
                    <a:pt x="390" y="342"/>
                    <a:pt x="391" y="341"/>
                    <a:pt x="392" y="340"/>
                  </a:cubicBezTo>
                  <a:cubicBezTo>
                    <a:pt x="392" y="336"/>
                    <a:pt x="397" y="335"/>
                    <a:pt x="391" y="332"/>
                  </a:cubicBezTo>
                  <a:cubicBezTo>
                    <a:pt x="388" y="337"/>
                    <a:pt x="390" y="335"/>
                    <a:pt x="390" y="340"/>
                  </a:cubicBezTo>
                  <a:cubicBezTo>
                    <a:pt x="387" y="341"/>
                    <a:pt x="385" y="342"/>
                    <a:pt x="382" y="342"/>
                  </a:cubicBezTo>
                  <a:cubicBezTo>
                    <a:pt x="383" y="343"/>
                    <a:pt x="384" y="344"/>
                    <a:pt x="384" y="345"/>
                  </a:cubicBezTo>
                  <a:cubicBezTo>
                    <a:pt x="375" y="357"/>
                    <a:pt x="363" y="389"/>
                    <a:pt x="365" y="393"/>
                  </a:cubicBezTo>
                  <a:cubicBezTo>
                    <a:pt x="361" y="393"/>
                    <a:pt x="354" y="394"/>
                    <a:pt x="350" y="393"/>
                  </a:cubicBezTo>
                  <a:cubicBezTo>
                    <a:pt x="351" y="390"/>
                    <a:pt x="353" y="388"/>
                    <a:pt x="354" y="386"/>
                  </a:cubicBezTo>
                  <a:cubicBezTo>
                    <a:pt x="340" y="380"/>
                    <a:pt x="336" y="392"/>
                    <a:pt x="324" y="396"/>
                  </a:cubicBezTo>
                  <a:cubicBezTo>
                    <a:pt x="315" y="399"/>
                    <a:pt x="301" y="400"/>
                    <a:pt x="302" y="391"/>
                  </a:cubicBezTo>
                  <a:cubicBezTo>
                    <a:pt x="297" y="390"/>
                    <a:pt x="292" y="391"/>
                    <a:pt x="287" y="394"/>
                  </a:cubicBezTo>
                  <a:cubicBezTo>
                    <a:pt x="291" y="390"/>
                    <a:pt x="294" y="385"/>
                    <a:pt x="293" y="380"/>
                  </a:cubicBezTo>
                  <a:cubicBezTo>
                    <a:pt x="288" y="368"/>
                    <a:pt x="271" y="383"/>
                    <a:pt x="285" y="390"/>
                  </a:cubicBezTo>
                  <a:cubicBezTo>
                    <a:pt x="284" y="392"/>
                    <a:pt x="282" y="393"/>
                    <a:pt x="281" y="395"/>
                  </a:cubicBezTo>
                  <a:cubicBezTo>
                    <a:pt x="281" y="396"/>
                    <a:pt x="282" y="397"/>
                    <a:pt x="283" y="396"/>
                  </a:cubicBezTo>
                  <a:cubicBezTo>
                    <a:pt x="281" y="398"/>
                    <a:pt x="280" y="399"/>
                    <a:pt x="278" y="400"/>
                  </a:cubicBezTo>
                  <a:cubicBezTo>
                    <a:pt x="268" y="393"/>
                    <a:pt x="255" y="375"/>
                    <a:pt x="276" y="366"/>
                  </a:cubicBezTo>
                  <a:cubicBezTo>
                    <a:pt x="269" y="361"/>
                    <a:pt x="270" y="352"/>
                    <a:pt x="274" y="344"/>
                  </a:cubicBezTo>
                  <a:cubicBezTo>
                    <a:pt x="267" y="352"/>
                    <a:pt x="244" y="357"/>
                    <a:pt x="249" y="371"/>
                  </a:cubicBezTo>
                  <a:cubicBezTo>
                    <a:pt x="251" y="379"/>
                    <a:pt x="252" y="386"/>
                    <a:pt x="254" y="393"/>
                  </a:cubicBezTo>
                  <a:cubicBezTo>
                    <a:pt x="258" y="407"/>
                    <a:pt x="248" y="401"/>
                    <a:pt x="242" y="403"/>
                  </a:cubicBezTo>
                  <a:cubicBezTo>
                    <a:pt x="229" y="409"/>
                    <a:pt x="226" y="408"/>
                    <a:pt x="218" y="417"/>
                  </a:cubicBezTo>
                  <a:cubicBezTo>
                    <a:pt x="207" y="430"/>
                    <a:pt x="209" y="439"/>
                    <a:pt x="187" y="437"/>
                  </a:cubicBezTo>
                  <a:cubicBezTo>
                    <a:pt x="193" y="460"/>
                    <a:pt x="172" y="447"/>
                    <a:pt x="168" y="463"/>
                  </a:cubicBezTo>
                  <a:cubicBezTo>
                    <a:pt x="164" y="459"/>
                    <a:pt x="157" y="458"/>
                    <a:pt x="153" y="454"/>
                  </a:cubicBezTo>
                  <a:cubicBezTo>
                    <a:pt x="155" y="457"/>
                    <a:pt x="155" y="460"/>
                    <a:pt x="159" y="464"/>
                  </a:cubicBezTo>
                  <a:cubicBezTo>
                    <a:pt x="149" y="478"/>
                    <a:pt x="138" y="464"/>
                    <a:pt x="125" y="473"/>
                  </a:cubicBezTo>
                  <a:cubicBezTo>
                    <a:pt x="132" y="479"/>
                    <a:pt x="140" y="485"/>
                    <a:pt x="150" y="485"/>
                  </a:cubicBezTo>
                  <a:cubicBezTo>
                    <a:pt x="155" y="485"/>
                    <a:pt x="162" y="503"/>
                    <a:pt x="164" y="508"/>
                  </a:cubicBezTo>
                  <a:cubicBezTo>
                    <a:pt x="163" y="509"/>
                    <a:pt x="161" y="509"/>
                    <a:pt x="159" y="509"/>
                  </a:cubicBezTo>
                  <a:cubicBezTo>
                    <a:pt x="178" y="525"/>
                    <a:pt x="148" y="534"/>
                    <a:pt x="135" y="531"/>
                  </a:cubicBezTo>
                  <a:cubicBezTo>
                    <a:pt x="129" y="529"/>
                    <a:pt x="123" y="530"/>
                    <a:pt x="117" y="530"/>
                  </a:cubicBezTo>
                  <a:cubicBezTo>
                    <a:pt x="113" y="530"/>
                    <a:pt x="109" y="534"/>
                    <a:pt x="105" y="534"/>
                  </a:cubicBezTo>
                  <a:cubicBezTo>
                    <a:pt x="101" y="534"/>
                    <a:pt x="98" y="527"/>
                    <a:pt x="96" y="527"/>
                  </a:cubicBezTo>
                  <a:cubicBezTo>
                    <a:pt x="89" y="529"/>
                    <a:pt x="77" y="534"/>
                    <a:pt x="81" y="542"/>
                  </a:cubicBezTo>
                  <a:cubicBezTo>
                    <a:pt x="88" y="554"/>
                    <a:pt x="83" y="558"/>
                    <a:pt x="82" y="570"/>
                  </a:cubicBezTo>
                  <a:cubicBezTo>
                    <a:pt x="81" y="584"/>
                    <a:pt x="87" y="597"/>
                    <a:pt x="87" y="611"/>
                  </a:cubicBezTo>
                  <a:cubicBezTo>
                    <a:pt x="103" y="591"/>
                    <a:pt x="110" y="622"/>
                    <a:pt x="121" y="616"/>
                  </a:cubicBezTo>
                  <a:cubicBezTo>
                    <a:pt x="134" y="609"/>
                    <a:pt x="147" y="613"/>
                    <a:pt x="159" y="603"/>
                  </a:cubicBezTo>
                  <a:cubicBezTo>
                    <a:pt x="173" y="590"/>
                    <a:pt x="167" y="573"/>
                    <a:pt x="181" y="562"/>
                  </a:cubicBezTo>
                  <a:cubicBezTo>
                    <a:pt x="187" y="558"/>
                    <a:pt x="198" y="556"/>
                    <a:pt x="202" y="549"/>
                  </a:cubicBezTo>
                  <a:cubicBezTo>
                    <a:pt x="202" y="548"/>
                    <a:pt x="190" y="530"/>
                    <a:pt x="206" y="532"/>
                  </a:cubicBezTo>
                  <a:cubicBezTo>
                    <a:pt x="216" y="534"/>
                    <a:pt x="220" y="537"/>
                    <a:pt x="230" y="534"/>
                  </a:cubicBezTo>
                  <a:cubicBezTo>
                    <a:pt x="238" y="533"/>
                    <a:pt x="242" y="526"/>
                    <a:pt x="247" y="524"/>
                  </a:cubicBezTo>
                  <a:cubicBezTo>
                    <a:pt x="253" y="523"/>
                    <a:pt x="265" y="523"/>
                    <a:pt x="270" y="526"/>
                  </a:cubicBezTo>
                  <a:cubicBezTo>
                    <a:pt x="279" y="529"/>
                    <a:pt x="268" y="540"/>
                    <a:pt x="279" y="546"/>
                  </a:cubicBezTo>
                  <a:cubicBezTo>
                    <a:pt x="292" y="553"/>
                    <a:pt x="308" y="557"/>
                    <a:pt x="315" y="568"/>
                  </a:cubicBezTo>
                  <a:cubicBezTo>
                    <a:pt x="318" y="574"/>
                    <a:pt x="324" y="575"/>
                    <a:pt x="327" y="582"/>
                  </a:cubicBezTo>
                  <a:cubicBezTo>
                    <a:pt x="331" y="588"/>
                    <a:pt x="320" y="589"/>
                    <a:pt x="324" y="598"/>
                  </a:cubicBezTo>
                  <a:cubicBezTo>
                    <a:pt x="337" y="588"/>
                    <a:pt x="327" y="575"/>
                    <a:pt x="338" y="564"/>
                  </a:cubicBezTo>
                  <a:cubicBezTo>
                    <a:pt x="341" y="568"/>
                    <a:pt x="346" y="569"/>
                    <a:pt x="348" y="573"/>
                  </a:cubicBezTo>
                  <a:cubicBezTo>
                    <a:pt x="347" y="560"/>
                    <a:pt x="337" y="558"/>
                    <a:pt x="327" y="554"/>
                  </a:cubicBezTo>
                  <a:cubicBezTo>
                    <a:pt x="322" y="552"/>
                    <a:pt x="334" y="548"/>
                    <a:pt x="323" y="547"/>
                  </a:cubicBezTo>
                  <a:cubicBezTo>
                    <a:pt x="323" y="547"/>
                    <a:pt x="312" y="549"/>
                    <a:pt x="312" y="550"/>
                  </a:cubicBezTo>
                  <a:cubicBezTo>
                    <a:pt x="301" y="541"/>
                    <a:pt x="297" y="521"/>
                    <a:pt x="287" y="510"/>
                  </a:cubicBezTo>
                  <a:cubicBezTo>
                    <a:pt x="294" y="504"/>
                    <a:pt x="317" y="507"/>
                    <a:pt x="318" y="514"/>
                  </a:cubicBezTo>
                  <a:cubicBezTo>
                    <a:pt x="319" y="537"/>
                    <a:pt x="330" y="531"/>
                    <a:pt x="345" y="536"/>
                  </a:cubicBezTo>
                  <a:cubicBezTo>
                    <a:pt x="358" y="540"/>
                    <a:pt x="358" y="559"/>
                    <a:pt x="360" y="569"/>
                  </a:cubicBezTo>
                  <a:cubicBezTo>
                    <a:pt x="362" y="579"/>
                    <a:pt x="371" y="574"/>
                    <a:pt x="374" y="587"/>
                  </a:cubicBezTo>
                  <a:cubicBezTo>
                    <a:pt x="374" y="589"/>
                    <a:pt x="380" y="593"/>
                    <a:pt x="384" y="594"/>
                  </a:cubicBezTo>
                  <a:cubicBezTo>
                    <a:pt x="373" y="605"/>
                    <a:pt x="385" y="611"/>
                    <a:pt x="397" y="608"/>
                  </a:cubicBezTo>
                  <a:cubicBezTo>
                    <a:pt x="394" y="602"/>
                    <a:pt x="394" y="597"/>
                    <a:pt x="391" y="591"/>
                  </a:cubicBezTo>
                  <a:cubicBezTo>
                    <a:pt x="395" y="595"/>
                    <a:pt x="400" y="596"/>
                    <a:pt x="404" y="600"/>
                  </a:cubicBezTo>
                  <a:cubicBezTo>
                    <a:pt x="405" y="598"/>
                    <a:pt x="407" y="594"/>
                    <a:pt x="408" y="593"/>
                  </a:cubicBezTo>
                  <a:cubicBezTo>
                    <a:pt x="402" y="591"/>
                    <a:pt x="397" y="586"/>
                    <a:pt x="391" y="584"/>
                  </a:cubicBezTo>
                  <a:cubicBezTo>
                    <a:pt x="393" y="582"/>
                    <a:pt x="395" y="581"/>
                    <a:pt x="398" y="579"/>
                  </a:cubicBezTo>
                  <a:cubicBezTo>
                    <a:pt x="394" y="577"/>
                    <a:pt x="391" y="575"/>
                    <a:pt x="388" y="573"/>
                  </a:cubicBezTo>
                  <a:cubicBezTo>
                    <a:pt x="393" y="574"/>
                    <a:pt x="398" y="573"/>
                    <a:pt x="403" y="575"/>
                  </a:cubicBezTo>
                  <a:cubicBezTo>
                    <a:pt x="397" y="563"/>
                    <a:pt x="408" y="557"/>
                    <a:pt x="419" y="561"/>
                  </a:cubicBezTo>
                  <a:cubicBezTo>
                    <a:pt x="429" y="564"/>
                    <a:pt x="433" y="558"/>
                    <a:pt x="442" y="561"/>
                  </a:cubicBezTo>
                  <a:cubicBezTo>
                    <a:pt x="454" y="563"/>
                    <a:pt x="446" y="554"/>
                    <a:pt x="443" y="548"/>
                  </a:cubicBezTo>
                  <a:cubicBezTo>
                    <a:pt x="439" y="542"/>
                    <a:pt x="444" y="543"/>
                    <a:pt x="444" y="536"/>
                  </a:cubicBezTo>
                  <a:cubicBezTo>
                    <a:pt x="447" y="534"/>
                    <a:pt x="449" y="532"/>
                    <a:pt x="452" y="530"/>
                  </a:cubicBezTo>
                  <a:cubicBezTo>
                    <a:pt x="450" y="527"/>
                    <a:pt x="449" y="523"/>
                    <a:pt x="448" y="520"/>
                  </a:cubicBezTo>
                  <a:cubicBezTo>
                    <a:pt x="474" y="469"/>
                    <a:pt x="496" y="538"/>
                    <a:pt x="522" y="508"/>
                  </a:cubicBezTo>
                  <a:cubicBezTo>
                    <a:pt x="516" y="506"/>
                    <a:pt x="512" y="503"/>
                    <a:pt x="506" y="502"/>
                  </a:cubicBezTo>
                  <a:cubicBezTo>
                    <a:pt x="515" y="500"/>
                    <a:pt x="518" y="494"/>
                    <a:pt x="526" y="491"/>
                  </a:cubicBezTo>
                  <a:cubicBezTo>
                    <a:pt x="533" y="488"/>
                    <a:pt x="536" y="494"/>
                    <a:pt x="541" y="490"/>
                  </a:cubicBezTo>
                  <a:cubicBezTo>
                    <a:pt x="536" y="497"/>
                    <a:pt x="541" y="504"/>
                    <a:pt x="525" y="508"/>
                  </a:cubicBezTo>
                  <a:cubicBezTo>
                    <a:pt x="542" y="520"/>
                    <a:pt x="559" y="537"/>
                    <a:pt x="578" y="544"/>
                  </a:cubicBezTo>
                  <a:cubicBezTo>
                    <a:pt x="577" y="548"/>
                    <a:pt x="576" y="551"/>
                    <a:pt x="574" y="554"/>
                  </a:cubicBezTo>
                  <a:cubicBezTo>
                    <a:pt x="579" y="555"/>
                    <a:pt x="576" y="551"/>
                    <a:pt x="579" y="556"/>
                  </a:cubicBezTo>
                  <a:cubicBezTo>
                    <a:pt x="565" y="558"/>
                    <a:pt x="551" y="560"/>
                    <a:pt x="536" y="558"/>
                  </a:cubicBezTo>
                  <a:cubicBezTo>
                    <a:pt x="523" y="556"/>
                    <a:pt x="507" y="540"/>
                    <a:pt x="492" y="552"/>
                  </a:cubicBezTo>
                  <a:cubicBezTo>
                    <a:pt x="482" y="559"/>
                    <a:pt x="467" y="556"/>
                    <a:pt x="456" y="560"/>
                  </a:cubicBezTo>
                  <a:cubicBezTo>
                    <a:pt x="448" y="563"/>
                    <a:pt x="425" y="570"/>
                    <a:pt x="422" y="576"/>
                  </a:cubicBezTo>
                  <a:cubicBezTo>
                    <a:pt x="426" y="575"/>
                    <a:pt x="430" y="577"/>
                    <a:pt x="434" y="576"/>
                  </a:cubicBezTo>
                  <a:cubicBezTo>
                    <a:pt x="425" y="590"/>
                    <a:pt x="437" y="603"/>
                    <a:pt x="442" y="607"/>
                  </a:cubicBezTo>
                  <a:cubicBezTo>
                    <a:pt x="448" y="620"/>
                    <a:pt x="466" y="610"/>
                    <a:pt x="479" y="613"/>
                  </a:cubicBezTo>
                  <a:cubicBezTo>
                    <a:pt x="501" y="617"/>
                    <a:pt x="504" y="612"/>
                    <a:pt x="523" y="608"/>
                  </a:cubicBezTo>
                  <a:cubicBezTo>
                    <a:pt x="520" y="616"/>
                    <a:pt x="516" y="624"/>
                    <a:pt x="524" y="630"/>
                  </a:cubicBezTo>
                  <a:cubicBezTo>
                    <a:pt x="506" y="638"/>
                    <a:pt x="517" y="661"/>
                    <a:pt x="507" y="670"/>
                  </a:cubicBezTo>
                  <a:cubicBezTo>
                    <a:pt x="502" y="675"/>
                    <a:pt x="492" y="672"/>
                    <a:pt x="486" y="673"/>
                  </a:cubicBezTo>
                  <a:cubicBezTo>
                    <a:pt x="481" y="673"/>
                    <a:pt x="477" y="672"/>
                    <a:pt x="473" y="671"/>
                  </a:cubicBezTo>
                  <a:cubicBezTo>
                    <a:pt x="464" y="669"/>
                    <a:pt x="467" y="677"/>
                    <a:pt x="461" y="677"/>
                  </a:cubicBezTo>
                  <a:cubicBezTo>
                    <a:pt x="453" y="677"/>
                    <a:pt x="448" y="671"/>
                    <a:pt x="437" y="673"/>
                  </a:cubicBezTo>
                  <a:cubicBezTo>
                    <a:pt x="435" y="674"/>
                    <a:pt x="416" y="667"/>
                    <a:pt x="413" y="666"/>
                  </a:cubicBezTo>
                  <a:cubicBezTo>
                    <a:pt x="402" y="660"/>
                    <a:pt x="390" y="650"/>
                    <a:pt x="383" y="649"/>
                  </a:cubicBezTo>
                  <a:cubicBezTo>
                    <a:pt x="377" y="661"/>
                    <a:pt x="353" y="660"/>
                    <a:pt x="368" y="675"/>
                  </a:cubicBezTo>
                  <a:cubicBezTo>
                    <a:pt x="360" y="678"/>
                    <a:pt x="351" y="682"/>
                    <a:pt x="344" y="676"/>
                  </a:cubicBezTo>
                  <a:cubicBezTo>
                    <a:pt x="339" y="671"/>
                    <a:pt x="338" y="672"/>
                    <a:pt x="332" y="672"/>
                  </a:cubicBezTo>
                  <a:cubicBezTo>
                    <a:pt x="325" y="672"/>
                    <a:pt x="331" y="662"/>
                    <a:pt x="326" y="661"/>
                  </a:cubicBezTo>
                  <a:cubicBezTo>
                    <a:pt x="319" y="657"/>
                    <a:pt x="303" y="649"/>
                    <a:pt x="296" y="649"/>
                  </a:cubicBezTo>
                  <a:cubicBezTo>
                    <a:pt x="283" y="651"/>
                    <a:pt x="282" y="644"/>
                    <a:pt x="272" y="636"/>
                  </a:cubicBezTo>
                  <a:cubicBezTo>
                    <a:pt x="285" y="630"/>
                    <a:pt x="274" y="617"/>
                    <a:pt x="284" y="605"/>
                  </a:cubicBezTo>
                  <a:cubicBezTo>
                    <a:pt x="272" y="609"/>
                    <a:pt x="256" y="604"/>
                    <a:pt x="242" y="605"/>
                  </a:cubicBezTo>
                  <a:cubicBezTo>
                    <a:pt x="227" y="606"/>
                    <a:pt x="211" y="609"/>
                    <a:pt x="196" y="610"/>
                  </a:cubicBezTo>
                  <a:cubicBezTo>
                    <a:pt x="189" y="611"/>
                    <a:pt x="177" y="612"/>
                    <a:pt x="172" y="616"/>
                  </a:cubicBezTo>
                  <a:cubicBezTo>
                    <a:pt x="168" y="621"/>
                    <a:pt x="156" y="631"/>
                    <a:pt x="152" y="628"/>
                  </a:cubicBezTo>
                  <a:cubicBezTo>
                    <a:pt x="136" y="621"/>
                    <a:pt x="120" y="621"/>
                    <a:pt x="109" y="628"/>
                  </a:cubicBezTo>
                  <a:cubicBezTo>
                    <a:pt x="104" y="632"/>
                    <a:pt x="100" y="640"/>
                    <a:pt x="95" y="645"/>
                  </a:cubicBezTo>
                  <a:cubicBezTo>
                    <a:pt x="89" y="650"/>
                    <a:pt x="94" y="653"/>
                    <a:pt x="91" y="658"/>
                  </a:cubicBezTo>
                  <a:cubicBezTo>
                    <a:pt x="88" y="662"/>
                    <a:pt x="83" y="662"/>
                    <a:pt x="79" y="667"/>
                  </a:cubicBezTo>
                  <a:cubicBezTo>
                    <a:pt x="74" y="675"/>
                    <a:pt x="84" y="677"/>
                    <a:pt x="79" y="685"/>
                  </a:cubicBezTo>
                  <a:cubicBezTo>
                    <a:pt x="74" y="694"/>
                    <a:pt x="72" y="698"/>
                    <a:pt x="63" y="702"/>
                  </a:cubicBezTo>
                  <a:cubicBezTo>
                    <a:pt x="47" y="707"/>
                    <a:pt x="38" y="722"/>
                    <a:pt x="29" y="736"/>
                  </a:cubicBezTo>
                  <a:cubicBezTo>
                    <a:pt x="26" y="740"/>
                    <a:pt x="21" y="743"/>
                    <a:pt x="18" y="747"/>
                  </a:cubicBezTo>
                  <a:cubicBezTo>
                    <a:pt x="17" y="749"/>
                    <a:pt x="23" y="756"/>
                    <a:pt x="21" y="758"/>
                  </a:cubicBezTo>
                  <a:cubicBezTo>
                    <a:pt x="17" y="769"/>
                    <a:pt x="6" y="761"/>
                    <a:pt x="12" y="779"/>
                  </a:cubicBezTo>
                  <a:cubicBezTo>
                    <a:pt x="18" y="800"/>
                    <a:pt x="13" y="811"/>
                    <a:pt x="9" y="829"/>
                  </a:cubicBezTo>
                  <a:cubicBezTo>
                    <a:pt x="7" y="838"/>
                    <a:pt x="0" y="862"/>
                    <a:pt x="9" y="869"/>
                  </a:cubicBezTo>
                  <a:cubicBezTo>
                    <a:pt x="14" y="872"/>
                    <a:pt x="24" y="877"/>
                    <a:pt x="28" y="882"/>
                  </a:cubicBezTo>
                  <a:cubicBezTo>
                    <a:pt x="36" y="891"/>
                    <a:pt x="32" y="898"/>
                    <a:pt x="44" y="904"/>
                  </a:cubicBezTo>
                  <a:cubicBezTo>
                    <a:pt x="55" y="910"/>
                    <a:pt x="49" y="918"/>
                    <a:pt x="54" y="925"/>
                  </a:cubicBezTo>
                  <a:cubicBezTo>
                    <a:pt x="58" y="930"/>
                    <a:pt x="74" y="935"/>
                    <a:pt x="79" y="939"/>
                  </a:cubicBezTo>
                  <a:cubicBezTo>
                    <a:pt x="87" y="944"/>
                    <a:pt x="87" y="947"/>
                    <a:pt x="97" y="949"/>
                  </a:cubicBezTo>
                  <a:cubicBezTo>
                    <a:pt x="103" y="950"/>
                    <a:pt x="116" y="942"/>
                    <a:pt x="122" y="942"/>
                  </a:cubicBezTo>
                  <a:cubicBezTo>
                    <a:pt x="129" y="941"/>
                    <a:pt x="138" y="942"/>
                    <a:pt x="145" y="945"/>
                  </a:cubicBezTo>
                  <a:cubicBezTo>
                    <a:pt x="159" y="949"/>
                    <a:pt x="160" y="939"/>
                    <a:pt x="170" y="935"/>
                  </a:cubicBezTo>
                  <a:cubicBezTo>
                    <a:pt x="181" y="931"/>
                    <a:pt x="207" y="926"/>
                    <a:pt x="215" y="936"/>
                  </a:cubicBezTo>
                  <a:cubicBezTo>
                    <a:pt x="223" y="946"/>
                    <a:pt x="246" y="955"/>
                    <a:pt x="258" y="947"/>
                  </a:cubicBezTo>
                  <a:cubicBezTo>
                    <a:pt x="258" y="958"/>
                    <a:pt x="270" y="958"/>
                    <a:pt x="271" y="963"/>
                  </a:cubicBezTo>
                  <a:cubicBezTo>
                    <a:pt x="272" y="967"/>
                    <a:pt x="266" y="982"/>
                    <a:pt x="265" y="985"/>
                  </a:cubicBezTo>
                  <a:cubicBezTo>
                    <a:pt x="262" y="996"/>
                    <a:pt x="258" y="993"/>
                    <a:pt x="262" y="1008"/>
                  </a:cubicBezTo>
                  <a:cubicBezTo>
                    <a:pt x="265" y="1017"/>
                    <a:pt x="275" y="1031"/>
                    <a:pt x="283" y="1035"/>
                  </a:cubicBezTo>
                  <a:cubicBezTo>
                    <a:pt x="284" y="1035"/>
                    <a:pt x="299" y="1080"/>
                    <a:pt x="298" y="1083"/>
                  </a:cubicBezTo>
                  <a:cubicBezTo>
                    <a:pt x="297" y="1093"/>
                    <a:pt x="308" y="1096"/>
                    <a:pt x="308" y="1108"/>
                  </a:cubicBezTo>
                  <a:cubicBezTo>
                    <a:pt x="308" y="1116"/>
                    <a:pt x="294" y="1128"/>
                    <a:pt x="289" y="1135"/>
                  </a:cubicBezTo>
                  <a:cubicBezTo>
                    <a:pt x="282" y="1146"/>
                    <a:pt x="283" y="1179"/>
                    <a:pt x="291" y="1189"/>
                  </a:cubicBezTo>
                  <a:cubicBezTo>
                    <a:pt x="306" y="1207"/>
                    <a:pt x="306" y="1219"/>
                    <a:pt x="309" y="1242"/>
                  </a:cubicBezTo>
                  <a:cubicBezTo>
                    <a:pt x="312" y="1260"/>
                    <a:pt x="324" y="1279"/>
                    <a:pt x="332" y="1295"/>
                  </a:cubicBezTo>
                  <a:cubicBezTo>
                    <a:pt x="335" y="1300"/>
                    <a:pt x="340" y="1296"/>
                    <a:pt x="341" y="1302"/>
                  </a:cubicBezTo>
                  <a:cubicBezTo>
                    <a:pt x="342" y="1309"/>
                    <a:pt x="341" y="1311"/>
                    <a:pt x="345" y="1316"/>
                  </a:cubicBezTo>
                  <a:cubicBezTo>
                    <a:pt x="350" y="1321"/>
                    <a:pt x="350" y="1337"/>
                    <a:pt x="353" y="1345"/>
                  </a:cubicBezTo>
                  <a:cubicBezTo>
                    <a:pt x="356" y="1346"/>
                    <a:pt x="365" y="1353"/>
                    <a:pt x="370" y="1350"/>
                  </a:cubicBezTo>
                  <a:cubicBezTo>
                    <a:pt x="376" y="1346"/>
                    <a:pt x="391" y="1338"/>
                    <a:pt x="397" y="1338"/>
                  </a:cubicBezTo>
                  <a:cubicBezTo>
                    <a:pt x="409" y="1338"/>
                    <a:pt x="407" y="1349"/>
                    <a:pt x="419" y="1342"/>
                  </a:cubicBezTo>
                  <a:cubicBezTo>
                    <a:pt x="427" y="1338"/>
                    <a:pt x="435" y="1340"/>
                    <a:pt x="442" y="1333"/>
                  </a:cubicBezTo>
                  <a:cubicBezTo>
                    <a:pt x="452" y="1321"/>
                    <a:pt x="474" y="1307"/>
                    <a:pt x="476" y="1289"/>
                  </a:cubicBezTo>
                  <a:cubicBezTo>
                    <a:pt x="477" y="1278"/>
                    <a:pt x="492" y="1284"/>
                    <a:pt x="489" y="1268"/>
                  </a:cubicBezTo>
                  <a:cubicBezTo>
                    <a:pt x="487" y="1255"/>
                    <a:pt x="487" y="1259"/>
                    <a:pt x="494" y="1247"/>
                  </a:cubicBezTo>
                  <a:cubicBezTo>
                    <a:pt x="499" y="1238"/>
                    <a:pt x="512" y="1244"/>
                    <a:pt x="515" y="1239"/>
                  </a:cubicBezTo>
                  <a:cubicBezTo>
                    <a:pt x="521" y="1232"/>
                    <a:pt x="517" y="1217"/>
                    <a:pt x="515" y="1209"/>
                  </a:cubicBezTo>
                  <a:cubicBezTo>
                    <a:pt x="513" y="1198"/>
                    <a:pt x="504" y="1198"/>
                    <a:pt x="509" y="1185"/>
                  </a:cubicBezTo>
                  <a:cubicBezTo>
                    <a:pt x="511" y="1180"/>
                    <a:pt x="522" y="1174"/>
                    <a:pt x="528" y="1174"/>
                  </a:cubicBezTo>
                  <a:cubicBezTo>
                    <a:pt x="538" y="1173"/>
                    <a:pt x="565" y="1155"/>
                    <a:pt x="564" y="1142"/>
                  </a:cubicBezTo>
                  <a:cubicBezTo>
                    <a:pt x="563" y="1127"/>
                    <a:pt x="561" y="1106"/>
                    <a:pt x="570" y="1096"/>
                  </a:cubicBezTo>
                  <a:cubicBezTo>
                    <a:pt x="561" y="1089"/>
                    <a:pt x="556" y="1082"/>
                    <a:pt x="553" y="1071"/>
                  </a:cubicBezTo>
                  <a:cubicBezTo>
                    <a:pt x="553" y="1070"/>
                    <a:pt x="551" y="1041"/>
                    <a:pt x="551" y="1041"/>
                  </a:cubicBezTo>
                  <a:cubicBezTo>
                    <a:pt x="555" y="1031"/>
                    <a:pt x="568" y="1036"/>
                    <a:pt x="567" y="1021"/>
                  </a:cubicBezTo>
                  <a:cubicBezTo>
                    <a:pt x="566" y="1009"/>
                    <a:pt x="574" y="1002"/>
                    <a:pt x="583" y="995"/>
                  </a:cubicBezTo>
                  <a:cubicBezTo>
                    <a:pt x="591" y="989"/>
                    <a:pt x="599" y="988"/>
                    <a:pt x="607" y="983"/>
                  </a:cubicBezTo>
                  <a:cubicBezTo>
                    <a:pt x="616" y="977"/>
                    <a:pt x="620" y="965"/>
                    <a:pt x="630" y="961"/>
                  </a:cubicBezTo>
                  <a:cubicBezTo>
                    <a:pt x="638" y="958"/>
                    <a:pt x="640" y="940"/>
                    <a:pt x="645" y="933"/>
                  </a:cubicBezTo>
                  <a:cubicBezTo>
                    <a:pt x="650" y="925"/>
                    <a:pt x="655" y="911"/>
                    <a:pt x="663" y="906"/>
                  </a:cubicBezTo>
                  <a:cubicBezTo>
                    <a:pt x="671" y="902"/>
                    <a:pt x="674" y="852"/>
                    <a:pt x="652" y="879"/>
                  </a:cubicBezTo>
                  <a:cubicBezTo>
                    <a:pt x="649" y="883"/>
                    <a:pt x="603" y="887"/>
                    <a:pt x="597" y="883"/>
                  </a:cubicBezTo>
                  <a:cubicBezTo>
                    <a:pt x="589" y="876"/>
                    <a:pt x="592" y="865"/>
                    <a:pt x="586" y="862"/>
                  </a:cubicBezTo>
                  <a:cubicBezTo>
                    <a:pt x="578" y="860"/>
                    <a:pt x="584" y="856"/>
                    <a:pt x="579" y="851"/>
                  </a:cubicBezTo>
                  <a:cubicBezTo>
                    <a:pt x="574" y="846"/>
                    <a:pt x="568" y="843"/>
                    <a:pt x="564" y="839"/>
                  </a:cubicBezTo>
                  <a:cubicBezTo>
                    <a:pt x="553" y="826"/>
                    <a:pt x="547" y="800"/>
                    <a:pt x="530" y="795"/>
                  </a:cubicBezTo>
                  <a:cubicBezTo>
                    <a:pt x="538" y="786"/>
                    <a:pt x="520" y="753"/>
                    <a:pt x="514" y="741"/>
                  </a:cubicBezTo>
                  <a:cubicBezTo>
                    <a:pt x="506" y="721"/>
                    <a:pt x="490" y="705"/>
                    <a:pt x="483" y="685"/>
                  </a:cubicBezTo>
                  <a:cubicBezTo>
                    <a:pt x="493" y="688"/>
                    <a:pt x="494" y="705"/>
                    <a:pt x="495" y="705"/>
                  </a:cubicBezTo>
                  <a:cubicBezTo>
                    <a:pt x="503" y="708"/>
                    <a:pt x="509" y="698"/>
                    <a:pt x="514" y="691"/>
                  </a:cubicBezTo>
                  <a:cubicBezTo>
                    <a:pt x="508" y="712"/>
                    <a:pt x="541" y="741"/>
                    <a:pt x="548" y="760"/>
                  </a:cubicBezTo>
                  <a:cubicBezTo>
                    <a:pt x="551" y="767"/>
                    <a:pt x="548" y="788"/>
                    <a:pt x="558" y="789"/>
                  </a:cubicBezTo>
                  <a:cubicBezTo>
                    <a:pt x="567" y="789"/>
                    <a:pt x="567" y="789"/>
                    <a:pt x="567" y="798"/>
                  </a:cubicBezTo>
                  <a:cubicBezTo>
                    <a:pt x="568" y="809"/>
                    <a:pt x="577" y="807"/>
                    <a:pt x="581" y="813"/>
                  </a:cubicBezTo>
                  <a:cubicBezTo>
                    <a:pt x="588" y="826"/>
                    <a:pt x="589" y="878"/>
                    <a:pt x="612" y="866"/>
                  </a:cubicBezTo>
                  <a:cubicBezTo>
                    <a:pt x="623" y="860"/>
                    <a:pt x="636" y="859"/>
                    <a:pt x="645" y="854"/>
                  </a:cubicBezTo>
                  <a:cubicBezTo>
                    <a:pt x="652" y="850"/>
                    <a:pt x="649" y="841"/>
                    <a:pt x="659" y="842"/>
                  </a:cubicBezTo>
                  <a:cubicBezTo>
                    <a:pt x="667" y="844"/>
                    <a:pt x="674" y="838"/>
                    <a:pt x="683" y="838"/>
                  </a:cubicBezTo>
                  <a:cubicBezTo>
                    <a:pt x="674" y="818"/>
                    <a:pt x="715" y="821"/>
                    <a:pt x="722" y="809"/>
                  </a:cubicBezTo>
                  <a:cubicBezTo>
                    <a:pt x="730" y="797"/>
                    <a:pt x="769" y="771"/>
                    <a:pt x="750" y="759"/>
                  </a:cubicBezTo>
                  <a:cubicBezTo>
                    <a:pt x="749" y="761"/>
                    <a:pt x="748" y="763"/>
                    <a:pt x="747" y="764"/>
                  </a:cubicBezTo>
                  <a:cubicBezTo>
                    <a:pt x="747" y="759"/>
                    <a:pt x="743" y="754"/>
                    <a:pt x="743" y="749"/>
                  </a:cubicBezTo>
                  <a:cubicBezTo>
                    <a:pt x="729" y="758"/>
                    <a:pt x="717" y="738"/>
                    <a:pt x="717" y="725"/>
                  </a:cubicBezTo>
                  <a:cubicBezTo>
                    <a:pt x="704" y="733"/>
                    <a:pt x="707" y="745"/>
                    <a:pt x="692" y="747"/>
                  </a:cubicBezTo>
                  <a:cubicBezTo>
                    <a:pt x="680" y="749"/>
                    <a:pt x="670" y="742"/>
                    <a:pt x="673" y="730"/>
                  </a:cubicBezTo>
                  <a:cubicBezTo>
                    <a:pt x="651" y="731"/>
                    <a:pt x="636" y="690"/>
                    <a:pt x="648" y="676"/>
                  </a:cubicBezTo>
                  <a:cubicBezTo>
                    <a:pt x="666" y="684"/>
                    <a:pt x="696" y="747"/>
                    <a:pt x="721" y="714"/>
                  </a:cubicBezTo>
                  <a:cubicBezTo>
                    <a:pt x="726" y="732"/>
                    <a:pt x="742" y="736"/>
                    <a:pt x="759" y="735"/>
                  </a:cubicBezTo>
                  <a:cubicBezTo>
                    <a:pt x="766" y="735"/>
                    <a:pt x="771" y="739"/>
                    <a:pt x="777" y="739"/>
                  </a:cubicBezTo>
                  <a:cubicBezTo>
                    <a:pt x="784" y="738"/>
                    <a:pt x="788" y="732"/>
                    <a:pt x="797" y="732"/>
                  </a:cubicBezTo>
                  <a:cubicBezTo>
                    <a:pt x="821" y="732"/>
                    <a:pt x="817" y="735"/>
                    <a:pt x="829" y="752"/>
                  </a:cubicBezTo>
                  <a:cubicBezTo>
                    <a:pt x="834" y="758"/>
                    <a:pt x="865" y="758"/>
                    <a:pt x="847" y="767"/>
                  </a:cubicBezTo>
                  <a:cubicBezTo>
                    <a:pt x="854" y="795"/>
                    <a:pt x="873" y="776"/>
                    <a:pt x="880" y="766"/>
                  </a:cubicBezTo>
                  <a:cubicBezTo>
                    <a:pt x="879" y="775"/>
                    <a:pt x="883" y="772"/>
                    <a:pt x="885" y="781"/>
                  </a:cubicBezTo>
                  <a:cubicBezTo>
                    <a:pt x="885" y="786"/>
                    <a:pt x="880" y="793"/>
                    <a:pt x="880" y="795"/>
                  </a:cubicBezTo>
                  <a:cubicBezTo>
                    <a:pt x="880" y="810"/>
                    <a:pt x="890" y="823"/>
                    <a:pt x="894" y="836"/>
                  </a:cubicBezTo>
                  <a:cubicBezTo>
                    <a:pt x="901" y="860"/>
                    <a:pt x="907" y="895"/>
                    <a:pt x="929" y="907"/>
                  </a:cubicBezTo>
                  <a:cubicBezTo>
                    <a:pt x="933" y="899"/>
                    <a:pt x="944" y="894"/>
                    <a:pt x="951" y="886"/>
                  </a:cubicBezTo>
                  <a:cubicBezTo>
                    <a:pt x="946" y="875"/>
                    <a:pt x="962" y="851"/>
                    <a:pt x="953" y="843"/>
                  </a:cubicBezTo>
                  <a:cubicBezTo>
                    <a:pt x="942" y="833"/>
                    <a:pt x="966" y="833"/>
                    <a:pt x="968" y="829"/>
                  </a:cubicBezTo>
                  <a:cubicBezTo>
                    <a:pt x="972" y="820"/>
                    <a:pt x="978" y="812"/>
                    <a:pt x="985" y="806"/>
                  </a:cubicBezTo>
                  <a:cubicBezTo>
                    <a:pt x="989" y="803"/>
                    <a:pt x="1001" y="797"/>
                    <a:pt x="1005" y="794"/>
                  </a:cubicBezTo>
                  <a:cubicBezTo>
                    <a:pt x="1016" y="789"/>
                    <a:pt x="1011" y="781"/>
                    <a:pt x="1017" y="776"/>
                  </a:cubicBezTo>
                  <a:cubicBezTo>
                    <a:pt x="1031" y="764"/>
                    <a:pt x="1054" y="781"/>
                    <a:pt x="1059" y="760"/>
                  </a:cubicBezTo>
                  <a:cubicBezTo>
                    <a:pt x="1069" y="765"/>
                    <a:pt x="1080" y="781"/>
                    <a:pt x="1087" y="790"/>
                  </a:cubicBezTo>
                  <a:cubicBezTo>
                    <a:pt x="1097" y="805"/>
                    <a:pt x="1091" y="821"/>
                    <a:pt x="1101" y="835"/>
                  </a:cubicBezTo>
                  <a:cubicBezTo>
                    <a:pt x="1108" y="828"/>
                    <a:pt x="1114" y="825"/>
                    <a:pt x="1119" y="817"/>
                  </a:cubicBezTo>
                  <a:cubicBezTo>
                    <a:pt x="1130" y="828"/>
                    <a:pt x="1125" y="836"/>
                    <a:pt x="1128" y="850"/>
                  </a:cubicBezTo>
                  <a:cubicBezTo>
                    <a:pt x="1132" y="863"/>
                    <a:pt x="1143" y="872"/>
                    <a:pt x="1138" y="886"/>
                  </a:cubicBezTo>
                  <a:cubicBezTo>
                    <a:pt x="1149" y="877"/>
                    <a:pt x="1154" y="865"/>
                    <a:pt x="1151" y="852"/>
                  </a:cubicBezTo>
                  <a:cubicBezTo>
                    <a:pt x="1160" y="871"/>
                    <a:pt x="1167" y="859"/>
                    <a:pt x="1180" y="868"/>
                  </a:cubicBezTo>
                  <a:cubicBezTo>
                    <a:pt x="1190" y="875"/>
                    <a:pt x="1188" y="888"/>
                    <a:pt x="1203" y="892"/>
                  </a:cubicBezTo>
                  <a:cubicBezTo>
                    <a:pt x="1196" y="900"/>
                    <a:pt x="1199" y="897"/>
                    <a:pt x="1201" y="907"/>
                  </a:cubicBezTo>
                  <a:cubicBezTo>
                    <a:pt x="1202" y="903"/>
                    <a:pt x="1207" y="893"/>
                    <a:pt x="1210" y="890"/>
                  </a:cubicBezTo>
                  <a:cubicBezTo>
                    <a:pt x="1214" y="888"/>
                    <a:pt x="1217" y="886"/>
                    <a:pt x="1222" y="886"/>
                  </a:cubicBezTo>
                  <a:cubicBezTo>
                    <a:pt x="1231" y="885"/>
                    <a:pt x="1224" y="880"/>
                    <a:pt x="1230" y="875"/>
                  </a:cubicBezTo>
                  <a:cubicBezTo>
                    <a:pt x="1235" y="870"/>
                    <a:pt x="1236" y="881"/>
                    <a:pt x="1241" y="872"/>
                  </a:cubicBezTo>
                  <a:cubicBezTo>
                    <a:pt x="1244" y="867"/>
                    <a:pt x="1242" y="864"/>
                    <a:pt x="1242" y="859"/>
                  </a:cubicBezTo>
                  <a:cubicBezTo>
                    <a:pt x="1244" y="850"/>
                    <a:pt x="1242" y="831"/>
                    <a:pt x="1232" y="830"/>
                  </a:cubicBezTo>
                  <a:cubicBezTo>
                    <a:pt x="1223" y="828"/>
                    <a:pt x="1207" y="805"/>
                    <a:pt x="1208" y="794"/>
                  </a:cubicBezTo>
                  <a:cubicBezTo>
                    <a:pt x="1210" y="779"/>
                    <a:pt x="1248" y="758"/>
                    <a:pt x="1248" y="780"/>
                  </a:cubicBezTo>
                  <a:cubicBezTo>
                    <a:pt x="1260" y="771"/>
                    <a:pt x="1283" y="772"/>
                    <a:pt x="1286" y="755"/>
                  </a:cubicBezTo>
                  <a:cubicBezTo>
                    <a:pt x="1297" y="771"/>
                    <a:pt x="1309" y="753"/>
                    <a:pt x="1318" y="746"/>
                  </a:cubicBezTo>
                  <a:cubicBezTo>
                    <a:pt x="1324" y="741"/>
                    <a:pt x="1333" y="743"/>
                    <a:pt x="1339" y="738"/>
                  </a:cubicBezTo>
                  <a:cubicBezTo>
                    <a:pt x="1340" y="737"/>
                    <a:pt x="1335" y="729"/>
                    <a:pt x="1336" y="727"/>
                  </a:cubicBezTo>
                  <a:cubicBezTo>
                    <a:pt x="1339" y="722"/>
                    <a:pt x="1344" y="723"/>
                    <a:pt x="1346" y="718"/>
                  </a:cubicBezTo>
                  <a:cubicBezTo>
                    <a:pt x="1352" y="704"/>
                    <a:pt x="1361" y="698"/>
                    <a:pt x="1362" y="681"/>
                  </a:cubicBezTo>
                  <a:cubicBezTo>
                    <a:pt x="1362" y="678"/>
                    <a:pt x="1364" y="661"/>
                    <a:pt x="1363" y="658"/>
                  </a:cubicBezTo>
                  <a:cubicBezTo>
                    <a:pt x="1361" y="652"/>
                    <a:pt x="1352" y="652"/>
                    <a:pt x="1351" y="643"/>
                  </a:cubicBezTo>
                  <a:cubicBezTo>
                    <a:pt x="1350" y="643"/>
                    <a:pt x="1348" y="644"/>
                    <a:pt x="1346" y="644"/>
                  </a:cubicBezTo>
                  <a:cubicBezTo>
                    <a:pt x="1348" y="635"/>
                    <a:pt x="1349" y="636"/>
                    <a:pt x="1341" y="628"/>
                  </a:cubicBezTo>
                  <a:cubicBezTo>
                    <a:pt x="1352" y="620"/>
                    <a:pt x="1358" y="605"/>
                    <a:pt x="1373" y="603"/>
                  </a:cubicBezTo>
                  <a:cubicBezTo>
                    <a:pt x="1364" y="604"/>
                    <a:pt x="1356" y="601"/>
                    <a:pt x="1352" y="594"/>
                  </a:cubicBezTo>
                  <a:cubicBezTo>
                    <a:pt x="1350" y="617"/>
                    <a:pt x="1326" y="597"/>
                    <a:pt x="1329" y="583"/>
                  </a:cubicBezTo>
                  <a:cubicBezTo>
                    <a:pt x="1330" y="577"/>
                    <a:pt x="1359" y="561"/>
                    <a:pt x="1370" y="569"/>
                  </a:cubicBezTo>
                  <a:cubicBezTo>
                    <a:pt x="1363" y="574"/>
                    <a:pt x="1363" y="576"/>
                    <a:pt x="1359" y="583"/>
                  </a:cubicBezTo>
                  <a:cubicBezTo>
                    <a:pt x="1371" y="578"/>
                    <a:pt x="1388" y="568"/>
                    <a:pt x="1400" y="575"/>
                  </a:cubicBezTo>
                  <a:cubicBezTo>
                    <a:pt x="1387" y="590"/>
                    <a:pt x="1398" y="600"/>
                    <a:pt x="1415" y="602"/>
                  </a:cubicBezTo>
                  <a:cubicBezTo>
                    <a:pt x="1399" y="605"/>
                    <a:pt x="1415" y="622"/>
                    <a:pt x="1409" y="636"/>
                  </a:cubicBezTo>
                  <a:cubicBezTo>
                    <a:pt x="1422" y="629"/>
                    <a:pt x="1439" y="630"/>
                    <a:pt x="1442" y="614"/>
                  </a:cubicBezTo>
                  <a:cubicBezTo>
                    <a:pt x="1444" y="594"/>
                    <a:pt x="1422" y="593"/>
                    <a:pt x="1420" y="580"/>
                  </a:cubicBezTo>
                  <a:cubicBezTo>
                    <a:pt x="1418" y="567"/>
                    <a:pt x="1438" y="559"/>
                    <a:pt x="1447" y="553"/>
                  </a:cubicBezTo>
                  <a:cubicBezTo>
                    <a:pt x="1453" y="549"/>
                    <a:pt x="1452" y="539"/>
                    <a:pt x="1460" y="541"/>
                  </a:cubicBezTo>
                  <a:cubicBezTo>
                    <a:pt x="1465" y="542"/>
                    <a:pt x="1476" y="544"/>
                    <a:pt x="1480" y="543"/>
                  </a:cubicBezTo>
                  <a:cubicBezTo>
                    <a:pt x="1496" y="539"/>
                    <a:pt x="1510" y="522"/>
                    <a:pt x="1517" y="510"/>
                  </a:cubicBezTo>
                  <a:cubicBezTo>
                    <a:pt x="1521" y="502"/>
                    <a:pt x="1523" y="495"/>
                    <a:pt x="1527" y="487"/>
                  </a:cubicBezTo>
                  <a:cubicBezTo>
                    <a:pt x="1531" y="480"/>
                    <a:pt x="1539" y="482"/>
                    <a:pt x="1543" y="475"/>
                  </a:cubicBezTo>
                  <a:cubicBezTo>
                    <a:pt x="1548" y="467"/>
                    <a:pt x="1542" y="460"/>
                    <a:pt x="1545" y="451"/>
                  </a:cubicBezTo>
                  <a:cubicBezTo>
                    <a:pt x="1546" y="445"/>
                    <a:pt x="1554" y="437"/>
                    <a:pt x="1554" y="432"/>
                  </a:cubicBezTo>
                  <a:cubicBezTo>
                    <a:pt x="1554" y="421"/>
                    <a:pt x="1565" y="408"/>
                    <a:pt x="1551" y="398"/>
                  </a:cubicBezTo>
                  <a:cubicBezTo>
                    <a:pt x="1540" y="391"/>
                    <a:pt x="1527" y="400"/>
                    <a:pt x="1515" y="391"/>
                  </a:cubicBezTo>
                  <a:cubicBezTo>
                    <a:pt x="1498" y="377"/>
                    <a:pt x="1517" y="366"/>
                    <a:pt x="1528" y="359"/>
                  </a:cubicBezTo>
                  <a:cubicBezTo>
                    <a:pt x="1540" y="350"/>
                    <a:pt x="1547" y="337"/>
                    <a:pt x="1559" y="327"/>
                  </a:cubicBezTo>
                  <a:cubicBezTo>
                    <a:pt x="1566" y="322"/>
                    <a:pt x="1571" y="322"/>
                    <a:pt x="1580" y="321"/>
                  </a:cubicBezTo>
                  <a:cubicBezTo>
                    <a:pt x="1586" y="320"/>
                    <a:pt x="1595" y="323"/>
                    <a:pt x="1599" y="322"/>
                  </a:cubicBezTo>
                  <a:cubicBezTo>
                    <a:pt x="1604" y="321"/>
                    <a:pt x="1611" y="315"/>
                    <a:pt x="1618" y="314"/>
                  </a:cubicBezTo>
                  <a:cubicBezTo>
                    <a:pt x="1624" y="312"/>
                    <a:pt x="1633" y="310"/>
                    <a:pt x="1638" y="312"/>
                  </a:cubicBezTo>
                  <a:cubicBezTo>
                    <a:pt x="1653" y="317"/>
                    <a:pt x="1662" y="324"/>
                    <a:pt x="1679" y="321"/>
                  </a:cubicBezTo>
                  <a:cubicBezTo>
                    <a:pt x="1690" y="320"/>
                    <a:pt x="1700" y="297"/>
                    <a:pt x="1708" y="289"/>
                  </a:cubicBezTo>
                  <a:cubicBezTo>
                    <a:pt x="1713" y="284"/>
                    <a:pt x="1735" y="283"/>
                    <a:pt x="1745" y="285"/>
                  </a:cubicBezTo>
                  <a:cubicBezTo>
                    <a:pt x="1742" y="294"/>
                    <a:pt x="1745" y="292"/>
                    <a:pt x="1747" y="299"/>
                  </a:cubicBezTo>
                  <a:cubicBezTo>
                    <a:pt x="1755" y="290"/>
                    <a:pt x="1784" y="254"/>
                    <a:pt x="1785" y="288"/>
                  </a:cubicBezTo>
                  <a:cubicBezTo>
                    <a:pt x="1777" y="288"/>
                    <a:pt x="1774" y="292"/>
                    <a:pt x="1767" y="296"/>
                  </a:cubicBezTo>
                  <a:cubicBezTo>
                    <a:pt x="1763" y="298"/>
                    <a:pt x="1749" y="306"/>
                    <a:pt x="1749" y="307"/>
                  </a:cubicBezTo>
                  <a:cubicBezTo>
                    <a:pt x="1745" y="323"/>
                    <a:pt x="1723" y="332"/>
                    <a:pt x="1712" y="344"/>
                  </a:cubicBezTo>
                  <a:cubicBezTo>
                    <a:pt x="1696" y="362"/>
                    <a:pt x="1695" y="415"/>
                    <a:pt x="1714" y="433"/>
                  </a:cubicBezTo>
                  <a:cubicBezTo>
                    <a:pt x="1711" y="420"/>
                    <a:pt x="1734" y="392"/>
                    <a:pt x="1744" y="385"/>
                  </a:cubicBezTo>
                  <a:cubicBezTo>
                    <a:pt x="1747" y="383"/>
                    <a:pt x="1754" y="380"/>
                    <a:pt x="1756" y="377"/>
                  </a:cubicBezTo>
                  <a:cubicBezTo>
                    <a:pt x="1755" y="374"/>
                    <a:pt x="1754" y="371"/>
                    <a:pt x="1753" y="368"/>
                  </a:cubicBezTo>
                  <a:cubicBezTo>
                    <a:pt x="1756" y="367"/>
                    <a:pt x="1759" y="366"/>
                    <a:pt x="1763" y="365"/>
                  </a:cubicBezTo>
                  <a:cubicBezTo>
                    <a:pt x="1767" y="352"/>
                    <a:pt x="1762" y="341"/>
                    <a:pt x="1767" y="331"/>
                  </a:cubicBezTo>
                  <a:cubicBezTo>
                    <a:pt x="1772" y="322"/>
                    <a:pt x="1781" y="323"/>
                    <a:pt x="1784" y="310"/>
                  </a:cubicBezTo>
                  <a:cubicBezTo>
                    <a:pt x="1786" y="300"/>
                    <a:pt x="1806" y="307"/>
                    <a:pt x="1813" y="309"/>
                  </a:cubicBezTo>
                  <a:cubicBezTo>
                    <a:pt x="1826" y="312"/>
                    <a:pt x="1827" y="320"/>
                    <a:pt x="1843" y="312"/>
                  </a:cubicBezTo>
                  <a:cubicBezTo>
                    <a:pt x="1848" y="309"/>
                    <a:pt x="1853" y="305"/>
                    <a:pt x="1860" y="303"/>
                  </a:cubicBezTo>
                  <a:cubicBezTo>
                    <a:pt x="1868" y="301"/>
                    <a:pt x="1862" y="296"/>
                    <a:pt x="1868" y="291"/>
                  </a:cubicBezTo>
                  <a:cubicBezTo>
                    <a:pt x="1873" y="287"/>
                    <a:pt x="1889" y="276"/>
                    <a:pt x="1896" y="274"/>
                  </a:cubicBezTo>
                  <a:cubicBezTo>
                    <a:pt x="1905" y="272"/>
                    <a:pt x="1918" y="280"/>
                    <a:pt x="1927" y="272"/>
                  </a:cubicBezTo>
                  <a:cubicBezTo>
                    <a:pt x="1938" y="262"/>
                    <a:pt x="1928" y="261"/>
                    <a:pt x="1922" y="251"/>
                  </a:cubicBezTo>
                  <a:cubicBezTo>
                    <a:pt x="1911" y="234"/>
                    <a:pt x="1933" y="238"/>
                    <a:pt x="1939" y="229"/>
                  </a:cubicBezTo>
                  <a:cubicBezTo>
                    <a:pt x="1948" y="217"/>
                    <a:pt x="1941" y="218"/>
                    <a:pt x="1956" y="220"/>
                  </a:cubicBezTo>
                  <a:cubicBezTo>
                    <a:pt x="1967" y="222"/>
                    <a:pt x="1977" y="232"/>
                    <a:pt x="1988" y="237"/>
                  </a:cubicBezTo>
                  <a:cubicBezTo>
                    <a:pt x="1993" y="238"/>
                    <a:pt x="2011" y="252"/>
                    <a:pt x="2014" y="235"/>
                  </a:cubicBezTo>
                  <a:cubicBezTo>
                    <a:pt x="2015" y="224"/>
                    <a:pt x="2026" y="220"/>
                    <a:pt x="2037" y="218"/>
                  </a:cubicBezTo>
                  <a:cubicBezTo>
                    <a:pt x="2026" y="197"/>
                    <a:pt x="1980" y="188"/>
                    <a:pt x="1961" y="184"/>
                  </a:cubicBezTo>
                  <a:close/>
                  <a:moveTo>
                    <a:pt x="703" y="565"/>
                  </a:moveTo>
                  <a:cubicBezTo>
                    <a:pt x="694" y="563"/>
                    <a:pt x="687" y="566"/>
                    <a:pt x="683" y="573"/>
                  </a:cubicBezTo>
                  <a:cubicBezTo>
                    <a:pt x="706" y="570"/>
                    <a:pt x="706" y="617"/>
                    <a:pt x="678" y="610"/>
                  </a:cubicBezTo>
                  <a:cubicBezTo>
                    <a:pt x="668" y="608"/>
                    <a:pt x="649" y="603"/>
                    <a:pt x="648" y="589"/>
                  </a:cubicBezTo>
                  <a:cubicBezTo>
                    <a:pt x="648" y="582"/>
                    <a:pt x="663" y="568"/>
                    <a:pt x="654" y="565"/>
                  </a:cubicBezTo>
                  <a:cubicBezTo>
                    <a:pt x="638" y="558"/>
                    <a:pt x="643" y="541"/>
                    <a:pt x="639" y="529"/>
                  </a:cubicBezTo>
                  <a:cubicBezTo>
                    <a:pt x="636" y="522"/>
                    <a:pt x="627" y="530"/>
                    <a:pt x="629" y="520"/>
                  </a:cubicBezTo>
                  <a:cubicBezTo>
                    <a:pt x="630" y="508"/>
                    <a:pt x="631" y="510"/>
                    <a:pt x="637" y="502"/>
                  </a:cubicBezTo>
                  <a:cubicBezTo>
                    <a:pt x="655" y="479"/>
                    <a:pt x="682" y="484"/>
                    <a:pt x="700" y="506"/>
                  </a:cubicBezTo>
                  <a:cubicBezTo>
                    <a:pt x="689" y="505"/>
                    <a:pt x="644" y="509"/>
                    <a:pt x="671" y="525"/>
                  </a:cubicBezTo>
                  <a:cubicBezTo>
                    <a:pt x="667" y="537"/>
                    <a:pt x="683" y="542"/>
                    <a:pt x="684" y="557"/>
                  </a:cubicBezTo>
                  <a:cubicBezTo>
                    <a:pt x="693" y="549"/>
                    <a:pt x="704" y="552"/>
                    <a:pt x="703" y="565"/>
                  </a:cubicBezTo>
                  <a:close/>
                  <a:moveTo>
                    <a:pt x="776" y="627"/>
                  </a:moveTo>
                  <a:cubicBezTo>
                    <a:pt x="774" y="624"/>
                    <a:pt x="771" y="622"/>
                    <a:pt x="772" y="617"/>
                  </a:cubicBezTo>
                  <a:cubicBezTo>
                    <a:pt x="776" y="618"/>
                    <a:pt x="779" y="620"/>
                    <a:pt x="783" y="623"/>
                  </a:cubicBezTo>
                  <a:cubicBezTo>
                    <a:pt x="780" y="624"/>
                    <a:pt x="778" y="626"/>
                    <a:pt x="776" y="62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2967" y="609"/>
              <a:ext cx="5" cy="6"/>
            </a:xfrm>
            <a:custGeom>
              <a:avLst/>
              <a:gdLst>
                <a:gd name="T0" fmla="*/ 3 w 3"/>
                <a:gd name="T1" fmla="*/ 0 h 3"/>
                <a:gd name="T2" fmla="*/ 0 w 3"/>
                <a:gd name="T3" fmla="*/ 3 h 3"/>
                <a:gd name="T4" fmla="*/ 3 w 3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1" y="2"/>
                    <a:pt x="2" y="1"/>
                    <a:pt x="3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2931" y="599"/>
              <a:ext cx="34" cy="30"/>
            </a:xfrm>
            <a:custGeom>
              <a:avLst/>
              <a:gdLst>
                <a:gd name="T0" fmla="*/ 14 w 19"/>
                <a:gd name="T1" fmla="*/ 0 h 17"/>
                <a:gd name="T2" fmla="*/ 0 w 19"/>
                <a:gd name="T3" fmla="*/ 16 h 17"/>
                <a:gd name="T4" fmla="*/ 19 w 19"/>
                <a:gd name="T5" fmla="*/ 10 h 17"/>
                <a:gd name="T6" fmla="*/ 14 w 19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7">
                  <a:moveTo>
                    <a:pt x="14" y="0"/>
                  </a:moveTo>
                  <a:cubicBezTo>
                    <a:pt x="5" y="6"/>
                    <a:pt x="7" y="8"/>
                    <a:pt x="0" y="16"/>
                  </a:cubicBezTo>
                  <a:cubicBezTo>
                    <a:pt x="7" y="17"/>
                    <a:pt x="14" y="15"/>
                    <a:pt x="19" y="10"/>
                  </a:cubicBezTo>
                  <a:cubicBezTo>
                    <a:pt x="15" y="10"/>
                    <a:pt x="12" y="7"/>
                    <a:pt x="14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4398" y="1878"/>
              <a:ext cx="1" cy="4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2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4391" y="1882"/>
              <a:ext cx="113" cy="158"/>
            </a:xfrm>
            <a:custGeom>
              <a:avLst/>
              <a:gdLst>
                <a:gd name="T0" fmla="*/ 0 w 64"/>
                <a:gd name="T1" fmla="*/ 17 h 89"/>
                <a:gd name="T2" fmla="*/ 25 w 64"/>
                <a:gd name="T3" fmla="*/ 53 h 89"/>
                <a:gd name="T4" fmla="*/ 53 w 64"/>
                <a:gd name="T5" fmla="*/ 89 h 89"/>
                <a:gd name="T6" fmla="*/ 56 w 64"/>
                <a:gd name="T7" fmla="*/ 82 h 89"/>
                <a:gd name="T8" fmla="*/ 64 w 64"/>
                <a:gd name="T9" fmla="*/ 86 h 89"/>
                <a:gd name="T10" fmla="*/ 52 w 64"/>
                <a:gd name="T11" fmla="*/ 69 h 89"/>
                <a:gd name="T12" fmla="*/ 53 w 64"/>
                <a:gd name="T13" fmla="*/ 45 h 89"/>
                <a:gd name="T14" fmla="*/ 32 w 64"/>
                <a:gd name="T15" fmla="*/ 34 h 89"/>
                <a:gd name="T16" fmla="*/ 16 w 64"/>
                <a:gd name="T17" fmla="*/ 17 h 89"/>
                <a:gd name="T18" fmla="*/ 20 w 64"/>
                <a:gd name="T19" fmla="*/ 16 h 89"/>
                <a:gd name="T20" fmla="*/ 5 w 64"/>
                <a:gd name="T21" fmla="*/ 0 h 89"/>
                <a:gd name="T22" fmla="*/ 3 w 64"/>
                <a:gd name="T23" fmla="*/ 2 h 89"/>
                <a:gd name="T24" fmla="*/ 0 w 64"/>
                <a:gd name="T25" fmla="*/ 1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89">
                  <a:moveTo>
                    <a:pt x="0" y="17"/>
                  </a:moveTo>
                  <a:cubicBezTo>
                    <a:pt x="9" y="16"/>
                    <a:pt x="20" y="43"/>
                    <a:pt x="25" y="53"/>
                  </a:cubicBezTo>
                  <a:cubicBezTo>
                    <a:pt x="34" y="73"/>
                    <a:pt x="35" y="76"/>
                    <a:pt x="53" y="89"/>
                  </a:cubicBezTo>
                  <a:cubicBezTo>
                    <a:pt x="54" y="86"/>
                    <a:pt x="55" y="84"/>
                    <a:pt x="56" y="82"/>
                  </a:cubicBezTo>
                  <a:cubicBezTo>
                    <a:pt x="58" y="83"/>
                    <a:pt x="61" y="84"/>
                    <a:pt x="64" y="86"/>
                  </a:cubicBezTo>
                  <a:cubicBezTo>
                    <a:pt x="61" y="82"/>
                    <a:pt x="53" y="73"/>
                    <a:pt x="52" y="69"/>
                  </a:cubicBezTo>
                  <a:cubicBezTo>
                    <a:pt x="51" y="62"/>
                    <a:pt x="56" y="52"/>
                    <a:pt x="53" y="45"/>
                  </a:cubicBezTo>
                  <a:cubicBezTo>
                    <a:pt x="55" y="48"/>
                    <a:pt x="31" y="34"/>
                    <a:pt x="32" y="34"/>
                  </a:cubicBezTo>
                  <a:cubicBezTo>
                    <a:pt x="25" y="32"/>
                    <a:pt x="24" y="21"/>
                    <a:pt x="16" y="17"/>
                  </a:cubicBezTo>
                  <a:cubicBezTo>
                    <a:pt x="17" y="17"/>
                    <a:pt x="19" y="16"/>
                    <a:pt x="20" y="16"/>
                  </a:cubicBezTo>
                  <a:cubicBezTo>
                    <a:pt x="18" y="9"/>
                    <a:pt x="12" y="3"/>
                    <a:pt x="5" y="0"/>
                  </a:cubicBezTo>
                  <a:cubicBezTo>
                    <a:pt x="4" y="1"/>
                    <a:pt x="4" y="2"/>
                    <a:pt x="3" y="2"/>
                  </a:cubicBezTo>
                  <a:cubicBezTo>
                    <a:pt x="4" y="3"/>
                    <a:pt x="2" y="13"/>
                    <a:pt x="0" y="1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4396" y="1885"/>
              <a:ext cx="0" cy="2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2965" y="615"/>
              <a:ext cx="2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5781" y="513"/>
              <a:ext cx="72" cy="31"/>
            </a:xfrm>
            <a:custGeom>
              <a:avLst/>
              <a:gdLst>
                <a:gd name="T0" fmla="*/ 41 w 41"/>
                <a:gd name="T1" fmla="*/ 11 h 17"/>
                <a:gd name="T2" fmla="*/ 10 w 41"/>
                <a:gd name="T3" fmla="*/ 17 h 17"/>
                <a:gd name="T4" fmla="*/ 41 w 41"/>
                <a:gd name="T5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17">
                  <a:moveTo>
                    <a:pt x="41" y="11"/>
                  </a:moveTo>
                  <a:cubicBezTo>
                    <a:pt x="31" y="0"/>
                    <a:pt x="0" y="2"/>
                    <a:pt x="10" y="17"/>
                  </a:cubicBezTo>
                  <a:cubicBezTo>
                    <a:pt x="20" y="17"/>
                    <a:pt x="31" y="16"/>
                    <a:pt x="41" y="1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5607" y="565"/>
              <a:ext cx="27" cy="16"/>
            </a:xfrm>
            <a:custGeom>
              <a:avLst/>
              <a:gdLst>
                <a:gd name="T0" fmla="*/ 0 w 15"/>
                <a:gd name="T1" fmla="*/ 2 h 9"/>
                <a:gd name="T2" fmla="*/ 10 w 15"/>
                <a:gd name="T3" fmla="*/ 9 h 9"/>
                <a:gd name="T4" fmla="*/ 0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4"/>
                    <a:pt x="6" y="7"/>
                    <a:pt x="10" y="9"/>
                  </a:cubicBezTo>
                  <a:cubicBezTo>
                    <a:pt x="15" y="1"/>
                    <a:pt x="9" y="0"/>
                    <a:pt x="0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5034" y="371"/>
              <a:ext cx="14" cy="16"/>
            </a:xfrm>
            <a:custGeom>
              <a:avLst/>
              <a:gdLst>
                <a:gd name="T0" fmla="*/ 8 w 8"/>
                <a:gd name="T1" fmla="*/ 4 h 9"/>
                <a:gd name="T2" fmla="*/ 4 w 8"/>
                <a:gd name="T3" fmla="*/ 9 h 9"/>
                <a:gd name="T4" fmla="*/ 8 w 8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8" y="4"/>
                  </a:moveTo>
                  <a:cubicBezTo>
                    <a:pt x="5" y="5"/>
                    <a:pt x="0" y="0"/>
                    <a:pt x="4" y="9"/>
                  </a:cubicBezTo>
                  <a:cubicBezTo>
                    <a:pt x="6" y="6"/>
                    <a:pt x="8" y="4"/>
                    <a:pt x="8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4626" y="414"/>
              <a:ext cx="27" cy="21"/>
            </a:xfrm>
            <a:custGeom>
              <a:avLst/>
              <a:gdLst>
                <a:gd name="T0" fmla="*/ 0 w 15"/>
                <a:gd name="T1" fmla="*/ 7 h 12"/>
                <a:gd name="T2" fmla="*/ 15 w 15"/>
                <a:gd name="T3" fmla="*/ 9 h 12"/>
                <a:gd name="T4" fmla="*/ 0 w 15"/>
                <a:gd name="T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7"/>
                  </a:moveTo>
                  <a:cubicBezTo>
                    <a:pt x="5" y="12"/>
                    <a:pt x="9" y="11"/>
                    <a:pt x="15" y="9"/>
                  </a:cubicBezTo>
                  <a:cubicBezTo>
                    <a:pt x="14" y="8"/>
                    <a:pt x="9" y="0"/>
                    <a:pt x="0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4653" y="43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4399" y="238"/>
              <a:ext cx="128" cy="63"/>
            </a:xfrm>
            <a:custGeom>
              <a:avLst/>
              <a:gdLst>
                <a:gd name="T0" fmla="*/ 11 w 72"/>
                <a:gd name="T1" fmla="*/ 35 h 35"/>
                <a:gd name="T2" fmla="*/ 60 w 72"/>
                <a:gd name="T3" fmla="*/ 26 h 35"/>
                <a:gd name="T4" fmla="*/ 40 w 72"/>
                <a:gd name="T5" fmla="*/ 9 h 35"/>
                <a:gd name="T6" fmla="*/ 41 w 72"/>
                <a:gd name="T7" fmla="*/ 1 h 35"/>
                <a:gd name="T8" fmla="*/ 11 w 72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5">
                  <a:moveTo>
                    <a:pt x="11" y="35"/>
                  </a:moveTo>
                  <a:cubicBezTo>
                    <a:pt x="21" y="31"/>
                    <a:pt x="54" y="32"/>
                    <a:pt x="60" y="26"/>
                  </a:cubicBezTo>
                  <a:cubicBezTo>
                    <a:pt x="72" y="14"/>
                    <a:pt x="51" y="2"/>
                    <a:pt x="40" y="9"/>
                  </a:cubicBezTo>
                  <a:cubicBezTo>
                    <a:pt x="41" y="6"/>
                    <a:pt x="41" y="4"/>
                    <a:pt x="41" y="1"/>
                  </a:cubicBezTo>
                  <a:cubicBezTo>
                    <a:pt x="28" y="0"/>
                    <a:pt x="0" y="25"/>
                    <a:pt x="11" y="3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4261" y="212"/>
              <a:ext cx="43" cy="25"/>
            </a:xfrm>
            <a:custGeom>
              <a:avLst/>
              <a:gdLst>
                <a:gd name="T0" fmla="*/ 10 w 24"/>
                <a:gd name="T1" fmla="*/ 0 h 14"/>
                <a:gd name="T2" fmla="*/ 0 w 24"/>
                <a:gd name="T3" fmla="*/ 3 h 14"/>
                <a:gd name="T4" fmla="*/ 24 w 24"/>
                <a:gd name="T5" fmla="*/ 5 h 14"/>
                <a:gd name="T6" fmla="*/ 10 w 24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4">
                  <a:moveTo>
                    <a:pt x="10" y="0"/>
                  </a:moveTo>
                  <a:cubicBezTo>
                    <a:pt x="7" y="1"/>
                    <a:pt x="4" y="2"/>
                    <a:pt x="0" y="3"/>
                  </a:cubicBezTo>
                  <a:cubicBezTo>
                    <a:pt x="5" y="14"/>
                    <a:pt x="16" y="13"/>
                    <a:pt x="24" y="5"/>
                  </a:cubicBezTo>
                  <a:cubicBezTo>
                    <a:pt x="19" y="3"/>
                    <a:pt x="14" y="0"/>
                    <a:pt x="1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4275" y="143"/>
              <a:ext cx="179" cy="140"/>
            </a:xfrm>
            <a:custGeom>
              <a:avLst/>
              <a:gdLst>
                <a:gd name="T0" fmla="*/ 14 w 101"/>
                <a:gd name="T1" fmla="*/ 52 h 79"/>
                <a:gd name="T2" fmla="*/ 78 w 101"/>
                <a:gd name="T3" fmla="*/ 65 h 79"/>
                <a:gd name="T4" fmla="*/ 72 w 101"/>
                <a:gd name="T5" fmla="*/ 61 h 79"/>
                <a:gd name="T6" fmla="*/ 46 w 101"/>
                <a:gd name="T7" fmla="*/ 40 h 79"/>
                <a:gd name="T8" fmla="*/ 57 w 101"/>
                <a:gd name="T9" fmla="*/ 26 h 79"/>
                <a:gd name="T10" fmla="*/ 0 w 101"/>
                <a:gd name="T11" fmla="*/ 33 h 79"/>
                <a:gd name="T12" fmla="*/ 40 w 101"/>
                <a:gd name="T13" fmla="*/ 41 h 79"/>
                <a:gd name="T14" fmla="*/ 14 w 101"/>
                <a:gd name="T15" fmla="*/ 5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79">
                  <a:moveTo>
                    <a:pt x="14" y="52"/>
                  </a:moveTo>
                  <a:cubicBezTo>
                    <a:pt x="28" y="63"/>
                    <a:pt x="63" y="79"/>
                    <a:pt x="78" y="65"/>
                  </a:cubicBezTo>
                  <a:cubicBezTo>
                    <a:pt x="76" y="64"/>
                    <a:pt x="74" y="63"/>
                    <a:pt x="72" y="61"/>
                  </a:cubicBezTo>
                  <a:cubicBezTo>
                    <a:pt x="101" y="48"/>
                    <a:pt x="56" y="40"/>
                    <a:pt x="46" y="40"/>
                  </a:cubicBezTo>
                  <a:cubicBezTo>
                    <a:pt x="50" y="34"/>
                    <a:pt x="54" y="29"/>
                    <a:pt x="57" y="26"/>
                  </a:cubicBezTo>
                  <a:cubicBezTo>
                    <a:pt x="35" y="0"/>
                    <a:pt x="23" y="23"/>
                    <a:pt x="0" y="33"/>
                  </a:cubicBezTo>
                  <a:cubicBezTo>
                    <a:pt x="12" y="40"/>
                    <a:pt x="26" y="41"/>
                    <a:pt x="40" y="41"/>
                  </a:cubicBezTo>
                  <a:cubicBezTo>
                    <a:pt x="31" y="44"/>
                    <a:pt x="22" y="48"/>
                    <a:pt x="14" y="5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4339" y="325"/>
              <a:ext cx="18" cy="18"/>
            </a:xfrm>
            <a:custGeom>
              <a:avLst/>
              <a:gdLst>
                <a:gd name="T0" fmla="*/ 10 w 10"/>
                <a:gd name="T1" fmla="*/ 1 h 10"/>
                <a:gd name="T2" fmla="*/ 0 w 10"/>
                <a:gd name="T3" fmla="*/ 5 h 10"/>
                <a:gd name="T4" fmla="*/ 10 w 10"/>
                <a:gd name="T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0">
                  <a:moveTo>
                    <a:pt x="10" y="1"/>
                  </a:moveTo>
                  <a:cubicBezTo>
                    <a:pt x="5" y="0"/>
                    <a:pt x="3" y="2"/>
                    <a:pt x="0" y="5"/>
                  </a:cubicBezTo>
                  <a:cubicBezTo>
                    <a:pt x="3" y="4"/>
                    <a:pt x="5" y="10"/>
                    <a:pt x="1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4247" y="166"/>
              <a:ext cx="25" cy="9"/>
            </a:xfrm>
            <a:custGeom>
              <a:avLst/>
              <a:gdLst>
                <a:gd name="T0" fmla="*/ 14 w 14"/>
                <a:gd name="T1" fmla="*/ 4 h 5"/>
                <a:gd name="T2" fmla="*/ 0 w 14"/>
                <a:gd name="T3" fmla="*/ 1 h 5"/>
                <a:gd name="T4" fmla="*/ 14 w 1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5">
                  <a:moveTo>
                    <a:pt x="14" y="4"/>
                  </a:moveTo>
                  <a:cubicBezTo>
                    <a:pt x="10" y="3"/>
                    <a:pt x="6" y="0"/>
                    <a:pt x="0" y="1"/>
                  </a:cubicBezTo>
                  <a:cubicBezTo>
                    <a:pt x="5" y="5"/>
                    <a:pt x="8" y="4"/>
                    <a:pt x="14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4536" y="286"/>
              <a:ext cx="20" cy="15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1 h 8"/>
                <a:gd name="T4" fmla="*/ 11 w 11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7" y="1"/>
                    <a:pt x="3" y="1"/>
                    <a:pt x="0" y="1"/>
                  </a:cubicBezTo>
                  <a:cubicBezTo>
                    <a:pt x="6" y="8"/>
                    <a:pt x="6" y="2"/>
                    <a:pt x="11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89" name="Freeform 89"/>
            <p:cNvSpPr>
              <a:spLocks/>
            </p:cNvSpPr>
            <p:nvPr/>
          </p:nvSpPr>
          <p:spPr bwMode="auto">
            <a:xfrm>
              <a:off x="3548" y="201"/>
              <a:ext cx="6" cy="9"/>
            </a:xfrm>
            <a:custGeom>
              <a:avLst/>
              <a:gdLst>
                <a:gd name="T0" fmla="*/ 0 w 3"/>
                <a:gd name="T1" fmla="*/ 1 h 5"/>
                <a:gd name="T2" fmla="*/ 3 w 3"/>
                <a:gd name="T3" fmla="*/ 0 h 5"/>
                <a:gd name="T4" fmla="*/ 1 w 3"/>
                <a:gd name="T5" fmla="*/ 1 h 5"/>
                <a:gd name="T6" fmla="*/ 0 w 3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1"/>
                  </a:moveTo>
                  <a:cubicBezTo>
                    <a:pt x="0" y="5"/>
                    <a:pt x="1" y="1"/>
                    <a:pt x="3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0" name="Freeform 90"/>
            <p:cNvSpPr>
              <a:spLocks/>
            </p:cNvSpPr>
            <p:nvPr/>
          </p:nvSpPr>
          <p:spPr bwMode="auto">
            <a:xfrm>
              <a:off x="3449" y="178"/>
              <a:ext cx="122" cy="43"/>
            </a:xfrm>
            <a:custGeom>
              <a:avLst/>
              <a:gdLst>
                <a:gd name="T0" fmla="*/ 31 w 69"/>
                <a:gd name="T1" fmla="*/ 10 h 24"/>
                <a:gd name="T2" fmla="*/ 25 w 69"/>
                <a:gd name="T3" fmla="*/ 13 h 24"/>
                <a:gd name="T4" fmla="*/ 32 w 69"/>
                <a:gd name="T5" fmla="*/ 13 h 24"/>
                <a:gd name="T6" fmla="*/ 24 w 69"/>
                <a:gd name="T7" fmla="*/ 16 h 24"/>
                <a:gd name="T8" fmla="*/ 37 w 69"/>
                <a:gd name="T9" fmla="*/ 24 h 24"/>
                <a:gd name="T10" fmla="*/ 57 w 69"/>
                <a:gd name="T11" fmla="*/ 14 h 24"/>
                <a:gd name="T12" fmla="*/ 69 w 69"/>
                <a:gd name="T13" fmla="*/ 7 h 24"/>
                <a:gd name="T14" fmla="*/ 31 w 69"/>
                <a:gd name="T15" fmla="*/ 4 h 24"/>
                <a:gd name="T16" fmla="*/ 0 w 69"/>
                <a:gd name="T17" fmla="*/ 10 h 24"/>
                <a:gd name="T18" fmla="*/ 31 w 69"/>
                <a:gd name="T19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24">
                  <a:moveTo>
                    <a:pt x="31" y="10"/>
                  </a:moveTo>
                  <a:cubicBezTo>
                    <a:pt x="29" y="11"/>
                    <a:pt x="27" y="12"/>
                    <a:pt x="25" y="13"/>
                  </a:cubicBezTo>
                  <a:cubicBezTo>
                    <a:pt x="27" y="13"/>
                    <a:pt x="30" y="13"/>
                    <a:pt x="32" y="13"/>
                  </a:cubicBezTo>
                  <a:cubicBezTo>
                    <a:pt x="29" y="14"/>
                    <a:pt x="27" y="15"/>
                    <a:pt x="24" y="16"/>
                  </a:cubicBezTo>
                  <a:cubicBezTo>
                    <a:pt x="27" y="19"/>
                    <a:pt x="34" y="22"/>
                    <a:pt x="37" y="24"/>
                  </a:cubicBezTo>
                  <a:cubicBezTo>
                    <a:pt x="42" y="17"/>
                    <a:pt x="49" y="14"/>
                    <a:pt x="57" y="14"/>
                  </a:cubicBezTo>
                  <a:cubicBezTo>
                    <a:pt x="59" y="11"/>
                    <a:pt x="67" y="8"/>
                    <a:pt x="69" y="7"/>
                  </a:cubicBezTo>
                  <a:cubicBezTo>
                    <a:pt x="58" y="0"/>
                    <a:pt x="44" y="7"/>
                    <a:pt x="31" y="4"/>
                  </a:cubicBezTo>
                  <a:cubicBezTo>
                    <a:pt x="20" y="2"/>
                    <a:pt x="9" y="3"/>
                    <a:pt x="0" y="10"/>
                  </a:cubicBezTo>
                  <a:cubicBezTo>
                    <a:pt x="11" y="12"/>
                    <a:pt x="20" y="4"/>
                    <a:pt x="31" y="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1" name="Freeform 91"/>
            <p:cNvSpPr>
              <a:spLocks/>
            </p:cNvSpPr>
            <p:nvPr/>
          </p:nvSpPr>
          <p:spPr bwMode="auto">
            <a:xfrm>
              <a:off x="3770" y="148"/>
              <a:ext cx="43" cy="39"/>
            </a:xfrm>
            <a:custGeom>
              <a:avLst/>
              <a:gdLst>
                <a:gd name="T0" fmla="*/ 24 w 24"/>
                <a:gd name="T1" fmla="*/ 17 h 22"/>
                <a:gd name="T2" fmla="*/ 0 w 24"/>
                <a:gd name="T3" fmla="*/ 17 h 22"/>
                <a:gd name="T4" fmla="*/ 6 w 24"/>
                <a:gd name="T5" fmla="*/ 22 h 22"/>
                <a:gd name="T6" fmla="*/ 24 w 24"/>
                <a:gd name="T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2">
                  <a:moveTo>
                    <a:pt x="24" y="17"/>
                  </a:moveTo>
                  <a:cubicBezTo>
                    <a:pt x="22" y="0"/>
                    <a:pt x="7" y="8"/>
                    <a:pt x="0" y="17"/>
                  </a:cubicBezTo>
                  <a:cubicBezTo>
                    <a:pt x="2" y="18"/>
                    <a:pt x="4" y="20"/>
                    <a:pt x="6" y="22"/>
                  </a:cubicBezTo>
                  <a:cubicBezTo>
                    <a:pt x="12" y="22"/>
                    <a:pt x="18" y="19"/>
                    <a:pt x="24" y="1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3713" y="175"/>
              <a:ext cx="45" cy="30"/>
            </a:xfrm>
            <a:custGeom>
              <a:avLst/>
              <a:gdLst>
                <a:gd name="T0" fmla="*/ 19 w 25"/>
                <a:gd name="T1" fmla="*/ 15 h 17"/>
                <a:gd name="T2" fmla="*/ 25 w 25"/>
                <a:gd name="T3" fmla="*/ 4 h 17"/>
                <a:gd name="T4" fmla="*/ 14 w 25"/>
                <a:gd name="T5" fmla="*/ 4 h 17"/>
                <a:gd name="T6" fmla="*/ 18 w 25"/>
                <a:gd name="T7" fmla="*/ 2 h 17"/>
                <a:gd name="T8" fmla="*/ 0 w 25"/>
                <a:gd name="T9" fmla="*/ 15 h 17"/>
                <a:gd name="T10" fmla="*/ 19 w 25"/>
                <a:gd name="T11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19" y="15"/>
                  </a:moveTo>
                  <a:cubicBezTo>
                    <a:pt x="20" y="11"/>
                    <a:pt x="23" y="10"/>
                    <a:pt x="25" y="4"/>
                  </a:cubicBezTo>
                  <a:cubicBezTo>
                    <a:pt x="22" y="4"/>
                    <a:pt x="18" y="4"/>
                    <a:pt x="14" y="4"/>
                  </a:cubicBezTo>
                  <a:cubicBezTo>
                    <a:pt x="16" y="3"/>
                    <a:pt x="17" y="3"/>
                    <a:pt x="18" y="2"/>
                  </a:cubicBezTo>
                  <a:cubicBezTo>
                    <a:pt x="8" y="0"/>
                    <a:pt x="3" y="6"/>
                    <a:pt x="0" y="15"/>
                  </a:cubicBezTo>
                  <a:cubicBezTo>
                    <a:pt x="5" y="17"/>
                    <a:pt x="13" y="17"/>
                    <a:pt x="19" y="1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3651" y="198"/>
              <a:ext cx="48" cy="19"/>
            </a:xfrm>
            <a:custGeom>
              <a:avLst/>
              <a:gdLst>
                <a:gd name="T0" fmla="*/ 0 w 27"/>
                <a:gd name="T1" fmla="*/ 9 h 11"/>
                <a:gd name="T2" fmla="*/ 16 w 27"/>
                <a:gd name="T3" fmla="*/ 11 h 11"/>
                <a:gd name="T4" fmla="*/ 27 w 27"/>
                <a:gd name="T5" fmla="*/ 6 h 11"/>
                <a:gd name="T6" fmla="*/ 0 w 27"/>
                <a:gd name="T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1">
                  <a:moveTo>
                    <a:pt x="0" y="9"/>
                  </a:moveTo>
                  <a:cubicBezTo>
                    <a:pt x="5" y="9"/>
                    <a:pt x="10" y="11"/>
                    <a:pt x="16" y="11"/>
                  </a:cubicBezTo>
                  <a:cubicBezTo>
                    <a:pt x="20" y="10"/>
                    <a:pt x="23" y="8"/>
                    <a:pt x="27" y="6"/>
                  </a:cubicBezTo>
                  <a:cubicBezTo>
                    <a:pt x="18" y="0"/>
                    <a:pt x="8" y="1"/>
                    <a:pt x="0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4" name="Freeform 94"/>
            <p:cNvSpPr>
              <a:spLocks/>
            </p:cNvSpPr>
            <p:nvPr/>
          </p:nvSpPr>
          <p:spPr bwMode="auto">
            <a:xfrm>
              <a:off x="3625" y="146"/>
              <a:ext cx="72" cy="52"/>
            </a:xfrm>
            <a:custGeom>
              <a:avLst/>
              <a:gdLst>
                <a:gd name="T0" fmla="*/ 0 w 41"/>
                <a:gd name="T1" fmla="*/ 21 h 29"/>
                <a:gd name="T2" fmla="*/ 31 w 41"/>
                <a:gd name="T3" fmla="*/ 24 h 29"/>
                <a:gd name="T4" fmla="*/ 41 w 41"/>
                <a:gd name="T5" fmla="*/ 22 h 29"/>
                <a:gd name="T6" fmla="*/ 21 w 41"/>
                <a:gd name="T7" fmla="*/ 17 h 29"/>
                <a:gd name="T8" fmla="*/ 39 w 41"/>
                <a:gd name="T9" fmla="*/ 0 h 29"/>
                <a:gd name="T10" fmla="*/ 13 w 41"/>
                <a:gd name="T11" fmla="*/ 17 h 29"/>
                <a:gd name="T12" fmla="*/ 14 w 41"/>
                <a:gd name="T13" fmla="*/ 17 h 29"/>
                <a:gd name="T14" fmla="*/ 0 w 41"/>
                <a:gd name="T15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29">
                  <a:moveTo>
                    <a:pt x="0" y="21"/>
                  </a:moveTo>
                  <a:cubicBezTo>
                    <a:pt x="9" y="27"/>
                    <a:pt x="20" y="29"/>
                    <a:pt x="31" y="24"/>
                  </a:cubicBezTo>
                  <a:cubicBezTo>
                    <a:pt x="34" y="23"/>
                    <a:pt x="37" y="23"/>
                    <a:pt x="41" y="22"/>
                  </a:cubicBezTo>
                  <a:cubicBezTo>
                    <a:pt x="35" y="20"/>
                    <a:pt x="28" y="18"/>
                    <a:pt x="21" y="17"/>
                  </a:cubicBezTo>
                  <a:cubicBezTo>
                    <a:pt x="30" y="13"/>
                    <a:pt x="39" y="10"/>
                    <a:pt x="39" y="0"/>
                  </a:cubicBezTo>
                  <a:cubicBezTo>
                    <a:pt x="31" y="8"/>
                    <a:pt x="16" y="7"/>
                    <a:pt x="13" y="17"/>
                  </a:cubicBezTo>
                  <a:cubicBezTo>
                    <a:pt x="13" y="17"/>
                    <a:pt x="14" y="17"/>
                    <a:pt x="14" y="17"/>
                  </a:cubicBezTo>
                  <a:cubicBezTo>
                    <a:pt x="9" y="17"/>
                    <a:pt x="4" y="18"/>
                    <a:pt x="0" y="2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5" name="Freeform 95"/>
            <p:cNvSpPr>
              <a:spLocks/>
            </p:cNvSpPr>
            <p:nvPr/>
          </p:nvSpPr>
          <p:spPr bwMode="auto">
            <a:xfrm>
              <a:off x="2866" y="208"/>
              <a:ext cx="243" cy="146"/>
            </a:xfrm>
            <a:custGeom>
              <a:avLst/>
              <a:gdLst>
                <a:gd name="T0" fmla="*/ 18 w 137"/>
                <a:gd name="T1" fmla="*/ 40 h 82"/>
                <a:gd name="T2" fmla="*/ 56 w 137"/>
                <a:gd name="T3" fmla="*/ 39 h 82"/>
                <a:gd name="T4" fmla="*/ 29 w 137"/>
                <a:gd name="T5" fmla="*/ 52 h 82"/>
                <a:gd name="T6" fmla="*/ 58 w 137"/>
                <a:gd name="T7" fmla="*/ 58 h 82"/>
                <a:gd name="T8" fmla="*/ 33 w 137"/>
                <a:gd name="T9" fmla="*/ 60 h 82"/>
                <a:gd name="T10" fmla="*/ 60 w 137"/>
                <a:gd name="T11" fmla="*/ 82 h 82"/>
                <a:gd name="T12" fmla="*/ 103 w 137"/>
                <a:gd name="T13" fmla="*/ 41 h 82"/>
                <a:gd name="T14" fmla="*/ 98 w 137"/>
                <a:gd name="T15" fmla="*/ 42 h 82"/>
                <a:gd name="T16" fmla="*/ 100 w 137"/>
                <a:gd name="T17" fmla="*/ 61 h 82"/>
                <a:gd name="T18" fmla="*/ 116 w 137"/>
                <a:gd name="T19" fmla="*/ 62 h 82"/>
                <a:gd name="T20" fmla="*/ 115 w 137"/>
                <a:gd name="T21" fmla="*/ 68 h 82"/>
                <a:gd name="T22" fmla="*/ 137 w 137"/>
                <a:gd name="T23" fmla="*/ 56 h 82"/>
                <a:gd name="T24" fmla="*/ 107 w 137"/>
                <a:gd name="T25" fmla="*/ 39 h 82"/>
                <a:gd name="T26" fmla="*/ 110 w 137"/>
                <a:gd name="T27" fmla="*/ 38 h 82"/>
                <a:gd name="T28" fmla="*/ 75 w 137"/>
                <a:gd name="T29" fmla="*/ 15 h 82"/>
                <a:gd name="T30" fmla="*/ 69 w 137"/>
                <a:gd name="T31" fmla="*/ 20 h 82"/>
                <a:gd name="T32" fmla="*/ 53 w 137"/>
                <a:gd name="T33" fmla="*/ 26 h 82"/>
                <a:gd name="T34" fmla="*/ 34 w 137"/>
                <a:gd name="T35" fmla="*/ 22 h 82"/>
                <a:gd name="T36" fmla="*/ 25 w 137"/>
                <a:gd name="T37" fmla="*/ 17 h 82"/>
                <a:gd name="T38" fmla="*/ 29 w 137"/>
                <a:gd name="T39" fmla="*/ 12 h 82"/>
                <a:gd name="T40" fmla="*/ 0 w 137"/>
                <a:gd name="T41" fmla="*/ 18 h 82"/>
                <a:gd name="T42" fmla="*/ 18 w 137"/>
                <a:gd name="T43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7" h="82">
                  <a:moveTo>
                    <a:pt x="18" y="40"/>
                  </a:moveTo>
                  <a:cubicBezTo>
                    <a:pt x="30" y="51"/>
                    <a:pt x="41" y="36"/>
                    <a:pt x="56" y="39"/>
                  </a:cubicBezTo>
                  <a:cubicBezTo>
                    <a:pt x="48" y="45"/>
                    <a:pt x="39" y="48"/>
                    <a:pt x="29" y="52"/>
                  </a:cubicBezTo>
                  <a:cubicBezTo>
                    <a:pt x="37" y="60"/>
                    <a:pt x="47" y="55"/>
                    <a:pt x="58" y="58"/>
                  </a:cubicBezTo>
                  <a:cubicBezTo>
                    <a:pt x="50" y="61"/>
                    <a:pt x="41" y="61"/>
                    <a:pt x="33" y="60"/>
                  </a:cubicBezTo>
                  <a:cubicBezTo>
                    <a:pt x="37" y="72"/>
                    <a:pt x="50" y="77"/>
                    <a:pt x="60" y="82"/>
                  </a:cubicBezTo>
                  <a:cubicBezTo>
                    <a:pt x="66" y="69"/>
                    <a:pt x="86" y="26"/>
                    <a:pt x="103" y="41"/>
                  </a:cubicBezTo>
                  <a:cubicBezTo>
                    <a:pt x="101" y="42"/>
                    <a:pt x="100" y="42"/>
                    <a:pt x="98" y="42"/>
                  </a:cubicBezTo>
                  <a:cubicBezTo>
                    <a:pt x="105" y="48"/>
                    <a:pt x="106" y="54"/>
                    <a:pt x="100" y="61"/>
                  </a:cubicBezTo>
                  <a:cubicBezTo>
                    <a:pt x="105" y="60"/>
                    <a:pt x="111" y="63"/>
                    <a:pt x="116" y="62"/>
                  </a:cubicBezTo>
                  <a:cubicBezTo>
                    <a:pt x="115" y="64"/>
                    <a:pt x="115" y="66"/>
                    <a:pt x="115" y="68"/>
                  </a:cubicBezTo>
                  <a:cubicBezTo>
                    <a:pt x="123" y="64"/>
                    <a:pt x="129" y="60"/>
                    <a:pt x="137" y="56"/>
                  </a:cubicBezTo>
                  <a:cubicBezTo>
                    <a:pt x="126" y="47"/>
                    <a:pt x="116" y="44"/>
                    <a:pt x="107" y="39"/>
                  </a:cubicBezTo>
                  <a:cubicBezTo>
                    <a:pt x="108" y="39"/>
                    <a:pt x="109" y="39"/>
                    <a:pt x="110" y="38"/>
                  </a:cubicBezTo>
                  <a:cubicBezTo>
                    <a:pt x="99" y="30"/>
                    <a:pt x="79" y="28"/>
                    <a:pt x="75" y="15"/>
                  </a:cubicBezTo>
                  <a:cubicBezTo>
                    <a:pt x="73" y="17"/>
                    <a:pt x="71" y="18"/>
                    <a:pt x="69" y="20"/>
                  </a:cubicBezTo>
                  <a:cubicBezTo>
                    <a:pt x="72" y="0"/>
                    <a:pt x="39" y="5"/>
                    <a:pt x="53" y="26"/>
                  </a:cubicBezTo>
                  <a:cubicBezTo>
                    <a:pt x="47" y="18"/>
                    <a:pt x="32" y="4"/>
                    <a:pt x="34" y="22"/>
                  </a:cubicBezTo>
                  <a:cubicBezTo>
                    <a:pt x="31" y="20"/>
                    <a:pt x="28" y="18"/>
                    <a:pt x="25" y="17"/>
                  </a:cubicBezTo>
                  <a:cubicBezTo>
                    <a:pt x="26" y="15"/>
                    <a:pt x="28" y="13"/>
                    <a:pt x="29" y="12"/>
                  </a:cubicBezTo>
                  <a:cubicBezTo>
                    <a:pt x="18" y="9"/>
                    <a:pt x="7" y="9"/>
                    <a:pt x="0" y="18"/>
                  </a:cubicBezTo>
                  <a:cubicBezTo>
                    <a:pt x="7" y="24"/>
                    <a:pt x="17" y="38"/>
                    <a:pt x="18" y="4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6" name="Freeform 96"/>
            <p:cNvSpPr>
              <a:spLocks/>
            </p:cNvSpPr>
            <p:nvPr/>
          </p:nvSpPr>
          <p:spPr bwMode="auto">
            <a:xfrm>
              <a:off x="2993" y="198"/>
              <a:ext cx="158" cy="60"/>
            </a:xfrm>
            <a:custGeom>
              <a:avLst/>
              <a:gdLst>
                <a:gd name="T0" fmla="*/ 33 w 89"/>
                <a:gd name="T1" fmla="*/ 19 h 34"/>
                <a:gd name="T2" fmla="*/ 18 w 89"/>
                <a:gd name="T3" fmla="*/ 21 h 34"/>
                <a:gd name="T4" fmla="*/ 50 w 89"/>
                <a:gd name="T5" fmla="*/ 32 h 34"/>
                <a:gd name="T6" fmla="*/ 89 w 89"/>
                <a:gd name="T7" fmla="*/ 15 h 34"/>
                <a:gd name="T8" fmla="*/ 52 w 89"/>
                <a:gd name="T9" fmla="*/ 9 h 34"/>
                <a:gd name="T10" fmla="*/ 52 w 89"/>
                <a:gd name="T11" fmla="*/ 1 h 34"/>
                <a:gd name="T12" fmla="*/ 16 w 89"/>
                <a:gd name="T13" fmla="*/ 2 h 34"/>
                <a:gd name="T14" fmla="*/ 17 w 89"/>
                <a:gd name="T15" fmla="*/ 5 h 34"/>
                <a:gd name="T16" fmla="*/ 0 w 89"/>
                <a:gd name="T17" fmla="*/ 6 h 34"/>
                <a:gd name="T18" fmla="*/ 33 w 89"/>
                <a:gd name="T19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34">
                  <a:moveTo>
                    <a:pt x="33" y="19"/>
                  </a:moveTo>
                  <a:cubicBezTo>
                    <a:pt x="28" y="19"/>
                    <a:pt x="22" y="21"/>
                    <a:pt x="18" y="21"/>
                  </a:cubicBezTo>
                  <a:cubicBezTo>
                    <a:pt x="22" y="28"/>
                    <a:pt x="42" y="31"/>
                    <a:pt x="50" y="32"/>
                  </a:cubicBezTo>
                  <a:cubicBezTo>
                    <a:pt x="64" y="34"/>
                    <a:pt x="78" y="22"/>
                    <a:pt x="89" y="15"/>
                  </a:cubicBezTo>
                  <a:cubicBezTo>
                    <a:pt x="80" y="4"/>
                    <a:pt x="64" y="4"/>
                    <a:pt x="52" y="9"/>
                  </a:cubicBezTo>
                  <a:cubicBezTo>
                    <a:pt x="52" y="6"/>
                    <a:pt x="52" y="3"/>
                    <a:pt x="52" y="1"/>
                  </a:cubicBezTo>
                  <a:cubicBezTo>
                    <a:pt x="37" y="12"/>
                    <a:pt x="32" y="0"/>
                    <a:pt x="16" y="2"/>
                  </a:cubicBezTo>
                  <a:cubicBezTo>
                    <a:pt x="16" y="3"/>
                    <a:pt x="17" y="4"/>
                    <a:pt x="17" y="5"/>
                  </a:cubicBezTo>
                  <a:cubicBezTo>
                    <a:pt x="11" y="5"/>
                    <a:pt x="7" y="7"/>
                    <a:pt x="0" y="6"/>
                  </a:cubicBezTo>
                  <a:cubicBezTo>
                    <a:pt x="5" y="23"/>
                    <a:pt x="19" y="17"/>
                    <a:pt x="33" y="1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7" name="Freeform 97"/>
            <p:cNvSpPr>
              <a:spLocks/>
            </p:cNvSpPr>
            <p:nvPr/>
          </p:nvSpPr>
          <p:spPr bwMode="auto">
            <a:xfrm>
              <a:off x="2866" y="263"/>
              <a:ext cx="19" cy="27"/>
            </a:xfrm>
            <a:custGeom>
              <a:avLst/>
              <a:gdLst>
                <a:gd name="T0" fmla="*/ 11 w 11"/>
                <a:gd name="T1" fmla="*/ 15 h 15"/>
                <a:gd name="T2" fmla="*/ 0 w 11"/>
                <a:gd name="T3" fmla="*/ 0 h 15"/>
                <a:gd name="T4" fmla="*/ 11 w 11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5">
                  <a:moveTo>
                    <a:pt x="11" y="15"/>
                  </a:moveTo>
                  <a:cubicBezTo>
                    <a:pt x="8" y="9"/>
                    <a:pt x="4" y="4"/>
                    <a:pt x="0" y="0"/>
                  </a:cubicBezTo>
                  <a:cubicBezTo>
                    <a:pt x="0" y="4"/>
                    <a:pt x="4" y="12"/>
                    <a:pt x="11" y="1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8" name="Freeform 98"/>
            <p:cNvSpPr>
              <a:spLocks/>
            </p:cNvSpPr>
            <p:nvPr/>
          </p:nvSpPr>
          <p:spPr bwMode="auto">
            <a:xfrm>
              <a:off x="2506" y="978"/>
              <a:ext cx="90" cy="100"/>
            </a:xfrm>
            <a:custGeom>
              <a:avLst/>
              <a:gdLst>
                <a:gd name="T0" fmla="*/ 9 w 51"/>
                <a:gd name="T1" fmla="*/ 51 h 56"/>
                <a:gd name="T2" fmla="*/ 39 w 51"/>
                <a:gd name="T3" fmla="*/ 38 h 56"/>
                <a:gd name="T4" fmla="*/ 34 w 51"/>
                <a:gd name="T5" fmla="*/ 2 h 56"/>
                <a:gd name="T6" fmla="*/ 9 w 51"/>
                <a:gd name="T7" fmla="*/ 17 h 56"/>
                <a:gd name="T8" fmla="*/ 10 w 51"/>
                <a:gd name="T9" fmla="*/ 32 h 56"/>
                <a:gd name="T10" fmla="*/ 9 w 51"/>
                <a:gd name="T11" fmla="*/ 5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56">
                  <a:moveTo>
                    <a:pt x="9" y="51"/>
                  </a:moveTo>
                  <a:cubicBezTo>
                    <a:pt x="14" y="56"/>
                    <a:pt x="39" y="42"/>
                    <a:pt x="39" y="38"/>
                  </a:cubicBezTo>
                  <a:cubicBezTo>
                    <a:pt x="39" y="26"/>
                    <a:pt x="51" y="5"/>
                    <a:pt x="34" y="2"/>
                  </a:cubicBezTo>
                  <a:cubicBezTo>
                    <a:pt x="22" y="0"/>
                    <a:pt x="17" y="13"/>
                    <a:pt x="9" y="17"/>
                  </a:cubicBezTo>
                  <a:cubicBezTo>
                    <a:pt x="7" y="24"/>
                    <a:pt x="14" y="26"/>
                    <a:pt x="10" y="32"/>
                  </a:cubicBezTo>
                  <a:cubicBezTo>
                    <a:pt x="4" y="41"/>
                    <a:pt x="0" y="44"/>
                    <a:pt x="9" y="5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99" name="Freeform 99"/>
            <p:cNvSpPr>
              <a:spLocks/>
            </p:cNvSpPr>
            <p:nvPr/>
          </p:nvSpPr>
          <p:spPr bwMode="auto">
            <a:xfrm>
              <a:off x="2559" y="904"/>
              <a:ext cx="18" cy="14"/>
            </a:xfrm>
            <a:custGeom>
              <a:avLst/>
              <a:gdLst>
                <a:gd name="T0" fmla="*/ 10 w 10"/>
                <a:gd name="T1" fmla="*/ 0 h 8"/>
                <a:gd name="T2" fmla="*/ 3 w 10"/>
                <a:gd name="T3" fmla="*/ 8 h 8"/>
                <a:gd name="T4" fmla="*/ 10 w 10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10" y="0"/>
                  </a:moveTo>
                  <a:cubicBezTo>
                    <a:pt x="0" y="1"/>
                    <a:pt x="5" y="5"/>
                    <a:pt x="3" y="8"/>
                  </a:cubicBezTo>
                  <a:cubicBezTo>
                    <a:pt x="5" y="5"/>
                    <a:pt x="8" y="3"/>
                    <a:pt x="1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0" name="Freeform 100"/>
            <p:cNvSpPr>
              <a:spLocks/>
            </p:cNvSpPr>
            <p:nvPr/>
          </p:nvSpPr>
          <p:spPr bwMode="auto">
            <a:xfrm>
              <a:off x="2570" y="883"/>
              <a:ext cx="150" cy="223"/>
            </a:xfrm>
            <a:custGeom>
              <a:avLst/>
              <a:gdLst>
                <a:gd name="T0" fmla="*/ 6 w 85"/>
                <a:gd name="T1" fmla="*/ 37 h 126"/>
                <a:gd name="T2" fmla="*/ 12 w 85"/>
                <a:gd name="T3" fmla="*/ 51 h 126"/>
                <a:gd name="T4" fmla="*/ 12 w 85"/>
                <a:gd name="T5" fmla="*/ 46 h 126"/>
                <a:gd name="T6" fmla="*/ 31 w 85"/>
                <a:gd name="T7" fmla="*/ 63 h 126"/>
                <a:gd name="T8" fmla="*/ 22 w 85"/>
                <a:gd name="T9" fmla="*/ 83 h 126"/>
                <a:gd name="T10" fmla="*/ 15 w 85"/>
                <a:gd name="T11" fmla="*/ 104 h 126"/>
                <a:gd name="T12" fmla="*/ 36 w 85"/>
                <a:gd name="T13" fmla="*/ 105 h 126"/>
                <a:gd name="T14" fmla="*/ 13 w 85"/>
                <a:gd name="T15" fmla="*/ 126 h 126"/>
                <a:gd name="T16" fmla="*/ 41 w 85"/>
                <a:gd name="T17" fmla="*/ 119 h 126"/>
                <a:gd name="T18" fmla="*/ 78 w 85"/>
                <a:gd name="T19" fmla="*/ 109 h 126"/>
                <a:gd name="T20" fmla="*/ 71 w 85"/>
                <a:gd name="T21" fmla="*/ 108 h 126"/>
                <a:gd name="T22" fmla="*/ 70 w 85"/>
                <a:gd name="T23" fmla="*/ 89 h 126"/>
                <a:gd name="T24" fmla="*/ 68 w 85"/>
                <a:gd name="T25" fmla="*/ 90 h 126"/>
                <a:gd name="T26" fmla="*/ 34 w 85"/>
                <a:gd name="T27" fmla="*/ 47 h 126"/>
                <a:gd name="T28" fmla="*/ 46 w 85"/>
                <a:gd name="T29" fmla="*/ 23 h 126"/>
                <a:gd name="T30" fmla="*/ 33 w 85"/>
                <a:gd name="T31" fmla="*/ 11 h 126"/>
                <a:gd name="T32" fmla="*/ 8 w 85"/>
                <a:gd name="T33" fmla="*/ 27 h 126"/>
                <a:gd name="T34" fmla="*/ 0 w 85"/>
                <a:gd name="T35" fmla="*/ 23 h 126"/>
                <a:gd name="T36" fmla="*/ 6 w 85"/>
                <a:gd name="T37" fmla="*/ 3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126">
                  <a:moveTo>
                    <a:pt x="6" y="37"/>
                  </a:moveTo>
                  <a:cubicBezTo>
                    <a:pt x="10" y="42"/>
                    <a:pt x="12" y="47"/>
                    <a:pt x="12" y="51"/>
                  </a:cubicBezTo>
                  <a:cubicBezTo>
                    <a:pt x="12" y="49"/>
                    <a:pt x="12" y="48"/>
                    <a:pt x="12" y="46"/>
                  </a:cubicBezTo>
                  <a:cubicBezTo>
                    <a:pt x="26" y="50"/>
                    <a:pt x="7" y="70"/>
                    <a:pt x="31" y="63"/>
                  </a:cubicBezTo>
                  <a:cubicBezTo>
                    <a:pt x="36" y="69"/>
                    <a:pt x="41" y="83"/>
                    <a:pt x="22" y="83"/>
                  </a:cubicBezTo>
                  <a:cubicBezTo>
                    <a:pt x="26" y="92"/>
                    <a:pt x="23" y="99"/>
                    <a:pt x="15" y="104"/>
                  </a:cubicBezTo>
                  <a:cubicBezTo>
                    <a:pt x="21" y="106"/>
                    <a:pt x="28" y="107"/>
                    <a:pt x="36" y="105"/>
                  </a:cubicBezTo>
                  <a:cubicBezTo>
                    <a:pt x="30" y="109"/>
                    <a:pt x="17" y="116"/>
                    <a:pt x="13" y="126"/>
                  </a:cubicBezTo>
                  <a:cubicBezTo>
                    <a:pt x="24" y="125"/>
                    <a:pt x="30" y="121"/>
                    <a:pt x="41" y="119"/>
                  </a:cubicBezTo>
                  <a:cubicBezTo>
                    <a:pt x="52" y="118"/>
                    <a:pt x="73" y="119"/>
                    <a:pt x="78" y="109"/>
                  </a:cubicBezTo>
                  <a:cubicBezTo>
                    <a:pt x="76" y="109"/>
                    <a:pt x="73" y="108"/>
                    <a:pt x="71" y="108"/>
                  </a:cubicBezTo>
                  <a:cubicBezTo>
                    <a:pt x="82" y="101"/>
                    <a:pt x="85" y="88"/>
                    <a:pt x="70" y="89"/>
                  </a:cubicBezTo>
                  <a:cubicBezTo>
                    <a:pt x="72" y="85"/>
                    <a:pt x="70" y="88"/>
                    <a:pt x="68" y="90"/>
                  </a:cubicBezTo>
                  <a:cubicBezTo>
                    <a:pt x="70" y="77"/>
                    <a:pt x="47" y="45"/>
                    <a:pt x="34" y="47"/>
                  </a:cubicBezTo>
                  <a:cubicBezTo>
                    <a:pt x="40" y="40"/>
                    <a:pt x="43" y="32"/>
                    <a:pt x="46" y="23"/>
                  </a:cubicBezTo>
                  <a:cubicBezTo>
                    <a:pt x="34" y="23"/>
                    <a:pt x="14" y="25"/>
                    <a:pt x="33" y="11"/>
                  </a:cubicBezTo>
                  <a:cubicBezTo>
                    <a:pt x="20" y="0"/>
                    <a:pt x="10" y="18"/>
                    <a:pt x="8" y="27"/>
                  </a:cubicBezTo>
                  <a:cubicBezTo>
                    <a:pt x="5" y="24"/>
                    <a:pt x="4" y="25"/>
                    <a:pt x="0" y="23"/>
                  </a:cubicBezTo>
                  <a:cubicBezTo>
                    <a:pt x="8" y="30"/>
                    <a:pt x="8" y="29"/>
                    <a:pt x="6" y="3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1" name="Freeform 101"/>
            <p:cNvSpPr>
              <a:spLocks/>
            </p:cNvSpPr>
            <p:nvPr/>
          </p:nvSpPr>
          <p:spPr bwMode="auto">
            <a:xfrm>
              <a:off x="2596" y="1005"/>
              <a:ext cx="13" cy="9"/>
            </a:xfrm>
            <a:custGeom>
              <a:avLst/>
              <a:gdLst>
                <a:gd name="T0" fmla="*/ 6 w 7"/>
                <a:gd name="T1" fmla="*/ 4 h 5"/>
                <a:gd name="T2" fmla="*/ 5 w 7"/>
                <a:gd name="T3" fmla="*/ 0 h 5"/>
                <a:gd name="T4" fmla="*/ 6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4"/>
                  </a:moveTo>
                  <a:cubicBezTo>
                    <a:pt x="7" y="2"/>
                    <a:pt x="5" y="0"/>
                    <a:pt x="5" y="0"/>
                  </a:cubicBezTo>
                  <a:cubicBezTo>
                    <a:pt x="5" y="3"/>
                    <a:pt x="0" y="5"/>
                    <a:pt x="6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2" name="Freeform 102"/>
            <p:cNvSpPr>
              <a:spLocks/>
            </p:cNvSpPr>
            <p:nvPr/>
          </p:nvSpPr>
          <p:spPr bwMode="auto">
            <a:xfrm>
              <a:off x="2270" y="680"/>
              <a:ext cx="177" cy="98"/>
            </a:xfrm>
            <a:custGeom>
              <a:avLst/>
              <a:gdLst>
                <a:gd name="T0" fmla="*/ 100 w 100"/>
                <a:gd name="T1" fmla="*/ 25 h 55"/>
                <a:gd name="T2" fmla="*/ 90 w 100"/>
                <a:gd name="T3" fmla="*/ 4 h 55"/>
                <a:gd name="T4" fmla="*/ 47 w 100"/>
                <a:gd name="T5" fmla="*/ 10 h 55"/>
                <a:gd name="T6" fmla="*/ 30 w 100"/>
                <a:gd name="T7" fmla="*/ 6 h 55"/>
                <a:gd name="T8" fmla="*/ 16 w 100"/>
                <a:gd name="T9" fmla="*/ 1 h 55"/>
                <a:gd name="T10" fmla="*/ 0 w 100"/>
                <a:gd name="T11" fmla="*/ 7 h 55"/>
                <a:gd name="T12" fmla="*/ 19 w 100"/>
                <a:gd name="T13" fmla="*/ 17 h 55"/>
                <a:gd name="T14" fmla="*/ 1 w 100"/>
                <a:gd name="T15" fmla="*/ 20 h 55"/>
                <a:gd name="T16" fmla="*/ 16 w 100"/>
                <a:gd name="T17" fmla="*/ 22 h 55"/>
                <a:gd name="T18" fmla="*/ 11 w 100"/>
                <a:gd name="T19" fmla="*/ 34 h 55"/>
                <a:gd name="T20" fmla="*/ 100 w 100"/>
                <a:gd name="T21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100" y="25"/>
                  </a:moveTo>
                  <a:cubicBezTo>
                    <a:pt x="96" y="18"/>
                    <a:pt x="88" y="11"/>
                    <a:pt x="90" y="4"/>
                  </a:cubicBezTo>
                  <a:cubicBezTo>
                    <a:pt x="78" y="2"/>
                    <a:pt x="55" y="3"/>
                    <a:pt x="47" y="10"/>
                  </a:cubicBezTo>
                  <a:cubicBezTo>
                    <a:pt x="40" y="8"/>
                    <a:pt x="36" y="9"/>
                    <a:pt x="30" y="6"/>
                  </a:cubicBezTo>
                  <a:cubicBezTo>
                    <a:pt x="23" y="23"/>
                    <a:pt x="22" y="2"/>
                    <a:pt x="16" y="1"/>
                  </a:cubicBezTo>
                  <a:cubicBezTo>
                    <a:pt x="13" y="0"/>
                    <a:pt x="2" y="6"/>
                    <a:pt x="0" y="7"/>
                  </a:cubicBezTo>
                  <a:cubicBezTo>
                    <a:pt x="6" y="11"/>
                    <a:pt x="14" y="14"/>
                    <a:pt x="19" y="17"/>
                  </a:cubicBezTo>
                  <a:cubicBezTo>
                    <a:pt x="13" y="18"/>
                    <a:pt x="7" y="21"/>
                    <a:pt x="1" y="20"/>
                  </a:cubicBezTo>
                  <a:cubicBezTo>
                    <a:pt x="6" y="20"/>
                    <a:pt x="11" y="22"/>
                    <a:pt x="16" y="22"/>
                  </a:cubicBezTo>
                  <a:cubicBezTo>
                    <a:pt x="13" y="26"/>
                    <a:pt x="15" y="30"/>
                    <a:pt x="11" y="34"/>
                  </a:cubicBezTo>
                  <a:cubicBezTo>
                    <a:pt x="43" y="43"/>
                    <a:pt x="73" y="55"/>
                    <a:pt x="100" y="2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3" name="Freeform 103"/>
            <p:cNvSpPr>
              <a:spLocks/>
            </p:cNvSpPr>
            <p:nvPr/>
          </p:nvSpPr>
          <p:spPr bwMode="auto">
            <a:xfrm>
              <a:off x="1210" y="1623"/>
              <a:ext cx="182" cy="101"/>
            </a:xfrm>
            <a:custGeom>
              <a:avLst/>
              <a:gdLst>
                <a:gd name="T0" fmla="*/ 103 w 103"/>
                <a:gd name="T1" fmla="*/ 50 h 57"/>
                <a:gd name="T2" fmla="*/ 0 w 103"/>
                <a:gd name="T3" fmla="*/ 34 h 57"/>
                <a:gd name="T4" fmla="*/ 73 w 103"/>
                <a:gd name="T5" fmla="*/ 46 h 57"/>
                <a:gd name="T6" fmla="*/ 69 w 103"/>
                <a:gd name="T7" fmla="*/ 52 h 57"/>
                <a:gd name="T8" fmla="*/ 103 w 103"/>
                <a:gd name="T9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57">
                  <a:moveTo>
                    <a:pt x="103" y="50"/>
                  </a:moveTo>
                  <a:cubicBezTo>
                    <a:pt x="84" y="34"/>
                    <a:pt x="19" y="0"/>
                    <a:pt x="0" y="34"/>
                  </a:cubicBezTo>
                  <a:cubicBezTo>
                    <a:pt x="26" y="23"/>
                    <a:pt x="48" y="31"/>
                    <a:pt x="73" y="46"/>
                  </a:cubicBezTo>
                  <a:cubicBezTo>
                    <a:pt x="71" y="48"/>
                    <a:pt x="70" y="50"/>
                    <a:pt x="69" y="52"/>
                  </a:cubicBezTo>
                  <a:cubicBezTo>
                    <a:pt x="81" y="53"/>
                    <a:pt x="92" y="57"/>
                    <a:pt x="103" y="5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4" name="Freeform 104"/>
            <p:cNvSpPr>
              <a:spLocks/>
            </p:cNvSpPr>
            <p:nvPr/>
          </p:nvSpPr>
          <p:spPr bwMode="auto">
            <a:xfrm>
              <a:off x="1235" y="1679"/>
              <a:ext cx="8" cy="11"/>
            </a:xfrm>
            <a:custGeom>
              <a:avLst/>
              <a:gdLst>
                <a:gd name="T0" fmla="*/ 0 w 5"/>
                <a:gd name="T1" fmla="*/ 6 h 6"/>
                <a:gd name="T2" fmla="*/ 5 w 5"/>
                <a:gd name="T3" fmla="*/ 6 h 6"/>
                <a:gd name="T4" fmla="*/ 5 w 5"/>
                <a:gd name="T5" fmla="*/ 0 h 6"/>
                <a:gd name="T6" fmla="*/ 0 w 5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0" y="6"/>
                  </a:moveTo>
                  <a:cubicBezTo>
                    <a:pt x="2" y="6"/>
                    <a:pt x="3" y="6"/>
                    <a:pt x="5" y="6"/>
                  </a:cubicBezTo>
                  <a:cubicBezTo>
                    <a:pt x="5" y="4"/>
                    <a:pt x="5" y="2"/>
                    <a:pt x="5" y="0"/>
                  </a:cubicBezTo>
                  <a:cubicBezTo>
                    <a:pt x="5" y="1"/>
                    <a:pt x="1" y="4"/>
                    <a:pt x="0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5" name="Freeform 105"/>
            <p:cNvSpPr>
              <a:spLocks/>
            </p:cNvSpPr>
            <p:nvPr/>
          </p:nvSpPr>
          <p:spPr bwMode="auto">
            <a:xfrm>
              <a:off x="1327" y="1742"/>
              <a:ext cx="25" cy="14"/>
            </a:xfrm>
            <a:custGeom>
              <a:avLst/>
              <a:gdLst>
                <a:gd name="T0" fmla="*/ 13 w 14"/>
                <a:gd name="T1" fmla="*/ 2 h 8"/>
                <a:gd name="T2" fmla="*/ 0 w 14"/>
                <a:gd name="T3" fmla="*/ 2 h 8"/>
                <a:gd name="T4" fmla="*/ 13 w 14"/>
                <a:gd name="T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8">
                  <a:moveTo>
                    <a:pt x="13" y="2"/>
                  </a:moveTo>
                  <a:cubicBezTo>
                    <a:pt x="11" y="1"/>
                    <a:pt x="4" y="0"/>
                    <a:pt x="0" y="2"/>
                  </a:cubicBezTo>
                  <a:cubicBezTo>
                    <a:pt x="7" y="8"/>
                    <a:pt x="14" y="8"/>
                    <a:pt x="13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6" name="Freeform 106"/>
            <p:cNvSpPr>
              <a:spLocks/>
            </p:cNvSpPr>
            <p:nvPr/>
          </p:nvSpPr>
          <p:spPr bwMode="auto">
            <a:xfrm>
              <a:off x="1518" y="1738"/>
              <a:ext cx="25" cy="14"/>
            </a:xfrm>
            <a:custGeom>
              <a:avLst/>
              <a:gdLst>
                <a:gd name="T0" fmla="*/ 0 w 14"/>
                <a:gd name="T1" fmla="*/ 3 h 8"/>
                <a:gd name="T2" fmla="*/ 14 w 14"/>
                <a:gd name="T3" fmla="*/ 5 h 8"/>
                <a:gd name="T4" fmla="*/ 0 w 14"/>
                <a:gd name="T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8">
                  <a:moveTo>
                    <a:pt x="0" y="3"/>
                  </a:moveTo>
                  <a:cubicBezTo>
                    <a:pt x="6" y="8"/>
                    <a:pt x="9" y="5"/>
                    <a:pt x="14" y="5"/>
                  </a:cubicBezTo>
                  <a:cubicBezTo>
                    <a:pt x="8" y="3"/>
                    <a:pt x="6" y="0"/>
                    <a:pt x="0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7" name="Freeform 107"/>
            <p:cNvSpPr>
              <a:spLocks/>
            </p:cNvSpPr>
            <p:nvPr/>
          </p:nvSpPr>
          <p:spPr bwMode="auto">
            <a:xfrm>
              <a:off x="1392" y="1715"/>
              <a:ext cx="105" cy="43"/>
            </a:xfrm>
            <a:custGeom>
              <a:avLst/>
              <a:gdLst>
                <a:gd name="T0" fmla="*/ 4 w 59"/>
                <a:gd name="T1" fmla="*/ 20 h 24"/>
                <a:gd name="T2" fmla="*/ 28 w 59"/>
                <a:gd name="T3" fmla="*/ 23 h 24"/>
                <a:gd name="T4" fmla="*/ 59 w 59"/>
                <a:gd name="T5" fmla="*/ 16 h 24"/>
                <a:gd name="T6" fmla="*/ 49 w 59"/>
                <a:gd name="T7" fmla="*/ 8 h 24"/>
                <a:gd name="T8" fmla="*/ 51 w 59"/>
                <a:gd name="T9" fmla="*/ 10 h 24"/>
                <a:gd name="T10" fmla="*/ 10 w 59"/>
                <a:gd name="T11" fmla="*/ 2 h 24"/>
                <a:gd name="T12" fmla="*/ 17 w 59"/>
                <a:gd name="T13" fmla="*/ 13 h 24"/>
                <a:gd name="T14" fmla="*/ 0 w 59"/>
                <a:gd name="T15" fmla="*/ 15 h 24"/>
                <a:gd name="T16" fmla="*/ 4 w 59"/>
                <a:gd name="T17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24">
                  <a:moveTo>
                    <a:pt x="4" y="20"/>
                  </a:moveTo>
                  <a:cubicBezTo>
                    <a:pt x="12" y="13"/>
                    <a:pt x="21" y="24"/>
                    <a:pt x="28" y="23"/>
                  </a:cubicBezTo>
                  <a:cubicBezTo>
                    <a:pt x="38" y="23"/>
                    <a:pt x="46" y="15"/>
                    <a:pt x="59" y="16"/>
                  </a:cubicBezTo>
                  <a:cubicBezTo>
                    <a:pt x="56" y="13"/>
                    <a:pt x="53" y="10"/>
                    <a:pt x="49" y="8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39" y="0"/>
                    <a:pt x="23" y="0"/>
                    <a:pt x="10" y="2"/>
                  </a:cubicBezTo>
                  <a:cubicBezTo>
                    <a:pt x="15" y="6"/>
                    <a:pt x="14" y="9"/>
                    <a:pt x="17" y="13"/>
                  </a:cubicBezTo>
                  <a:cubicBezTo>
                    <a:pt x="12" y="13"/>
                    <a:pt x="5" y="15"/>
                    <a:pt x="0" y="15"/>
                  </a:cubicBezTo>
                  <a:cubicBezTo>
                    <a:pt x="2" y="17"/>
                    <a:pt x="3" y="19"/>
                    <a:pt x="4" y="2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8" name="Freeform 108"/>
            <p:cNvSpPr>
              <a:spLocks/>
            </p:cNvSpPr>
            <p:nvPr/>
          </p:nvSpPr>
          <p:spPr bwMode="auto">
            <a:xfrm>
              <a:off x="1614" y="1878"/>
              <a:ext cx="12" cy="16"/>
            </a:xfrm>
            <a:custGeom>
              <a:avLst/>
              <a:gdLst>
                <a:gd name="T0" fmla="*/ 0 w 7"/>
                <a:gd name="T1" fmla="*/ 9 h 9"/>
                <a:gd name="T2" fmla="*/ 7 w 7"/>
                <a:gd name="T3" fmla="*/ 4 h 9"/>
                <a:gd name="T4" fmla="*/ 0 w 7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0" y="9"/>
                  </a:moveTo>
                  <a:cubicBezTo>
                    <a:pt x="4" y="9"/>
                    <a:pt x="4" y="6"/>
                    <a:pt x="7" y="4"/>
                  </a:cubicBezTo>
                  <a:cubicBezTo>
                    <a:pt x="6" y="4"/>
                    <a:pt x="3" y="0"/>
                    <a:pt x="0" y="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09" name="Freeform 109"/>
            <p:cNvSpPr>
              <a:spLocks/>
            </p:cNvSpPr>
            <p:nvPr/>
          </p:nvSpPr>
          <p:spPr bwMode="auto">
            <a:xfrm>
              <a:off x="1655" y="3065"/>
              <a:ext cx="28" cy="22"/>
            </a:xfrm>
            <a:custGeom>
              <a:avLst/>
              <a:gdLst>
                <a:gd name="T0" fmla="*/ 4 w 16"/>
                <a:gd name="T1" fmla="*/ 4 h 12"/>
                <a:gd name="T2" fmla="*/ 1 w 16"/>
                <a:gd name="T3" fmla="*/ 12 h 12"/>
                <a:gd name="T4" fmla="*/ 16 w 16"/>
                <a:gd name="T5" fmla="*/ 1 h 12"/>
                <a:gd name="T6" fmla="*/ 4 w 16"/>
                <a:gd name="T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4" y="4"/>
                  </a:moveTo>
                  <a:cubicBezTo>
                    <a:pt x="2" y="7"/>
                    <a:pt x="0" y="8"/>
                    <a:pt x="1" y="12"/>
                  </a:cubicBezTo>
                  <a:cubicBezTo>
                    <a:pt x="7" y="10"/>
                    <a:pt x="14" y="6"/>
                    <a:pt x="16" y="1"/>
                  </a:cubicBezTo>
                  <a:cubicBezTo>
                    <a:pt x="11" y="0"/>
                    <a:pt x="9" y="2"/>
                    <a:pt x="4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1634" y="3060"/>
              <a:ext cx="26" cy="25"/>
            </a:xfrm>
            <a:custGeom>
              <a:avLst/>
              <a:gdLst>
                <a:gd name="T0" fmla="*/ 6 w 15"/>
                <a:gd name="T1" fmla="*/ 6 h 14"/>
                <a:gd name="T2" fmla="*/ 2 w 15"/>
                <a:gd name="T3" fmla="*/ 14 h 14"/>
                <a:gd name="T4" fmla="*/ 15 w 15"/>
                <a:gd name="T5" fmla="*/ 2 h 14"/>
                <a:gd name="T6" fmla="*/ 6 w 15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6" y="6"/>
                  </a:moveTo>
                  <a:cubicBezTo>
                    <a:pt x="3" y="10"/>
                    <a:pt x="0" y="10"/>
                    <a:pt x="2" y="14"/>
                  </a:cubicBezTo>
                  <a:cubicBezTo>
                    <a:pt x="8" y="11"/>
                    <a:pt x="13" y="7"/>
                    <a:pt x="15" y="2"/>
                  </a:cubicBezTo>
                  <a:cubicBezTo>
                    <a:pt x="3" y="0"/>
                    <a:pt x="7" y="4"/>
                    <a:pt x="6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1321" y="1619"/>
              <a:ext cx="11" cy="14"/>
            </a:xfrm>
            <a:custGeom>
              <a:avLst/>
              <a:gdLst>
                <a:gd name="T0" fmla="*/ 3 w 6"/>
                <a:gd name="T1" fmla="*/ 8 h 8"/>
                <a:gd name="T2" fmla="*/ 1 w 6"/>
                <a:gd name="T3" fmla="*/ 2 h 8"/>
                <a:gd name="T4" fmla="*/ 3 w 6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3" y="8"/>
                  </a:moveTo>
                  <a:cubicBezTo>
                    <a:pt x="6" y="5"/>
                    <a:pt x="2" y="5"/>
                    <a:pt x="1" y="2"/>
                  </a:cubicBezTo>
                  <a:cubicBezTo>
                    <a:pt x="0" y="0"/>
                    <a:pt x="2" y="7"/>
                    <a:pt x="3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2" name="Freeform 112"/>
            <p:cNvSpPr>
              <a:spLocks/>
            </p:cNvSpPr>
            <p:nvPr/>
          </p:nvSpPr>
          <p:spPr bwMode="auto">
            <a:xfrm>
              <a:off x="1311" y="1585"/>
              <a:ext cx="16" cy="7"/>
            </a:xfrm>
            <a:custGeom>
              <a:avLst/>
              <a:gdLst>
                <a:gd name="T0" fmla="*/ 0 w 9"/>
                <a:gd name="T1" fmla="*/ 4 h 4"/>
                <a:gd name="T2" fmla="*/ 9 w 9"/>
                <a:gd name="T3" fmla="*/ 4 h 4"/>
                <a:gd name="T4" fmla="*/ 0 w 9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0" y="4"/>
                  </a:moveTo>
                  <a:cubicBezTo>
                    <a:pt x="3" y="4"/>
                    <a:pt x="6" y="4"/>
                    <a:pt x="9" y="4"/>
                  </a:cubicBezTo>
                  <a:cubicBezTo>
                    <a:pt x="5" y="0"/>
                    <a:pt x="5" y="3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3" name="Freeform 113"/>
            <p:cNvSpPr>
              <a:spLocks/>
            </p:cNvSpPr>
            <p:nvPr/>
          </p:nvSpPr>
          <p:spPr bwMode="auto">
            <a:xfrm>
              <a:off x="1401" y="1701"/>
              <a:ext cx="13" cy="10"/>
            </a:xfrm>
            <a:custGeom>
              <a:avLst/>
              <a:gdLst>
                <a:gd name="T0" fmla="*/ 7 w 7"/>
                <a:gd name="T1" fmla="*/ 0 h 6"/>
                <a:gd name="T2" fmla="*/ 0 w 7"/>
                <a:gd name="T3" fmla="*/ 3 h 6"/>
                <a:gd name="T4" fmla="*/ 7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cubicBezTo>
                    <a:pt x="4" y="1"/>
                    <a:pt x="2" y="2"/>
                    <a:pt x="0" y="3"/>
                  </a:cubicBezTo>
                  <a:cubicBezTo>
                    <a:pt x="1" y="3"/>
                    <a:pt x="4" y="6"/>
                    <a:pt x="7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4" name="Freeform 114"/>
            <p:cNvSpPr>
              <a:spLocks/>
            </p:cNvSpPr>
            <p:nvPr/>
          </p:nvSpPr>
          <p:spPr bwMode="auto">
            <a:xfrm>
              <a:off x="286" y="922"/>
              <a:ext cx="51" cy="55"/>
            </a:xfrm>
            <a:custGeom>
              <a:avLst/>
              <a:gdLst>
                <a:gd name="T0" fmla="*/ 24 w 29"/>
                <a:gd name="T1" fmla="*/ 3 h 31"/>
                <a:gd name="T2" fmla="*/ 27 w 29"/>
                <a:gd name="T3" fmla="*/ 31 h 31"/>
                <a:gd name="T4" fmla="*/ 24 w 29"/>
                <a:gd name="T5" fmla="*/ 18 h 31"/>
                <a:gd name="T6" fmla="*/ 24 w 29"/>
                <a:gd name="T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31">
                  <a:moveTo>
                    <a:pt x="24" y="3"/>
                  </a:moveTo>
                  <a:cubicBezTo>
                    <a:pt x="0" y="0"/>
                    <a:pt x="24" y="22"/>
                    <a:pt x="27" y="31"/>
                  </a:cubicBezTo>
                  <a:cubicBezTo>
                    <a:pt x="29" y="23"/>
                    <a:pt x="26" y="21"/>
                    <a:pt x="24" y="18"/>
                  </a:cubicBezTo>
                  <a:cubicBezTo>
                    <a:pt x="25" y="14"/>
                    <a:pt x="23" y="8"/>
                    <a:pt x="24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5" name="Freeform 115"/>
            <p:cNvSpPr>
              <a:spLocks/>
            </p:cNvSpPr>
            <p:nvPr/>
          </p:nvSpPr>
          <p:spPr bwMode="auto">
            <a:xfrm>
              <a:off x="548" y="434"/>
              <a:ext cx="376" cy="209"/>
            </a:xfrm>
            <a:custGeom>
              <a:avLst/>
              <a:gdLst>
                <a:gd name="T0" fmla="*/ 212 w 212"/>
                <a:gd name="T1" fmla="*/ 92 h 118"/>
                <a:gd name="T2" fmla="*/ 171 w 212"/>
                <a:gd name="T3" fmla="*/ 54 h 118"/>
                <a:gd name="T4" fmla="*/ 155 w 212"/>
                <a:gd name="T5" fmla="*/ 24 h 118"/>
                <a:gd name="T6" fmla="*/ 137 w 212"/>
                <a:gd name="T7" fmla="*/ 33 h 118"/>
                <a:gd name="T8" fmla="*/ 145 w 212"/>
                <a:gd name="T9" fmla="*/ 57 h 118"/>
                <a:gd name="T10" fmla="*/ 116 w 212"/>
                <a:gd name="T11" fmla="*/ 38 h 118"/>
                <a:gd name="T12" fmla="*/ 117 w 212"/>
                <a:gd name="T13" fmla="*/ 44 h 118"/>
                <a:gd name="T14" fmla="*/ 81 w 212"/>
                <a:gd name="T15" fmla="*/ 42 h 118"/>
                <a:gd name="T16" fmla="*/ 50 w 212"/>
                <a:gd name="T17" fmla="*/ 67 h 118"/>
                <a:gd name="T18" fmla="*/ 40 w 212"/>
                <a:gd name="T19" fmla="*/ 74 h 118"/>
                <a:gd name="T20" fmla="*/ 93 w 212"/>
                <a:gd name="T21" fmla="*/ 84 h 118"/>
                <a:gd name="T22" fmla="*/ 48 w 212"/>
                <a:gd name="T23" fmla="*/ 92 h 118"/>
                <a:gd name="T24" fmla="*/ 86 w 212"/>
                <a:gd name="T25" fmla="*/ 110 h 118"/>
                <a:gd name="T26" fmla="*/ 124 w 212"/>
                <a:gd name="T27" fmla="*/ 113 h 118"/>
                <a:gd name="T28" fmla="*/ 164 w 212"/>
                <a:gd name="T29" fmla="*/ 104 h 118"/>
                <a:gd name="T30" fmla="*/ 202 w 212"/>
                <a:gd name="T31" fmla="*/ 106 h 118"/>
                <a:gd name="T32" fmla="*/ 194 w 212"/>
                <a:gd name="T33" fmla="*/ 98 h 118"/>
                <a:gd name="T34" fmla="*/ 198 w 212"/>
                <a:gd name="T35" fmla="*/ 95 h 118"/>
                <a:gd name="T36" fmla="*/ 212 w 212"/>
                <a:gd name="T3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118">
                  <a:moveTo>
                    <a:pt x="212" y="92"/>
                  </a:moveTo>
                  <a:cubicBezTo>
                    <a:pt x="191" y="80"/>
                    <a:pt x="182" y="76"/>
                    <a:pt x="171" y="54"/>
                  </a:cubicBezTo>
                  <a:cubicBezTo>
                    <a:pt x="165" y="41"/>
                    <a:pt x="183" y="10"/>
                    <a:pt x="155" y="24"/>
                  </a:cubicBezTo>
                  <a:cubicBezTo>
                    <a:pt x="153" y="25"/>
                    <a:pt x="138" y="30"/>
                    <a:pt x="137" y="33"/>
                  </a:cubicBezTo>
                  <a:cubicBezTo>
                    <a:pt x="135" y="40"/>
                    <a:pt x="147" y="52"/>
                    <a:pt x="145" y="57"/>
                  </a:cubicBezTo>
                  <a:cubicBezTo>
                    <a:pt x="143" y="61"/>
                    <a:pt x="127" y="36"/>
                    <a:pt x="116" y="38"/>
                  </a:cubicBezTo>
                  <a:cubicBezTo>
                    <a:pt x="116" y="40"/>
                    <a:pt x="117" y="42"/>
                    <a:pt x="117" y="44"/>
                  </a:cubicBezTo>
                  <a:cubicBezTo>
                    <a:pt x="102" y="51"/>
                    <a:pt x="97" y="26"/>
                    <a:pt x="81" y="42"/>
                  </a:cubicBezTo>
                  <a:cubicBezTo>
                    <a:pt x="77" y="0"/>
                    <a:pt x="0" y="74"/>
                    <a:pt x="50" y="67"/>
                  </a:cubicBezTo>
                  <a:cubicBezTo>
                    <a:pt x="45" y="68"/>
                    <a:pt x="44" y="71"/>
                    <a:pt x="40" y="74"/>
                  </a:cubicBezTo>
                  <a:cubicBezTo>
                    <a:pt x="52" y="88"/>
                    <a:pt x="77" y="76"/>
                    <a:pt x="93" y="84"/>
                  </a:cubicBezTo>
                  <a:cubicBezTo>
                    <a:pt x="78" y="84"/>
                    <a:pt x="61" y="83"/>
                    <a:pt x="48" y="92"/>
                  </a:cubicBezTo>
                  <a:cubicBezTo>
                    <a:pt x="58" y="108"/>
                    <a:pt x="77" y="98"/>
                    <a:pt x="86" y="110"/>
                  </a:cubicBezTo>
                  <a:cubicBezTo>
                    <a:pt x="92" y="118"/>
                    <a:pt x="116" y="117"/>
                    <a:pt x="124" y="113"/>
                  </a:cubicBezTo>
                  <a:cubicBezTo>
                    <a:pt x="137" y="108"/>
                    <a:pt x="152" y="103"/>
                    <a:pt x="164" y="104"/>
                  </a:cubicBezTo>
                  <a:cubicBezTo>
                    <a:pt x="179" y="106"/>
                    <a:pt x="187" y="118"/>
                    <a:pt x="202" y="106"/>
                  </a:cubicBezTo>
                  <a:cubicBezTo>
                    <a:pt x="199" y="103"/>
                    <a:pt x="198" y="100"/>
                    <a:pt x="194" y="98"/>
                  </a:cubicBezTo>
                  <a:cubicBezTo>
                    <a:pt x="196" y="97"/>
                    <a:pt x="197" y="96"/>
                    <a:pt x="198" y="95"/>
                  </a:cubicBezTo>
                  <a:cubicBezTo>
                    <a:pt x="204" y="95"/>
                    <a:pt x="208" y="95"/>
                    <a:pt x="212" y="9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6" name="Freeform 116"/>
            <p:cNvSpPr>
              <a:spLocks/>
            </p:cNvSpPr>
            <p:nvPr/>
          </p:nvSpPr>
          <p:spPr bwMode="auto">
            <a:xfrm>
              <a:off x="488" y="441"/>
              <a:ext cx="177" cy="131"/>
            </a:xfrm>
            <a:custGeom>
              <a:avLst/>
              <a:gdLst>
                <a:gd name="T0" fmla="*/ 20 w 100"/>
                <a:gd name="T1" fmla="*/ 64 h 74"/>
                <a:gd name="T2" fmla="*/ 58 w 100"/>
                <a:gd name="T3" fmla="*/ 44 h 74"/>
                <a:gd name="T4" fmla="*/ 100 w 100"/>
                <a:gd name="T5" fmla="*/ 23 h 74"/>
                <a:gd name="T6" fmla="*/ 10 w 100"/>
                <a:gd name="T7" fmla="*/ 4 h 74"/>
                <a:gd name="T8" fmla="*/ 2 w 100"/>
                <a:gd name="T9" fmla="*/ 41 h 74"/>
                <a:gd name="T10" fmla="*/ 20 w 100"/>
                <a:gd name="T11" fmla="*/ 6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74">
                  <a:moveTo>
                    <a:pt x="20" y="64"/>
                  </a:moveTo>
                  <a:cubicBezTo>
                    <a:pt x="36" y="74"/>
                    <a:pt x="50" y="55"/>
                    <a:pt x="58" y="44"/>
                  </a:cubicBezTo>
                  <a:cubicBezTo>
                    <a:pt x="70" y="30"/>
                    <a:pt x="85" y="31"/>
                    <a:pt x="100" y="23"/>
                  </a:cubicBezTo>
                  <a:cubicBezTo>
                    <a:pt x="88" y="1"/>
                    <a:pt x="32" y="0"/>
                    <a:pt x="10" y="4"/>
                  </a:cubicBezTo>
                  <a:cubicBezTo>
                    <a:pt x="24" y="23"/>
                    <a:pt x="3" y="26"/>
                    <a:pt x="2" y="41"/>
                  </a:cubicBezTo>
                  <a:cubicBezTo>
                    <a:pt x="0" y="58"/>
                    <a:pt x="10" y="50"/>
                    <a:pt x="20" y="6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7" name="Freeform 117"/>
            <p:cNvSpPr>
              <a:spLocks/>
            </p:cNvSpPr>
            <p:nvPr/>
          </p:nvSpPr>
          <p:spPr bwMode="auto">
            <a:xfrm>
              <a:off x="610" y="350"/>
              <a:ext cx="249" cy="108"/>
            </a:xfrm>
            <a:custGeom>
              <a:avLst/>
              <a:gdLst>
                <a:gd name="T0" fmla="*/ 22 w 140"/>
                <a:gd name="T1" fmla="*/ 21 h 61"/>
                <a:gd name="T2" fmla="*/ 29 w 140"/>
                <a:gd name="T3" fmla="*/ 23 h 61"/>
                <a:gd name="T4" fmla="*/ 18 w 140"/>
                <a:gd name="T5" fmla="*/ 22 h 61"/>
                <a:gd name="T6" fmla="*/ 22 w 140"/>
                <a:gd name="T7" fmla="*/ 28 h 61"/>
                <a:gd name="T8" fmla="*/ 45 w 140"/>
                <a:gd name="T9" fmla="*/ 38 h 61"/>
                <a:gd name="T10" fmla="*/ 51 w 140"/>
                <a:gd name="T11" fmla="*/ 46 h 61"/>
                <a:gd name="T12" fmla="*/ 42 w 140"/>
                <a:gd name="T13" fmla="*/ 50 h 61"/>
                <a:gd name="T14" fmla="*/ 51 w 140"/>
                <a:gd name="T15" fmla="*/ 55 h 61"/>
                <a:gd name="T16" fmla="*/ 127 w 140"/>
                <a:gd name="T17" fmla="*/ 38 h 61"/>
                <a:gd name="T18" fmla="*/ 103 w 140"/>
                <a:gd name="T19" fmla="*/ 16 h 61"/>
                <a:gd name="T20" fmla="*/ 81 w 140"/>
                <a:gd name="T21" fmla="*/ 16 h 61"/>
                <a:gd name="T22" fmla="*/ 87 w 140"/>
                <a:gd name="T23" fmla="*/ 26 h 61"/>
                <a:gd name="T24" fmla="*/ 93 w 140"/>
                <a:gd name="T25" fmla="*/ 28 h 61"/>
                <a:gd name="T26" fmla="*/ 28 w 140"/>
                <a:gd name="T27" fmla="*/ 14 h 61"/>
                <a:gd name="T28" fmla="*/ 38 w 140"/>
                <a:gd name="T29" fmla="*/ 18 h 61"/>
                <a:gd name="T30" fmla="*/ 22 w 140"/>
                <a:gd name="T31" fmla="*/ 2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0" h="61">
                  <a:moveTo>
                    <a:pt x="22" y="21"/>
                  </a:moveTo>
                  <a:cubicBezTo>
                    <a:pt x="25" y="22"/>
                    <a:pt x="27" y="23"/>
                    <a:pt x="29" y="23"/>
                  </a:cubicBezTo>
                  <a:cubicBezTo>
                    <a:pt x="26" y="23"/>
                    <a:pt x="22" y="23"/>
                    <a:pt x="18" y="22"/>
                  </a:cubicBezTo>
                  <a:cubicBezTo>
                    <a:pt x="19" y="25"/>
                    <a:pt x="20" y="27"/>
                    <a:pt x="22" y="28"/>
                  </a:cubicBezTo>
                  <a:cubicBezTo>
                    <a:pt x="0" y="26"/>
                    <a:pt x="25" y="61"/>
                    <a:pt x="45" y="38"/>
                  </a:cubicBezTo>
                  <a:cubicBezTo>
                    <a:pt x="47" y="41"/>
                    <a:pt x="49" y="43"/>
                    <a:pt x="51" y="46"/>
                  </a:cubicBezTo>
                  <a:cubicBezTo>
                    <a:pt x="48" y="47"/>
                    <a:pt x="45" y="49"/>
                    <a:pt x="42" y="50"/>
                  </a:cubicBezTo>
                  <a:cubicBezTo>
                    <a:pt x="45" y="52"/>
                    <a:pt x="48" y="53"/>
                    <a:pt x="51" y="55"/>
                  </a:cubicBezTo>
                  <a:cubicBezTo>
                    <a:pt x="64" y="55"/>
                    <a:pt x="121" y="47"/>
                    <a:pt x="127" y="38"/>
                  </a:cubicBezTo>
                  <a:cubicBezTo>
                    <a:pt x="140" y="16"/>
                    <a:pt x="109" y="28"/>
                    <a:pt x="103" y="16"/>
                  </a:cubicBezTo>
                  <a:cubicBezTo>
                    <a:pt x="97" y="5"/>
                    <a:pt x="89" y="0"/>
                    <a:pt x="81" y="16"/>
                  </a:cubicBezTo>
                  <a:cubicBezTo>
                    <a:pt x="90" y="22"/>
                    <a:pt x="90" y="20"/>
                    <a:pt x="87" y="26"/>
                  </a:cubicBezTo>
                  <a:cubicBezTo>
                    <a:pt x="89" y="27"/>
                    <a:pt x="91" y="27"/>
                    <a:pt x="93" y="28"/>
                  </a:cubicBezTo>
                  <a:cubicBezTo>
                    <a:pt x="77" y="40"/>
                    <a:pt x="46" y="13"/>
                    <a:pt x="28" y="14"/>
                  </a:cubicBezTo>
                  <a:cubicBezTo>
                    <a:pt x="31" y="15"/>
                    <a:pt x="35" y="17"/>
                    <a:pt x="38" y="18"/>
                  </a:cubicBezTo>
                  <a:cubicBezTo>
                    <a:pt x="31" y="17"/>
                    <a:pt x="29" y="20"/>
                    <a:pt x="22" y="2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8" name="Freeform 118"/>
            <p:cNvSpPr>
              <a:spLocks/>
            </p:cNvSpPr>
            <p:nvPr/>
          </p:nvSpPr>
          <p:spPr bwMode="auto">
            <a:xfrm>
              <a:off x="598" y="389"/>
              <a:ext cx="28" cy="23"/>
            </a:xfrm>
            <a:custGeom>
              <a:avLst/>
              <a:gdLst>
                <a:gd name="T0" fmla="*/ 5 w 16"/>
                <a:gd name="T1" fmla="*/ 13 h 13"/>
                <a:gd name="T2" fmla="*/ 16 w 16"/>
                <a:gd name="T3" fmla="*/ 0 h 13"/>
                <a:gd name="T4" fmla="*/ 0 w 16"/>
                <a:gd name="T5" fmla="*/ 8 h 13"/>
                <a:gd name="T6" fmla="*/ 5 w 16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3">
                  <a:moveTo>
                    <a:pt x="5" y="13"/>
                  </a:moveTo>
                  <a:cubicBezTo>
                    <a:pt x="11" y="9"/>
                    <a:pt x="14" y="7"/>
                    <a:pt x="16" y="0"/>
                  </a:cubicBezTo>
                  <a:cubicBezTo>
                    <a:pt x="8" y="1"/>
                    <a:pt x="5" y="3"/>
                    <a:pt x="0" y="8"/>
                  </a:cubicBezTo>
                  <a:cubicBezTo>
                    <a:pt x="2" y="10"/>
                    <a:pt x="3" y="11"/>
                    <a:pt x="5" y="1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19" name="Freeform 119"/>
            <p:cNvSpPr>
              <a:spLocks/>
            </p:cNvSpPr>
            <p:nvPr/>
          </p:nvSpPr>
          <p:spPr bwMode="auto">
            <a:xfrm>
              <a:off x="674" y="359"/>
              <a:ext cx="22" cy="9"/>
            </a:xfrm>
            <a:custGeom>
              <a:avLst/>
              <a:gdLst>
                <a:gd name="T0" fmla="*/ 0 w 12"/>
                <a:gd name="T1" fmla="*/ 0 h 5"/>
                <a:gd name="T2" fmla="*/ 5 w 12"/>
                <a:gd name="T3" fmla="*/ 5 h 5"/>
                <a:gd name="T4" fmla="*/ 12 w 12"/>
                <a:gd name="T5" fmla="*/ 5 h 5"/>
                <a:gd name="T6" fmla="*/ 12 w 12"/>
                <a:gd name="T7" fmla="*/ 0 h 5"/>
                <a:gd name="T8" fmla="*/ 0 w 1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0" y="0"/>
                  </a:moveTo>
                  <a:cubicBezTo>
                    <a:pt x="2" y="2"/>
                    <a:pt x="3" y="3"/>
                    <a:pt x="5" y="5"/>
                  </a:cubicBezTo>
                  <a:cubicBezTo>
                    <a:pt x="7" y="5"/>
                    <a:pt x="10" y="5"/>
                    <a:pt x="12" y="5"/>
                  </a:cubicBezTo>
                  <a:cubicBezTo>
                    <a:pt x="12" y="3"/>
                    <a:pt x="12" y="2"/>
                    <a:pt x="12" y="0"/>
                  </a:cubicBezTo>
                  <a:cubicBezTo>
                    <a:pt x="9" y="0"/>
                    <a:pt x="4" y="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0" name="Freeform 120"/>
            <p:cNvSpPr>
              <a:spLocks/>
            </p:cNvSpPr>
            <p:nvPr/>
          </p:nvSpPr>
          <p:spPr bwMode="auto">
            <a:xfrm>
              <a:off x="525" y="329"/>
              <a:ext cx="133" cy="76"/>
            </a:xfrm>
            <a:custGeom>
              <a:avLst/>
              <a:gdLst>
                <a:gd name="T0" fmla="*/ 25 w 75"/>
                <a:gd name="T1" fmla="*/ 34 h 43"/>
                <a:gd name="T2" fmla="*/ 31 w 75"/>
                <a:gd name="T3" fmla="*/ 40 h 43"/>
                <a:gd name="T4" fmla="*/ 38 w 75"/>
                <a:gd name="T5" fmla="*/ 32 h 43"/>
                <a:gd name="T6" fmla="*/ 50 w 75"/>
                <a:gd name="T7" fmla="*/ 21 h 43"/>
                <a:gd name="T8" fmla="*/ 75 w 75"/>
                <a:gd name="T9" fmla="*/ 8 h 43"/>
                <a:gd name="T10" fmla="*/ 14 w 75"/>
                <a:gd name="T11" fmla="*/ 26 h 43"/>
                <a:gd name="T12" fmla="*/ 25 w 75"/>
                <a:gd name="T13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43">
                  <a:moveTo>
                    <a:pt x="25" y="34"/>
                  </a:moveTo>
                  <a:cubicBezTo>
                    <a:pt x="27" y="36"/>
                    <a:pt x="29" y="38"/>
                    <a:pt x="31" y="40"/>
                  </a:cubicBezTo>
                  <a:cubicBezTo>
                    <a:pt x="33" y="37"/>
                    <a:pt x="36" y="35"/>
                    <a:pt x="38" y="32"/>
                  </a:cubicBezTo>
                  <a:cubicBezTo>
                    <a:pt x="45" y="29"/>
                    <a:pt x="46" y="28"/>
                    <a:pt x="50" y="21"/>
                  </a:cubicBezTo>
                  <a:cubicBezTo>
                    <a:pt x="60" y="43"/>
                    <a:pt x="73" y="17"/>
                    <a:pt x="75" y="8"/>
                  </a:cubicBezTo>
                  <a:cubicBezTo>
                    <a:pt x="57" y="0"/>
                    <a:pt x="27" y="13"/>
                    <a:pt x="14" y="26"/>
                  </a:cubicBezTo>
                  <a:cubicBezTo>
                    <a:pt x="0" y="39"/>
                    <a:pt x="13" y="35"/>
                    <a:pt x="25" y="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699" y="277"/>
              <a:ext cx="71" cy="34"/>
            </a:xfrm>
            <a:custGeom>
              <a:avLst/>
              <a:gdLst>
                <a:gd name="T0" fmla="*/ 16 w 40"/>
                <a:gd name="T1" fmla="*/ 18 h 19"/>
                <a:gd name="T2" fmla="*/ 40 w 40"/>
                <a:gd name="T3" fmla="*/ 14 h 19"/>
                <a:gd name="T4" fmla="*/ 0 w 40"/>
                <a:gd name="T5" fmla="*/ 18 h 19"/>
                <a:gd name="T6" fmla="*/ 16 w 40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19">
                  <a:moveTo>
                    <a:pt x="16" y="18"/>
                  </a:moveTo>
                  <a:cubicBezTo>
                    <a:pt x="24" y="19"/>
                    <a:pt x="32" y="18"/>
                    <a:pt x="40" y="14"/>
                  </a:cubicBezTo>
                  <a:cubicBezTo>
                    <a:pt x="30" y="0"/>
                    <a:pt x="10" y="8"/>
                    <a:pt x="0" y="18"/>
                  </a:cubicBezTo>
                  <a:cubicBezTo>
                    <a:pt x="7" y="14"/>
                    <a:pt x="9" y="17"/>
                    <a:pt x="16" y="1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2" name="Freeform 122"/>
            <p:cNvSpPr>
              <a:spLocks/>
            </p:cNvSpPr>
            <p:nvPr/>
          </p:nvSpPr>
          <p:spPr bwMode="auto">
            <a:xfrm>
              <a:off x="692" y="311"/>
              <a:ext cx="71" cy="41"/>
            </a:xfrm>
            <a:custGeom>
              <a:avLst/>
              <a:gdLst>
                <a:gd name="T0" fmla="*/ 7 w 40"/>
                <a:gd name="T1" fmla="*/ 12 h 23"/>
                <a:gd name="T2" fmla="*/ 35 w 40"/>
                <a:gd name="T3" fmla="*/ 8 h 23"/>
                <a:gd name="T4" fmla="*/ 25 w 40"/>
                <a:gd name="T5" fmla="*/ 8 h 23"/>
                <a:gd name="T6" fmla="*/ 40 w 40"/>
                <a:gd name="T7" fmla="*/ 4 h 23"/>
                <a:gd name="T8" fmla="*/ 7 w 40"/>
                <a:gd name="T9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7" y="12"/>
                  </a:moveTo>
                  <a:cubicBezTo>
                    <a:pt x="14" y="23"/>
                    <a:pt x="30" y="18"/>
                    <a:pt x="35" y="8"/>
                  </a:cubicBezTo>
                  <a:cubicBezTo>
                    <a:pt x="31" y="8"/>
                    <a:pt x="28" y="8"/>
                    <a:pt x="25" y="8"/>
                  </a:cubicBezTo>
                  <a:cubicBezTo>
                    <a:pt x="31" y="8"/>
                    <a:pt x="34" y="6"/>
                    <a:pt x="40" y="4"/>
                  </a:cubicBezTo>
                  <a:cubicBezTo>
                    <a:pt x="33" y="0"/>
                    <a:pt x="0" y="1"/>
                    <a:pt x="7" y="1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3" name="Freeform 123"/>
            <p:cNvSpPr>
              <a:spLocks/>
            </p:cNvSpPr>
            <p:nvPr/>
          </p:nvSpPr>
          <p:spPr bwMode="auto">
            <a:xfrm>
              <a:off x="673" y="315"/>
              <a:ext cx="19" cy="21"/>
            </a:xfrm>
            <a:custGeom>
              <a:avLst/>
              <a:gdLst>
                <a:gd name="T0" fmla="*/ 11 w 11"/>
                <a:gd name="T1" fmla="*/ 6 h 12"/>
                <a:gd name="T2" fmla="*/ 0 w 11"/>
                <a:gd name="T3" fmla="*/ 5 h 12"/>
                <a:gd name="T4" fmla="*/ 11 w 11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6" y="3"/>
                    <a:pt x="5" y="0"/>
                    <a:pt x="0" y="5"/>
                  </a:cubicBezTo>
                  <a:cubicBezTo>
                    <a:pt x="5" y="12"/>
                    <a:pt x="6" y="8"/>
                    <a:pt x="11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4" name="Freeform 124"/>
            <p:cNvSpPr>
              <a:spLocks/>
            </p:cNvSpPr>
            <p:nvPr/>
          </p:nvSpPr>
          <p:spPr bwMode="auto">
            <a:xfrm>
              <a:off x="898" y="458"/>
              <a:ext cx="120" cy="95"/>
            </a:xfrm>
            <a:custGeom>
              <a:avLst/>
              <a:gdLst>
                <a:gd name="T0" fmla="*/ 52 w 68"/>
                <a:gd name="T1" fmla="*/ 23 h 53"/>
                <a:gd name="T2" fmla="*/ 39 w 68"/>
                <a:gd name="T3" fmla="*/ 23 h 53"/>
                <a:gd name="T4" fmla="*/ 10 w 68"/>
                <a:gd name="T5" fmla="*/ 13 h 53"/>
                <a:gd name="T6" fmla="*/ 0 w 68"/>
                <a:gd name="T7" fmla="*/ 23 h 53"/>
                <a:gd name="T8" fmla="*/ 38 w 68"/>
                <a:gd name="T9" fmla="*/ 53 h 53"/>
                <a:gd name="T10" fmla="*/ 52 w 68"/>
                <a:gd name="T11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53">
                  <a:moveTo>
                    <a:pt x="52" y="23"/>
                  </a:moveTo>
                  <a:cubicBezTo>
                    <a:pt x="47" y="23"/>
                    <a:pt x="45" y="21"/>
                    <a:pt x="39" y="23"/>
                  </a:cubicBezTo>
                  <a:cubicBezTo>
                    <a:pt x="68" y="8"/>
                    <a:pt x="24" y="0"/>
                    <a:pt x="10" y="13"/>
                  </a:cubicBezTo>
                  <a:cubicBezTo>
                    <a:pt x="30" y="15"/>
                    <a:pt x="20" y="30"/>
                    <a:pt x="0" y="23"/>
                  </a:cubicBezTo>
                  <a:cubicBezTo>
                    <a:pt x="1" y="30"/>
                    <a:pt x="30" y="53"/>
                    <a:pt x="38" y="53"/>
                  </a:cubicBezTo>
                  <a:cubicBezTo>
                    <a:pt x="60" y="53"/>
                    <a:pt x="58" y="30"/>
                    <a:pt x="52" y="2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5" name="Freeform 125"/>
            <p:cNvSpPr>
              <a:spLocks/>
            </p:cNvSpPr>
            <p:nvPr/>
          </p:nvSpPr>
          <p:spPr bwMode="auto">
            <a:xfrm>
              <a:off x="848" y="366"/>
              <a:ext cx="147" cy="64"/>
            </a:xfrm>
            <a:custGeom>
              <a:avLst/>
              <a:gdLst>
                <a:gd name="T0" fmla="*/ 37 w 83"/>
                <a:gd name="T1" fmla="*/ 1 h 36"/>
                <a:gd name="T2" fmla="*/ 49 w 83"/>
                <a:gd name="T3" fmla="*/ 13 h 36"/>
                <a:gd name="T4" fmla="*/ 30 w 83"/>
                <a:gd name="T5" fmla="*/ 6 h 36"/>
                <a:gd name="T6" fmla="*/ 37 w 83"/>
                <a:gd name="T7" fmla="*/ 16 h 36"/>
                <a:gd name="T8" fmla="*/ 7 w 83"/>
                <a:gd name="T9" fmla="*/ 1 h 36"/>
                <a:gd name="T10" fmla="*/ 10 w 83"/>
                <a:gd name="T11" fmla="*/ 8 h 36"/>
                <a:gd name="T12" fmla="*/ 22 w 83"/>
                <a:gd name="T13" fmla="*/ 18 h 36"/>
                <a:gd name="T14" fmla="*/ 56 w 83"/>
                <a:gd name="T15" fmla="*/ 20 h 36"/>
                <a:gd name="T16" fmla="*/ 45 w 83"/>
                <a:gd name="T17" fmla="*/ 32 h 36"/>
                <a:gd name="T18" fmla="*/ 73 w 83"/>
                <a:gd name="T19" fmla="*/ 10 h 36"/>
                <a:gd name="T20" fmla="*/ 37 w 83"/>
                <a:gd name="T21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36">
                  <a:moveTo>
                    <a:pt x="37" y="1"/>
                  </a:moveTo>
                  <a:cubicBezTo>
                    <a:pt x="44" y="3"/>
                    <a:pt x="49" y="6"/>
                    <a:pt x="49" y="13"/>
                  </a:cubicBezTo>
                  <a:cubicBezTo>
                    <a:pt x="43" y="11"/>
                    <a:pt x="36" y="9"/>
                    <a:pt x="30" y="6"/>
                  </a:cubicBezTo>
                  <a:cubicBezTo>
                    <a:pt x="32" y="9"/>
                    <a:pt x="33" y="12"/>
                    <a:pt x="37" y="16"/>
                  </a:cubicBezTo>
                  <a:cubicBezTo>
                    <a:pt x="26" y="13"/>
                    <a:pt x="19" y="3"/>
                    <a:pt x="7" y="1"/>
                  </a:cubicBezTo>
                  <a:cubicBezTo>
                    <a:pt x="8" y="4"/>
                    <a:pt x="9" y="6"/>
                    <a:pt x="10" y="8"/>
                  </a:cubicBezTo>
                  <a:cubicBezTo>
                    <a:pt x="0" y="5"/>
                    <a:pt x="18" y="16"/>
                    <a:pt x="22" y="18"/>
                  </a:cubicBezTo>
                  <a:cubicBezTo>
                    <a:pt x="33" y="22"/>
                    <a:pt x="43" y="18"/>
                    <a:pt x="56" y="20"/>
                  </a:cubicBezTo>
                  <a:cubicBezTo>
                    <a:pt x="48" y="24"/>
                    <a:pt x="49" y="26"/>
                    <a:pt x="45" y="32"/>
                  </a:cubicBezTo>
                  <a:cubicBezTo>
                    <a:pt x="59" y="36"/>
                    <a:pt x="83" y="30"/>
                    <a:pt x="73" y="10"/>
                  </a:cubicBezTo>
                  <a:cubicBezTo>
                    <a:pt x="67" y="0"/>
                    <a:pt x="49" y="1"/>
                    <a:pt x="37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6" name="Freeform 126"/>
            <p:cNvSpPr>
              <a:spLocks/>
            </p:cNvSpPr>
            <p:nvPr/>
          </p:nvSpPr>
          <p:spPr bwMode="auto">
            <a:xfrm>
              <a:off x="949" y="588"/>
              <a:ext cx="69" cy="53"/>
            </a:xfrm>
            <a:custGeom>
              <a:avLst/>
              <a:gdLst>
                <a:gd name="T0" fmla="*/ 39 w 39"/>
                <a:gd name="T1" fmla="*/ 24 h 30"/>
                <a:gd name="T2" fmla="*/ 0 w 39"/>
                <a:gd name="T3" fmla="*/ 20 h 30"/>
                <a:gd name="T4" fmla="*/ 30 w 39"/>
                <a:gd name="T5" fmla="*/ 30 h 30"/>
                <a:gd name="T6" fmla="*/ 39 w 39"/>
                <a:gd name="T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0">
                  <a:moveTo>
                    <a:pt x="39" y="24"/>
                  </a:moveTo>
                  <a:cubicBezTo>
                    <a:pt x="22" y="0"/>
                    <a:pt x="18" y="14"/>
                    <a:pt x="0" y="20"/>
                  </a:cubicBezTo>
                  <a:cubicBezTo>
                    <a:pt x="10" y="24"/>
                    <a:pt x="20" y="28"/>
                    <a:pt x="30" y="30"/>
                  </a:cubicBezTo>
                  <a:cubicBezTo>
                    <a:pt x="33" y="28"/>
                    <a:pt x="36" y="26"/>
                    <a:pt x="39" y="2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7" name="Freeform 127"/>
            <p:cNvSpPr>
              <a:spLocks/>
            </p:cNvSpPr>
            <p:nvPr/>
          </p:nvSpPr>
          <p:spPr bwMode="auto">
            <a:xfrm>
              <a:off x="1013" y="439"/>
              <a:ext cx="92" cy="92"/>
            </a:xfrm>
            <a:custGeom>
              <a:avLst/>
              <a:gdLst>
                <a:gd name="T0" fmla="*/ 1 w 52"/>
                <a:gd name="T1" fmla="*/ 18 h 52"/>
                <a:gd name="T2" fmla="*/ 6 w 52"/>
                <a:gd name="T3" fmla="*/ 51 h 52"/>
                <a:gd name="T4" fmla="*/ 16 w 52"/>
                <a:gd name="T5" fmla="*/ 40 h 52"/>
                <a:gd name="T6" fmla="*/ 52 w 52"/>
                <a:gd name="T7" fmla="*/ 18 h 52"/>
                <a:gd name="T8" fmla="*/ 1 w 52"/>
                <a:gd name="T9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1" y="18"/>
                  </a:moveTo>
                  <a:cubicBezTo>
                    <a:pt x="0" y="30"/>
                    <a:pt x="7" y="39"/>
                    <a:pt x="6" y="51"/>
                  </a:cubicBezTo>
                  <a:cubicBezTo>
                    <a:pt x="16" y="52"/>
                    <a:pt x="23" y="44"/>
                    <a:pt x="16" y="40"/>
                  </a:cubicBezTo>
                  <a:cubicBezTo>
                    <a:pt x="34" y="37"/>
                    <a:pt x="40" y="29"/>
                    <a:pt x="52" y="18"/>
                  </a:cubicBezTo>
                  <a:cubicBezTo>
                    <a:pt x="45" y="0"/>
                    <a:pt x="11" y="18"/>
                    <a:pt x="1" y="1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8" name="Freeform 128"/>
            <p:cNvSpPr>
              <a:spLocks/>
            </p:cNvSpPr>
            <p:nvPr/>
          </p:nvSpPr>
          <p:spPr bwMode="auto">
            <a:xfrm>
              <a:off x="830" y="325"/>
              <a:ext cx="30" cy="29"/>
            </a:xfrm>
            <a:custGeom>
              <a:avLst/>
              <a:gdLst>
                <a:gd name="T0" fmla="*/ 17 w 17"/>
                <a:gd name="T1" fmla="*/ 10 h 16"/>
                <a:gd name="T2" fmla="*/ 0 w 17"/>
                <a:gd name="T3" fmla="*/ 0 h 16"/>
                <a:gd name="T4" fmla="*/ 17 w 17"/>
                <a:gd name="T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17" y="10"/>
                  </a:moveTo>
                  <a:cubicBezTo>
                    <a:pt x="12" y="6"/>
                    <a:pt x="7" y="2"/>
                    <a:pt x="0" y="0"/>
                  </a:cubicBezTo>
                  <a:cubicBezTo>
                    <a:pt x="3" y="9"/>
                    <a:pt x="10" y="16"/>
                    <a:pt x="17" y="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29" name="Freeform 129"/>
            <p:cNvSpPr>
              <a:spLocks/>
            </p:cNvSpPr>
            <p:nvPr/>
          </p:nvSpPr>
          <p:spPr bwMode="auto">
            <a:xfrm>
              <a:off x="850" y="409"/>
              <a:ext cx="19" cy="19"/>
            </a:xfrm>
            <a:custGeom>
              <a:avLst/>
              <a:gdLst>
                <a:gd name="T0" fmla="*/ 9 w 11"/>
                <a:gd name="T1" fmla="*/ 0 h 11"/>
                <a:gd name="T2" fmla="*/ 0 w 11"/>
                <a:gd name="T3" fmla="*/ 9 h 11"/>
                <a:gd name="T4" fmla="*/ 9 w 11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9" y="0"/>
                  </a:moveTo>
                  <a:cubicBezTo>
                    <a:pt x="5" y="2"/>
                    <a:pt x="2" y="4"/>
                    <a:pt x="0" y="9"/>
                  </a:cubicBezTo>
                  <a:cubicBezTo>
                    <a:pt x="11" y="11"/>
                    <a:pt x="9" y="7"/>
                    <a:pt x="9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839" y="261"/>
              <a:ext cx="114" cy="66"/>
            </a:xfrm>
            <a:custGeom>
              <a:avLst/>
              <a:gdLst>
                <a:gd name="T0" fmla="*/ 15 w 64"/>
                <a:gd name="T1" fmla="*/ 13 h 37"/>
                <a:gd name="T2" fmla="*/ 5 w 64"/>
                <a:gd name="T3" fmla="*/ 21 h 37"/>
                <a:gd name="T4" fmla="*/ 42 w 64"/>
                <a:gd name="T5" fmla="*/ 27 h 37"/>
                <a:gd name="T6" fmla="*/ 64 w 64"/>
                <a:gd name="T7" fmla="*/ 31 h 37"/>
                <a:gd name="T8" fmla="*/ 54 w 64"/>
                <a:gd name="T9" fmla="*/ 16 h 37"/>
                <a:gd name="T10" fmla="*/ 39 w 64"/>
                <a:gd name="T11" fmla="*/ 11 h 37"/>
                <a:gd name="T12" fmla="*/ 0 w 64"/>
                <a:gd name="T13" fmla="*/ 4 h 37"/>
                <a:gd name="T14" fmla="*/ 3 w 64"/>
                <a:gd name="T15" fmla="*/ 13 h 37"/>
                <a:gd name="T16" fmla="*/ 15 w 64"/>
                <a:gd name="T1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37">
                  <a:moveTo>
                    <a:pt x="15" y="13"/>
                  </a:moveTo>
                  <a:cubicBezTo>
                    <a:pt x="12" y="17"/>
                    <a:pt x="13" y="19"/>
                    <a:pt x="5" y="21"/>
                  </a:cubicBezTo>
                  <a:cubicBezTo>
                    <a:pt x="17" y="25"/>
                    <a:pt x="30" y="26"/>
                    <a:pt x="42" y="27"/>
                  </a:cubicBezTo>
                  <a:cubicBezTo>
                    <a:pt x="49" y="33"/>
                    <a:pt x="57" y="37"/>
                    <a:pt x="64" y="31"/>
                  </a:cubicBezTo>
                  <a:cubicBezTo>
                    <a:pt x="56" y="25"/>
                    <a:pt x="57" y="19"/>
                    <a:pt x="54" y="16"/>
                  </a:cubicBezTo>
                  <a:cubicBezTo>
                    <a:pt x="47" y="11"/>
                    <a:pt x="44" y="15"/>
                    <a:pt x="39" y="11"/>
                  </a:cubicBezTo>
                  <a:cubicBezTo>
                    <a:pt x="31" y="5"/>
                    <a:pt x="11" y="0"/>
                    <a:pt x="0" y="4"/>
                  </a:cubicBezTo>
                  <a:cubicBezTo>
                    <a:pt x="1" y="6"/>
                    <a:pt x="3" y="13"/>
                    <a:pt x="3" y="13"/>
                  </a:cubicBezTo>
                  <a:cubicBezTo>
                    <a:pt x="7" y="13"/>
                    <a:pt x="12" y="14"/>
                    <a:pt x="15" y="1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894" y="311"/>
              <a:ext cx="20" cy="14"/>
            </a:xfrm>
            <a:custGeom>
              <a:avLst/>
              <a:gdLst>
                <a:gd name="T0" fmla="*/ 0 w 11"/>
                <a:gd name="T1" fmla="*/ 8 h 8"/>
                <a:gd name="T2" fmla="*/ 11 w 11"/>
                <a:gd name="T3" fmla="*/ 6 h 8"/>
                <a:gd name="T4" fmla="*/ 0 w 11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8">
                  <a:moveTo>
                    <a:pt x="0" y="8"/>
                  </a:moveTo>
                  <a:cubicBezTo>
                    <a:pt x="4" y="7"/>
                    <a:pt x="8" y="7"/>
                    <a:pt x="11" y="6"/>
                  </a:cubicBezTo>
                  <a:cubicBezTo>
                    <a:pt x="4" y="0"/>
                    <a:pt x="5" y="6"/>
                    <a:pt x="0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2" name="Freeform 132"/>
            <p:cNvSpPr>
              <a:spLocks/>
            </p:cNvSpPr>
            <p:nvPr/>
          </p:nvSpPr>
          <p:spPr bwMode="auto">
            <a:xfrm>
              <a:off x="995" y="340"/>
              <a:ext cx="300" cy="108"/>
            </a:xfrm>
            <a:custGeom>
              <a:avLst/>
              <a:gdLst>
                <a:gd name="T0" fmla="*/ 76 w 169"/>
                <a:gd name="T1" fmla="*/ 54 h 61"/>
                <a:gd name="T2" fmla="*/ 125 w 169"/>
                <a:gd name="T3" fmla="*/ 59 h 61"/>
                <a:gd name="T4" fmla="*/ 148 w 169"/>
                <a:gd name="T5" fmla="*/ 59 h 61"/>
                <a:gd name="T6" fmla="*/ 169 w 169"/>
                <a:gd name="T7" fmla="*/ 47 h 61"/>
                <a:gd name="T8" fmla="*/ 165 w 169"/>
                <a:gd name="T9" fmla="*/ 47 h 61"/>
                <a:gd name="T10" fmla="*/ 167 w 169"/>
                <a:gd name="T11" fmla="*/ 44 h 61"/>
                <a:gd name="T12" fmla="*/ 169 w 169"/>
                <a:gd name="T13" fmla="*/ 43 h 61"/>
                <a:gd name="T14" fmla="*/ 116 w 169"/>
                <a:gd name="T15" fmla="*/ 40 h 61"/>
                <a:gd name="T16" fmla="*/ 69 w 169"/>
                <a:gd name="T17" fmla="*/ 36 h 61"/>
                <a:gd name="T18" fmla="*/ 71 w 169"/>
                <a:gd name="T19" fmla="*/ 35 h 61"/>
                <a:gd name="T20" fmla="*/ 56 w 169"/>
                <a:gd name="T21" fmla="*/ 27 h 61"/>
                <a:gd name="T22" fmla="*/ 70 w 169"/>
                <a:gd name="T23" fmla="*/ 27 h 61"/>
                <a:gd name="T24" fmla="*/ 33 w 169"/>
                <a:gd name="T25" fmla="*/ 18 h 61"/>
                <a:gd name="T26" fmla="*/ 0 w 169"/>
                <a:gd name="T27" fmla="*/ 12 h 61"/>
                <a:gd name="T28" fmla="*/ 43 w 169"/>
                <a:gd name="T29" fmla="*/ 36 h 61"/>
                <a:gd name="T30" fmla="*/ 51 w 169"/>
                <a:gd name="T31" fmla="*/ 54 h 61"/>
                <a:gd name="T32" fmla="*/ 76 w 169"/>
                <a:gd name="T33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9" h="61">
                  <a:moveTo>
                    <a:pt x="76" y="54"/>
                  </a:moveTo>
                  <a:cubicBezTo>
                    <a:pt x="90" y="55"/>
                    <a:pt x="107" y="59"/>
                    <a:pt x="125" y="59"/>
                  </a:cubicBezTo>
                  <a:cubicBezTo>
                    <a:pt x="132" y="59"/>
                    <a:pt x="141" y="60"/>
                    <a:pt x="148" y="59"/>
                  </a:cubicBezTo>
                  <a:cubicBezTo>
                    <a:pt x="158" y="58"/>
                    <a:pt x="165" y="58"/>
                    <a:pt x="169" y="47"/>
                  </a:cubicBezTo>
                  <a:cubicBezTo>
                    <a:pt x="167" y="47"/>
                    <a:pt x="166" y="47"/>
                    <a:pt x="165" y="47"/>
                  </a:cubicBezTo>
                  <a:cubicBezTo>
                    <a:pt x="165" y="46"/>
                    <a:pt x="166" y="45"/>
                    <a:pt x="167" y="44"/>
                  </a:cubicBezTo>
                  <a:cubicBezTo>
                    <a:pt x="168" y="44"/>
                    <a:pt x="168" y="43"/>
                    <a:pt x="169" y="43"/>
                  </a:cubicBezTo>
                  <a:cubicBezTo>
                    <a:pt x="156" y="25"/>
                    <a:pt x="133" y="36"/>
                    <a:pt x="116" y="40"/>
                  </a:cubicBezTo>
                  <a:cubicBezTo>
                    <a:pt x="99" y="43"/>
                    <a:pt x="85" y="42"/>
                    <a:pt x="69" y="36"/>
                  </a:cubicBezTo>
                  <a:cubicBezTo>
                    <a:pt x="70" y="36"/>
                    <a:pt x="70" y="35"/>
                    <a:pt x="71" y="35"/>
                  </a:cubicBezTo>
                  <a:cubicBezTo>
                    <a:pt x="64" y="33"/>
                    <a:pt x="62" y="30"/>
                    <a:pt x="56" y="27"/>
                  </a:cubicBezTo>
                  <a:cubicBezTo>
                    <a:pt x="60" y="27"/>
                    <a:pt x="65" y="26"/>
                    <a:pt x="70" y="27"/>
                  </a:cubicBezTo>
                  <a:cubicBezTo>
                    <a:pt x="53" y="18"/>
                    <a:pt x="49" y="21"/>
                    <a:pt x="33" y="18"/>
                  </a:cubicBezTo>
                  <a:cubicBezTo>
                    <a:pt x="20" y="15"/>
                    <a:pt x="15" y="0"/>
                    <a:pt x="0" y="12"/>
                  </a:cubicBezTo>
                  <a:cubicBezTo>
                    <a:pt x="18" y="27"/>
                    <a:pt x="30" y="19"/>
                    <a:pt x="43" y="36"/>
                  </a:cubicBezTo>
                  <a:cubicBezTo>
                    <a:pt x="48" y="42"/>
                    <a:pt x="38" y="47"/>
                    <a:pt x="51" y="54"/>
                  </a:cubicBezTo>
                  <a:cubicBezTo>
                    <a:pt x="64" y="61"/>
                    <a:pt x="65" y="53"/>
                    <a:pt x="76" y="5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3" name="Freeform 133"/>
            <p:cNvSpPr>
              <a:spLocks/>
            </p:cNvSpPr>
            <p:nvPr/>
          </p:nvSpPr>
          <p:spPr bwMode="auto">
            <a:xfrm>
              <a:off x="999" y="379"/>
              <a:ext cx="83" cy="87"/>
            </a:xfrm>
            <a:custGeom>
              <a:avLst/>
              <a:gdLst>
                <a:gd name="T0" fmla="*/ 5 w 47"/>
                <a:gd name="T1" fmla="*/ 21 h 49"/>
                <a:gd name="T2" fmla="*/ 0 w 47"/>
                <a:gd name="T3" fmla="*/ 26 h 49"/>
                <a:gd name="T4" fmla="*/ 5 w 47"/>
                <a:gd name="T5" fmla="*/ 2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9">
                  <a:moveTo>
                    <a:pt x="5" y="21"/>
                  </a:moveTo>
                  <a:cubicBezTo>
                    <a:pt x="3" y="23"/>
                    <a:pt x="2" y="25"/>
                    <a:pt x="0" y="26"/>
                  </a:cubicBezTo>
                  <a:cubicBezTo>
                    <a:pt x="47" y="49"/>
                    <a:pt x="18" y="0"/>
                    <a:pt x="5" y="2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4" name="Freeform 134"/>
            <p:cNvSpPr>
              <a:spLocks/>
            </p:cNvSpPr>
            <p:nvPr/>
          </p:nvSpPr>
          <p:spPr bwMode="auto">
            <a:xfrm>
              <a:off x="1006" y="325"/>
              <a:ext cx="62" cy="18"/>
            </a:xfrm>
            <a:custGeom>
              <a:avLst/>
              <a:gdLst>
                <a:gd name="T0" fmla="*/ 22 w 35"/>
                <a:gd name="T1" fmla="*/ 0 h 10"/>
                <a:gd name="T2" fmla="*/ 0 w 35"/>
                <a:gd name="T3" fmla="*/ 4 h 10"/>
                <a:gd name="T4" fmla="*/ 22 w 3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10">
                  <a:moveTo>
                    <a:pt x="22" y="0"/>
                  </a:moveTo>
                  <a:cubicBezTo>
                    <a:pt x="14" y="0"/>
                    <a:pt x="7" y="1"/>
                    <a:pt x="0" y="4"/>
                  </a:cubicBezTo>
                  <a:cubicBezTo>
                    <a:pt x="8" y="6"/>
                    <a:pt x="35" y="10"/>
                    <a:pt x="22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5" name="Freeform 135"/>
            <p:cNvSpPr>
              <a:spLocks/>
            </p:cNvSpPr>
            <p:nvPr/>
          </p:nvSpPr>
          <p:spPr bwMode="auto">
            <a:xfrm>
              <a:off x="954" y="263"/>
              <a:ext cx="89" cy="71"/>
            </a:xfrm>
            <a:custGeom>
              <a:avLst/>
              <a:gdLst>
                <a:gd name="T0" fmla="*/ 16 w 50"/>
                <a:gd name="T1" fmla="*/ 31 h 40"/>
                <a:gd name="T2" fmla="*/ 28 w 50"/>
                <a:gd name="T3" fmla="*/ 15 h 40"/>
                <a:gd name="T4" fmla="*/ 16 w 50"/>
                <a:gd name="T5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0" h="40">
                  <a:moveTo>
                    <a:pt x="16" y="31"/>
                  </a:moveTo>
                  <a:cubicBezTo>
                    <a:pt x="34" y="40"/>
                    <a:pt x="50" y="26"/>
                    <a:pt x="28" y="15"/>
                  </a:cubicBezTo>
                  <a:cubicBezTo>
                    <a:pt x="0" y="0"/>
                    <a:pt x="18" y="25"/>
                    <a:pt x="16" y="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6" name="Freeform 136"/>
            <p:cNvSpPr>
              <a:spLocks/>
            </p:cNvSpPr>
            <p:nvPr/>
          </p:nvSpPr>
          <p:spPr bwMode="auto">
            <a:xfrm>
              <a:off x="947" y="238"/>
              <a:ext cx="22" cy="20"/>
            </a:xfrm>
            <a:custGeom>
              <a:avLst/>
              <a:gdLst>
                <a:gd name="T0" fmla="*/ 12 w 12"/>
                <a:gd name="T1" fmla="*/ 0 h 11"/>
                <a:gd name="T2" fmla="*/ 0 w 12"/>
                <a:gd name="T3" fmla="*/ 0 h 11"/>
                <a:gd name="T4" fmla="*/ 12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cubicBezTo>
                    <a:pt x="8" y="0"/>
                    <a:pt x="4" y="0"/>
                    <a:pt x="0" y="0"/>
                  </a:cubicBezTo>
                  <a:cubicBezTo>
                    <a:pt x="6" y="8"/>
                    <a:pt x="11" y="11"/>
                    <a:pt x="12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7" name="Freeform 137"/>
            <p:cNvSpPr>
              <a:spLocks/>
            </p:cNvSpPr>
            <p:nvPr/>
          </p:nvSpPr>
          <p:spPr bwMode="auto">
            <a:xfrm>
              <a:off x="1008" y="183"/>
              <a:ext cx="232" cy="133"/>
            </a:xfrm>
            <a:custGeom>
              <a:avLst/>
              <a:gdLst>
                <a:gd name="T0" fmla="*/ 0 w 131"/>
                <a:gd name="T1" fmla="*/ 28 h 75"/>
                <a:gd name="T2" fmla="*/ 20 w 131"/>
                <a:gd name="T3" fmla="*/ 39 h 75"/>
                <a:gd name="T4" fmla="*/ 12 w 131"/>
                <a:gd name="T5" fmla="*/ 43 h 75"/>
                <a:gd name="T6" fmla="*/ 52 w 131"/>
                <a:gd name="T7" fmla="*/ 48 h 75"/>
                <a:gd name="T8" fmla="*/ 26 w 131"/>
                <a:gd name="T9" fmla="*/ 55 h 75"/>
                <a:gd name="T10" fmla="*/ 41 w 131"/>
                <a:gd name="T11" fmla="*/ 64 h 75"/>
                <a:gd name="T12" fmla="*/ 71 w 131"/>
                <a:gd name="T13" fmla="*/ 71 h 75"/>
                <a:gd name="T14" fmla="*/ 77 w 131"/>
                <a:gd name="T15" fmla="*/ 67 h 75"/>
                <a:gd name="T16" fmla="*/ 77 w 131"/>
                <a:gd name="T17" fmla="*/ 54 h 75"/>
                <a:gd name="T18" fmla="*/ 84 w 131"/>
                <a:gd name="T19" fmla="*/ 39 h 75"/>
                <a:gd name="T20" fmla="*/ 75 w 131"/>
                <a:gd name="T21" fmla="*/ 23 h 75"/>
                <a:gd name="T22" fmla="*/ 72 w 131"/>
                <a:gd name="T23" fmla="*/ 30 h 75"/>
                <a:gd name="T24" fmla="*/ 50 w 131"/>
                <a:gd name="T25" fmla="*/ 15 h 75"/>
                <a:gd name="T26" fmla="*/ 19 w 131"/>
                <a:gd name="T27" fmla="*/ 0 h 75"/>
                <a:gd name="T28" fmla="*/ 30 w 131"/>
                <a:gd name="T29" fmla="*/ 8 h 75"/>
                <a:gd name="T30" fmla="*/ 11 w 131"/>
                <a:gd name="T31" fmla="*/ 11 h 75"/>
                <a:gd name="T32" fmla="*/ 25 w 131"/>
                <a:gd name="T33" fmla="*/ 16 h 75"/>
                <a:gd name="T34" fmla="*/ 4 w 131"/>
                <a:gd name="T35" fmla="*/ 21 h 75"/>
                <a:gd name="T36" fmla="*/ 19 w 131"/>
                <a:gd name="T37" fmla="*/ 28 h 75"/>
                <a:gd name="T38" fmla="*/ 0 w 131"/>
                <a:gd name="T39" fmla="*/ 2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1" h="75">
                  <a:moveTo>
                    <a:pt x="0" y="28"/>
                  </a:moveTo>
                  <a:cubicBezTo>
                    <a:pt x="3" y="37"/>
                    <a:pt x="11" y="40"/>
                    <a:pt x="20" y="39"/>
                  </a:cubicBezTo>
                  <a:cubicBezTo>
                    <a:pt x="18" y="40"/>
                    <a:pt x="15" y="42"/>
                    <a:pt x="12" y="43"/>
                  </a:cubicBezTo>
                  <a:cubicBezTo>
                    <a:pt x="24" y="48"/>
                    <a:pt x="37" y="43"/>
                    <a:pt x="52" y="48"/>
                  </a:cubicBezTo>
                  <a:cubicBezTo>
                    <a:pt x="43" y="48"/>
                    <a:pt x="33" y="50"/>
                    <a:pt x="26" y="55"/>
                  </a:cubicBezTo>
                  <a:cubicBezTo>
                    <a:pt x="31" y="60"/>
                    <a:pt x="33" y="63"/>
                    <a:pt x="41" y="64"/>
                  </a:cubicBezTo>
                  <a:cubicBezTo>
                    <a:pt x="31" y="75"/>
                    <a:pt x="64" y="65"/>
                    <a:pt x="71" y="71"/>
                  </a:cubicBezTo>
                  <a:cubicBezTo>
                    <a:pt x="74" y="68"/>
                    <a:pt x="73" y="70"/>
                    <a:pt x="77" y="67"/>
                  </a:cubicBezTo>
                  <a:cubicBezTo>
                    <a:pt x="74" y="58"/>
                    <a:pt x="77" y="62"/>
                    <a:pt x="77" y="54"/>
                  </a:cubicBezTo>
                  <a:cubicBezTo>
                    <a:pt x="83" y="65"/>
                    <a:pt x="131" y="41"/>
                    <a:pt x="84" y="39"/>
                  </a:cubicBezTo>
                  <a:cubicBezTo>
                    <a:pt x="87" y="31"/>
                    <a:pt x="82" y="25"/>
                    <a:pt x="75" y="23"/>
                  </a:cubicBezTo>
                  <a:cubicBezTo>
                    <a:pt x="79" y="29"/>
                    <a:pt x="73" y="28"/>
                    <a:pt x="72" y="30"/>
                  </a:cubicBezTo>
                  <a:cubicBezTo>
                    <a:pt x="67" y="14"/>
                    <a:pt x="56" y="25"/>
                    <a:pt x="50" y="15"/>
                  </a:cubicBezTo>
                  <a:cubicBezTo>
                    <a:pt x="41" y="4"/>
                    <a:pt x="33" y="1"/>
                    <a:pt x="19" y="0"/>
                  </a:cubicBezTo>
                  <a:cubicBezTo>
                    <a:pt x="23" y="2"/>
                    <a:pt x="26" y="6"/>
                    <a:pt x="30" y="8"/>
                  </a:cubicBezTo>
                  <a:cubicBezTo>
                    <a:pt x="22" y="7"/>
                    <a:pt x="17" y="9"/>
                    <a:pt x="11" y="11"/>
                  </a:cubicBezTo>
                  <a:cubicBezTo>
                    <a:pt x="17" y="14"/>
                    <a:pt x="16" y="17"/>
                    <a:pt x="25" y="16"/>
                  </a:cubicBezTo>
                  <a:cubicBezTo>
                    <a:pt x="18" y="18"/>
                    <a:pt x="12" y="18"/>
                    <a:pt x="4" y="21"/>
                  </a:cubicBezTo>
                  <a:cubicBezTo>
                    <a:pt x="10" y="23"/>
                    <a:pt x="13" y="27"/>
                    <a:pt x="19" y="28"/>
                  </a:cubicBezTo>
                  <a:cubicBezTo>
                    <a:pt x="14" y="31"/>
                    <a:pt x="7" y="30"/>
                    <a:pt x="0" y="2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8" name="Freeform 138"/>
            <p:cNvSpPr>
              <a:spLocks/>
            </p:cNvSpPr>
            <p:nvPr/>
          </p:nvSpPr>
          <p:spPr bwMode="auto">
            <a:xfrm>
              <a:off x="1162" y="718"/>
              <a:ext cx="124" cy="78"/>
            </a:xfrm>
            <a:custGeom>
              <a:avLst/>
              <a:gdLst>
                <a:gd name="T0" fmla="*/ 20 w 70"/>
                <a:gd name="T1" fmla="*/ 0 h 44"/>
                <a:gd name="T2" fmla="*/ 5 w 70"/>
                <a:gd name="T3" fmla="*/ 31 h 44"/>
                <a:gd name="T4" fmla="*/ 0 w 70"/>
                <a:gd name="T5" fmla="*/ 37 h 44"/>
                <a:gd name="T6" fmla="*/ 17 w 70"/>
                <a:gd name="T7" fmla="*/ 44 h 44"/>
                <a:gd name="T8" fmla="*/ 39 w 70"/>
                <a:gd name="T9" fmla="*/ 31 h 44"/>
                <a:gd name="T10" fmla="*/ 70 w 70"/>
                <a:gd name="T11" fmla="*/ 34 h 44"/>
                <a:gd name="T12" fmla="*/ 20 w 70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44">
                  <a:moveTo>
                    <a:pt x="20" y="0"/>
                  </a:moveTo>
                  <a:cubicBezTo>
                    <a:pt x="7" y="5"/>
                    <a:pt x="10" y="20"/>
                    <a:pt x="5" y="31"/>
                  </a:cubicBezTo>
                  <a:cubicBezTo>
                    <a:pt x="3" y="33"/>
                    <a:pt x="1" y="35"/>
                    <a:pt x="0" y="37"/>
                  </a:cubicBezTo>
                  <a:cubicBezTo>
                    <a:pt x="8" y="35"/>
                    <a:pt x="14" y="36"/>
                    <a:pt x="17" y="44"/>
                  </a:cubicBezTo>
                  <a:cubicBezTo>
                    <a:pt x="24" y="42"/>
                    <a:pt x="36" y="29"/>
                    <a:pt x="39" y="31"/>
                  </a:cubicBezTo>
                  <a:cubicBezTo>
                    <a:pt x="50" y="37"/>
                    <a:pt x="57" y="39"/>
                    <a:pt x="70" y="34"/>
                  </a:cubicBezTo>
                  <a:cubicBezTo>
                    <a:pt x="57" y="31"/>
                    <a:pt x="23" y="8"/>
                    <a:pt x="2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1330" y="636"/>
              <a:ext cx="45" cy="44"/>
            </a:xfrm>
            <a:custGeom>
              <a:avLst/>
              <a:gdLst>
                <a:gd name="T0" fmla="*/ 25 w 25"/>
                <a:gd name="T1" fmla="*/ 16 h 25"/>
                <a:gd name="T2" fmla="*/ 6 w 25"/>
                <a:gd name="T3" fmla="*/ 18 h 25"/>
                <a:gd name="T4" fmla="*/ 25 w 25"/>
                <a:gd name="T5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25">
                  <a:moveTo>
                    <a:pt x="25" y="16"/>
                  </a:moveTo>
                  <a:cubicBezTo>
                    <a:pt x="19" y="0"/>
                    <a:pt x="0" y="12"/>
                    <a:pt x="6" y="18"/>
                  </a:cubicBezTo>
                  <a:cubicBezTo>
                    <a:pt x="14" y="24"/>
                    <a:pt x="19" y="25"/>
                    <a:pt x="25" y="1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1224" y="801"/>
              <a:ext cx="32" cy="23"/>
            </a:xfrm>
            <a:custGeom>
              <a:avLst/>
              <a:gdLst>
                <a:gd name="T0" fmla="*/ 0 w 18"/>
                <a:gd name="T1" fmla="*/ 13 h 13"/>
                <a:gd name="T2" fmla="*/ 18 w 18"/>
                <a:gd name="T3" fmla="*/ 1 h 13"/>
                <a:gd name="T4" fmla="*/ 8 w 18"/>
                <a:gd name="T5" fmla="*/ 0 h 13"/>
                <a:gd name="T6" fmla="*/ 0 w 18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3">
                  <a:moveTo>
                    <a:pt x="0" y="13"/>
                  </a:moveTo>
                  <a:cubicBezTo>
                    <a:pt x="7" y="10"/>
                    <a:pt x="13" y="6"/>
                    <a:pt x="18" y="1"/>
                  </a:cubicBezTo>
                  <a:cubicBezTo>
                    <a:pt x="14" y="1"/>
                    <a:pt x="11" y="0"/>
                    <a:pt x="8" y="0"/>
                  </a:cubicBezTo>
                  <a:cubicBezTo>
                    <a:pt x="3" y="4"/>
                    <a:pt x="0" y="7"/>
                    <a:pt x="0" y="1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1" name="Freeform 141"/>
            <p:cNvSpPr>
              <a:spLocks/>
            </p:cNvSpPr>
            <p:nvPr/>
          </p:nvSpPr>
          <p:spPr bwMode="auto">
            <a:xfrm>
              <a:off x="1274" y="458"/>
              <a:ext cx="81" cy="50"/>
            </a:xfrm>
            <a:custGeom>
              <a:avLst/>
              <a:gdLst>
                <a:gd name="T0" fmla="*/ 17 w 46"/>
                <a:gd name="T1" fmla="*/ 26 h 28"/>
                <a:gd name="T2" fmla="*/ 46 w 46"/>
                <a:gd name="T3" fmla="*/ 20 h 28"/>
                <a:gd name="T4" fmla="*/ 0 w 46"/>
                <a:gd name="T5" fmla="*/ 11 h 28"/>
                <a:gd name="T6" fmla="*/ 17 w 46"/>
                <a:gd name="T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28">
                  <a:moveTo>
                    <a:pt x="17" y="26"/>
                  </a:moveTo>
                  <a:cubicBezTo>
                    <a:pt x="28" y="21"/>
                    <a:pt x="38" y="28"/>
                    <a:pt x="46" y="20"/>
                  </a:cubicBezTo>
                  <a:cubicBezTo>
                    <a:pt x="36" y="12"/>
                    <a:pt x="10" y="0"/>
                    <a:pt x="0" y="11"/>
                  </a:cubicBezTo>
                  <a:cubicBezTo>
                    <a:pt x="5" y="19"/>
                    <a:pt x="9" y="24"/>
                    <a:pt x="17" y="2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2" name="Freeform 142"/>
            <p:cNvSpPr>
              <a:spLocks/>
            </p:cNvSpPr>
            <p:nvPr/>
          </p:nvSpPr>
          <p:spPr bwMode="auto">
            <a:xfrm>
              <a:off x="1279" y="817"/>
              <a:ext cx="21" cy="19"/>
            </a:xfrm>
            <a:custGeom>
              <a:avLst/>
              <a:gdLst>
                <a:gd name="T0" fmla="*/ 12 w 12"/>
                <a:gd name="T1" fmla="*/ 3 h 11"/>
                <a:gd name="T2" fmla="*/ 6 w 12"/>
                <a:gd name="T3" fmla="*/ 11 h 11"/>
                <a:gd name="T4" fmla="*/ 12 w 12"/>
                <a:gd name="T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12" y="3"/>
                  </a:moveTo>
                  <a:cubicBezTo>
                    <a:pt x="3" y="0"/>
                    <a:pt x="0" y="2"/>
                    <a:pt x="6" y="11"/>
                  </a:cubicBezTo>
                  <a:cubicBezTo>
                    <a:pt x="8" y="8"/>
                    <a:pt x="10" y="6"/>
                    <a:pt x="12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3" name="Freeform 143"/>
            <p:cNvSpPr>
              <a:spLocks/>
            </p:cNvSpPr>
            <p:nvPr/>
          </p:nvSpPr>
          <p:spPr bwMode="auto">
            <a:xfrm>
              <a:off x="1382" y="652"/>
              <a:ext cx="19" cy="9"/>
            </a:xfrm>
            <a:custGeom>
              <a:avLst/>
              <a:gdLst>
                <a:gd name="T0" fmla="*/ 11 w 11"/>
                <a:gd name="T1" fmla="*/ 5 h 5"/>
                <a:gd name="T2" fmla="*/ 0 w 11"/>
                <a:gd name="T3" fmla="*/ 3 h 5"/>
                <a:gd name="T4" fmla="*/ 4 w 11"/>
                <a:gd name="T5" fmla="*/ 5 h 5"/>
                <a:gd name="T6" fmla="*/ 11 w 1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5">
                  <a:moveTo>
                    <a:pt x="11" y="5"/>
                  </a:moveTo>
                  <a:cubicBezTo>
                    <a:pt x="3" y="0"/>
                    <a:pt x="7" y="1"/>
                    <a:pt x="0" y="3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5"/>
                    <a:pt x="9" y="5"/>
                    <a:pt x="11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4" name="Freeform 144"/>
            <p:cNvSpPr>
              <a:spLocks/>
            </p:cNvSpPr>
            <p:nvPr/>
          </p:nvSpPr>
          <p:spPr bwMode="auto">
            <a:xfrm>
              <a:off x="1066" y="442"/>
              <a:ext cx="550" cy="389"/>
            </a:xfrm>
            <a:custGeom>
              <a:avLst/>
              <a:gdLst>
                <a:gd name="T0" fmla="*/ 227 w 310"/>
                <a:gd name="T1" fmla="*/ 71 h 219"/>
                <a:gd name="T2" fmla="*/ 191 w 310"/>
                <a:gd name="T3" fmla="*/ 57 h 219"/>
                <a:gd name="T4" fmla="*/ 152 w 310"/>
                <a:gd name="T5" fmla="*/ 37 h 219"/>
                <a:gd name="T6" fmla="*/ 119 w 310"/>
                <a:gd name="T7" fmla="*/ 44 h 219"/>
                <a:gd name="T8" fmla="*/ 93 w 310"/>
                <a:gd name="T9" fmla="*/ 20 h 219"/>
                <a:gd name="T10" fmla="*/ 65 w 310"/>
                <a:gd name="T11" fmla="*/ 51 h 219"/>
                <a:gd name="T12" fmla="*/ 74 w 310"/>
                <a:gd name="T13" fmla="*/ 18 h 219"/>
                <a:gd name="T14" fmla="*/ 50 w 310"/>
                <a:gd name="T15" fmla="*/ 65 h 219"/>
                <a:gd name="T16" fmla="*/ 49 w 310"/>
                <a:gd name="T17" fmla="*/ 70 h 219"/>
                <a:gd name="T18" fmla="*/ 34 w 310"/>
                <a:gd name="T19" fmla="*/ 69 h 219"/>
                <a:gd name="T20" fmla="*/ 124 w 310"/>
                <a:gd name="T21" fmla="*/ 94 h 219"/>
                <a:gd name="T22" fmla="*/ 166 w 310"/>
                <a:gd name="T23" fmla="*/ 100 h 219"/>
                <a:gd name="T24" fmla="*/ 157 w 310"/>
                <a:gd name="T25" fmla="*/ 104 h 219"/>
                <a:gd name="T26" fmla="*/ 192 w 310"/>
                <a:gd name="T27" fmla="*/ 117 h 219"/>
                <a:gd name="T28" fmla="*/ 181 w 310"/>
                <a:gd name="T29" fmla="*/ 151 h 219"/>
                <a:gd name="T30" fmla="*/ 188 w 310"/>
                <a:gd name="T31" fmla="*/ 158 h 219"/>
                <a:gd name="T32" fmla="*/ 143 w 310"/>
                <a:gd name="T33" fmla="*/ 172 h 219"/>
                <a:gd name="T34" fmla="*/ 172 w 310"/>
                <a:gd name="T35" fmla="*/ 178 h 219"/>
                <a:gd name="T36" fmla="*/ 186 w 310"/>
                <a:gd name="T37" fmla="*/ 177 h 219"/>
                <a:gd name="T38" fmla="*/ 201 w 310"/>
                <a:gd name="T39" fmla="*/ 188 h 219"/>
                <a:gd name="T40" fmla="*/ 231 w 310"/>
                <a:gd name="T41" fmla="*/ 207 h 219"/>
                <a:gd name="T42" fmla="*/ 260 w 310"/>
                <a:gd name="T43" fmla="*/ 219 h 219"/>
                <a:gd name="T44" fmla="*/ 238 w 310"/>
                <a:gd name="T45" fmla="*/ 191 h 219"/>
                <a:gd name="T46" fmla="*/ 278 w 310"/>
                <a:gd name="T47" fmla="*/ 187 h 219"/>
                <a:gd name="T48" fmla="*/ 257 w 310"/>
                <a:gd name="T49" fmla="*/ 169 h 219"/>
                <a:gd name="T50" fmla="*/ 247 w 310"/>
                <a:gd name="T51" fmla="*/ 153 h 219"/>
                <a:gd name="T52" fmla="*/ 252 w 310"/>
                <a:gd name="T53" fmla="*/ 153 h 219"/>
                <a:gd name="T54" fmla="*/ 252 w 310"/>
                <a:gd name="T55" fmla="*/ 149 h 219"/>
                <a:gd name="T56" fmla="*/ 245 w 310"/>
                <a:gd name="T57" fmla="*/ 148 h 219"/>
                <a:gd name="T58" fmla="*/ 291 w 310"/>
                <a:gd name="T59" fmla="*/ 158 h 219"/>
                <a:gd name="T60" fmla="*/ 289 w 310"/>
                <a:gd name="T61" fmla="*/ 131 h 219"/>
                <a:gd name="T62" fmla="*/ 276 w 310"/>
                <a:gd name="T63" fmla="*/ 128 h 219"/>
                <a:gd name="T64" fmla="*/ 271 w 310"/>
                <a:gd name="T65" fmla="*/ 120 h 219"/>
                <a:gd name="T66" fmla="*/ 247 w 310"/>
                <a:gd name="T67" fmla="*/ 106 h 219"/>
                <a:gd name="T68" fmla="*/ 258 w 310"/>
                <a:gd name="T69" fmla="*/ 98 h 219"/>
                <a:gd name="T70" fmla="*/ 243 w 310"/>
                <a:gd name="T71" fmla="*/ 94 h 219"/>
                <a:gd name="T72" fmla="*/ 255 w 310"/>
                <a:gd name="T73" fmla="*/ 89 h 219"/>
                <a:gd name="T74" fmla="*/ 227 w 310"/>
                <a:gd name="T75" fmla="*/ 71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0" h="219">
                  <a:moveTo>
                    <a:pt x="227" y="71"/>
                  </a:moveTo>
                  <a:cubicBezTo>
                    <a:pt x="214" y="64"/>
                    <a:pt x="204" y="63"/>
                    <a:pt x="191" y="57"/>
                  </a:cubicBezTo>
                  <a:cubicBezTo>
                    <a:pt x="175" y="50"/>
                    <a:pt x="173" y="38"/>
                    <a:pt x="152" y="37"/>
                  </a:cubicBezTo>
                  <a:cubicBezTo>
                    <a:pt x="141" y="36"/>
                    <a:pt x="131" y="44"/>
                    <a:pt x="119" y="44"/>
                  </a:cubicBezTo>
                  <a:cubicBezTo>
                    <a:pt x="121" y="25"/>
                    <a:pt x="111" y="17"/>
                    <a:pt x="93" y="20"/>
                  </a:cubicBezTo>
                  <a:cubicBezTo>
                    <a:pt x="65" y="24"/>
                    <a:pt x="79" y="39"/>
                    <a:pt x="65" y="51"/>
                  </a:cubicBezTo>
                  <a:cubicBezTo>
                    <a:pt x="58" y="37"/>
                    <a:pt x="60" y="29"/>
                    <a:pt x="74" y="18"/>
                  </a:cubicBezTo>
                  <a:cubicBezTo>
                    <a:pt x="42" y="0"/>
                    <a:pt x="0" y="63"/>
                    <a:pt x="50" y="65"/>
                  </a:cubicBezTo>
                  <a:cubicBezTo>
                    <a:pt x="50" y="67"/>
                    <a:pt x="50" y="68"/>
                    <a:pt x="49" y="70"/>
                  </a:cubicBezTo>
                  <a:cubicBezTo>
                    <a:pt x="44" y="68"/>
                    <a:pt x="39" y="70"/>
                    <a:pt x="34" y="69"/>
                  </a:cubicBezTo>
                  <a:cubicBezTo>
                    <a:pt x="47" y="97"/>
                    <a:pt x="119" y="72"/>
                    <a:pt x="124" y="94"/>
                  </a:cubicBezTo>
                  <a:cubicBezTo>
                    <a:pt x="144" y="79"/>
                    <a:pt x="147" y="83"/>
                    <a:pt x="166" y="100"/>
                  </a:cubicBezTo>
                  <a:cubicBezTo>
                    <a:pt x="163" y="102"/>
                    <a:pt x="160" y="103"/>
                    <a:pt x="157" y="104"/>
                  </a:cubicBezTo>
                  <a:cubicBezTo>
                    <a:pt x="166" y="111"/>
                    <a:pt x="179" y="104"/>
                    <a:pt x="192" y="117"/>
                  </a:cubicBezTo>
                  <a:cubicBezTo>
                    <a:pt x="205" y="130"/>
                    <a:pt x="197" y="144"/>
                    <a:pt x="181" y="151"/>
                  </a:cubicBezTo>
                  <a:cubicBezTo>
                    <a:pt x="184" y="153"/>
                    <a:pt x="186" y="156"/>
                    <a:pt x="188" y="158"/>
                  </a:cubicBezTo>
                  <a:cubicBezTo>
                    <a:pt x="173" y="167"/>
                    <a:pt x="155" y="158"/>
                    <a:pt x="143" y="172"/>
                  </a:cubicBezTo>
                  <a:cubicBezTo>
                    <a:pt x="154" y="188"/>
                    <a:pt x="161" y="174"/>
                    <a:pt x="172" y="178"/>
                  </a:cubicBezTo>
                  <a:cubicBezTo>
                    <a:pt x="179" y="181"/>
                    <a:pt x="178" y="171"/>
                    <a:pt x="186" y="177"/>
                  </a:cubicBezTo>
                  <a:cubicBezTo>
                    <a:pt x="191" y="181"/>
                    <a:pt x="196" y="185"/>
                    <a:pt x="201" y="188"/>
                  </a:cubicBezTo>
                  <a:cubicBezTo>
                    <a:pt x="214" y="194"/>
                    <a:pt x="215" y="202"/>
                    <a:pt x="231" y="207"/>
                  </a:cubicBezTo>
                  <a:cubicBezTo>
                    <a:pt x="241" y="210"/>
                    <a:pt x="253" y="211"/>
                    <a:pt x="260" y="219"/>
                  </a:cubicBezTo>
                  <a:cubicBezTo>
                    <a:pt x="268" y="207"/>
                    <a:pt x="248" y="198"/>
                    <a:pt x="238" y="191"/>
                  </a:cubicBezTo>
                  <a:cubicBezTo>
                    <a:pt x="244" y="192"/>
                    <a:pt x="299" y="214"/>
                    <a:pt x="278" y="187"/>
                  </a:cubicBezTo>
                  <a:cubicBezTo>
                    <a:pt x="270" y="176"/>
                    <a:pt x="266" y="179"/>
                    <a:pt x="257" y="169"/>
                  </a:cubicBezTo>
                  <a:cubicBezTo>
                    <a:pt x="251" y="163"/>
                    <a:pt x="249" y="158"/>
                    <a:pt x="247" y="153"/>
                  </a:cubicBezTo>
                  <a:cubicBezTo>
                    <a:pt x="249" y="153"/>
                    <a:pt x="250" y="153"/>
                    <a:pt x="252" y="153"/>
                  </a:cubicBezTo>
                  <a:cubicBezTo>
                    <a:pt x="252" y="152"/>
                    <a:pt x="252" y="151"/>
                    <a:pt x="252" y="149"/>
                  </a:cubicBezTo>
                  <a:cubicBezTo>
                    <a:pt x="250" y="149"/>
                    <a:pt x="248" y="149"/>
                    <a:pt x="245" y="148"/>
                  </a:cubicBezTo>
                  <a:cubicBezTo>
                    <a:pt x="263" y="138"/>
                    <a:pt x="284" y="183"/>
                    <a:pt x="291" y="158"/>
                  </a:cubicBezTo>
                  <a:cubicBezTo>
                    <a:pt x="310" y="143"/>
                    <a:pt x="310" y="144"/>
                    <a:pt x="289" y="131"/>
                  </a:cubicBezTo>
                  <a:cubicBezTo>
                    <a:pt x="286" y="129"/>
                    <a:pt x="280" y="131"/>
                    <a:pt x="276" y="128"/>
                  </a:cubicBezTo>
                  <a:cubicBezTo>
                    <a:pt x="272" y="126"/>
                    <a:pt x="278" y="121"/>
                    <a:pt x="271" y="120"/>
                  </a:cubicBezTo>
                  <a:cubicBezTo>
                    <a:pt x="260" y="117"/>
                    <a:pt x="258" y="108"/>
                    <a:pt x="247" y="106"/>
                  </a:cubicBezTo>
                  <a:cubicBezTo>
                    <a:pt x="251" y="103"/>
                    <a:pt x="253" y="100"/>
                    <a:pt x="258" y="98"/>
                  </a:cubicBezTo>
                  <a:cubicBezTo>
                    <a:pt x="253" y="97"/>
                    <a:pt x="249" y="94"/>
                    <a:pt x="243" y="94"/>
                  </a:cubicBezTo>
                  <a:cubicBezTo>
                    <a:pt x="247" y="93"/>
                    <a:pt x="251" y="90"/>
                    <a:pt x="255" y="89"/>
                  </a:cubicBezTo>
                  <a:cubicBezTo>
                    <a:pt x="244" y="80"/>
                    <a:pt x="239" y="77"/>
                    <a:pt x="227" y="7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5" name="Freeform 145"/>
            <p:cNvSpPr>
              <a:spLocks/>
            </p:cNvSpPr>
            <p:nvPr/>
          </p:nvSpPr>
          <p:spPr bwMode="auto">
            <a:xfrm>
              <a:off x="1080" y="98"/>
              <a:ext cx="538" cy="311"/>
            </a:xfrm>
            <a:custGeom>
              <a:avLst/>
              <a:gdLst>
                <a:gd name="T0" fmla="*/ 14 w 303"/>
                <a:gd name="T1" fmla="*/ 47 h 175"/>
                <a:gd name="T2" fmla="*/ 41 w 303"/>
                <a:gd name="T3" fmla="*/ 44 h 175"/>
                <a:gd name="T4" fmla="*/ 20 w 303"/>
                <a:gd name="T5" fmla="*/ 55 h 175"/>
                <a:gd name="T6" fmla="*/ 35 w 303"/>
                <a:gd name="T7" fmla="*/ 55 h 175"/>
                <a:gd name="T8" fmla="*/ 26 w 303"/>
                <a:gd name="T9" fmla="*/ 59 h 175"/>
                <a:gd name="T10" fmla="*/ 55 w 303"/>
                <a:gd name="T11" fmla="*/ 63 h 175"/>
                <a:gd name="T12" fmla="*/ 74 w 303"/>
                <a:gd name="T13" fmla="*/ 68 h 175"/>
                <a:gd name="T14" fmla="*/ 99 w 303"/>
                <a:gd name="T15" fmla="*/ 69 h 175"/>
                <a:gd name="T16" fmla="*/ 121 w 303"/>
                <a:gd name="T17" fmla="*/ 61 h 175"/>
                <a:gd name="T18" fmla="*/ 98 w 303"/>
                <a:gd name="T19" fmla="*/ 85 h 175"/>
                <a:gd name="T20" fmla="*/ 53 w 303"/>
                <a:gd name="T21" fmla="*/ 72 h 175"/>
                <a:gd name="T22" fmla="*/ 58 w 303"/>
                <a:gd name="T23" fmla="*/ 76 h 175"/>
                <a:gd name="T24" fmla="*/ 49 w 303"/>
                <a:gd name="T25" fmla="*/ 79 h 175"/>
                <a:gd name="T26" fmla="*/ 65 w 303"/>
                <a:gd name="T27" fmla="*/ 104 h 175"/>
                <a:gd name="T28" fmla="*/ 43 w 303"/>
                <a:gd name="T29" fmla="*/ 121 h 175"/>
                <a:gd name="T30" fmla="*/ 72 w 303"/>
                <a:gd name="T31" fmla="*/ 136 h 175"/>
                <a:gd name="T32" fmla="*/ 36 w 303"/>
                <a:gd name="T33" fmla="*/ 130 h 175"/>
                <a:gd name="T34" fmla="*/ 47 w 303"/>
                <a:gd name="T35" fmla="*/ 140 h 175"/>
                <a:gd name="T36" fmla="*/ 22 w 303"/>
                <a:gd name="T37" fmla="*/ 154 h 175"/>
                <a:gd name="T38" fmla="*/ 139 w 303"/>
                <a:gd name="T39" fmla="*/ 150 h 175"/>
                <a:gd name="T40" fmla="*/ 125 w 303"/>
                <a:gd name="T41" fmla="*/ 147 h 175"/>
                <a:gd name="T42" fmla="*/ 137 w 303"/>
                <a:gd name="T43" fmla="*/ 126 h 175"/>
                <a:gd name="T44" fmla="*/ 169 w 303"/>
                <a:gd name="T45" fmla="*/ 110 h 175"/>
                <a:gd name="T46" fmla="*/ 159 w 303"/>
                <a:gd name="T47" fmla="*/ 102 h 175"/>
                <a:gd name="T48" fmla="*/ 169 w 303"/>
                <a:gd name="T49" fmla="*/ 95 h 175"/>
                <a:gd name="T50" fmla="*/ 160 w 303"/>
                <a:gd name="T51" fmla="*/ 96 h 175"/>
                <a:gd name="T52" fmla="*/ 214 w 303"/>
                <a:gd name="T53" fmla="*/ 73 h 175"/>
                <a:gd name="T54" fmla="*/ 271 w 303"/>
                <a:gd name="T55" fmla="*/ 44 h 175"/>
                <a:gd name="T56" fmla="*/ 245 w 303"/>
                <a:gd name="T57" fmla="*/ 43 h 175"/>
                <a:gd name="T58" fmla="*/ 303 w 303"/>
                <a:gd name="T59" fmla="*/ 25 h 175"/>
                <a:gd name="T60" fmla="*/ 241 w 303"/>
                <a:gd name="T61" fmla="*/ 16 h 175"/>
                <a:gd name="T62" fmla="*/ 247 w 303"/>
                <a:gd name="T63" fmla="*/ 12 h 175"/>
                <a:gd name="T64" fmla="*/ 174 w 303"/>
                <a:gd name="T65" fmla="*/ 8 h 175"/>
                <a:gd name="T66" fmla="*/ 149 w 303"/>
                <a:gd name="T67" fmla="*/ 7 h 175"/>
                <a:gd name="T68" fmla="*/ 110 w 303"/>
                <a:gd name="T69" fmla="*/ 10 h 175"/>
                <a:gd name="T70" fmla="*/ 84 w 303"/>
                <a:gd name="T71" fmla="*/ 24 h 175"/>
                <a:gd name="T72" fmla="*/ 56 w 303"/>
                <a:gd name="T73" fmla="*/ 23 h 175"/>
                <a:gd name="T74" fmla="*/ 0 w 303"/>
                <a:gd name="T75" fmla="*/ 44 h 175"/>
                <a:gd name="T76" fmla="*/ 23 w 303"/>
                <a:gd name="T77" fmla="*/ 41 h 175"/>
                <a:gd name="T78" fmla="*/ 14 w 303"/>
                <a:gd name="T79" fmla="*/ 4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3" h="175">
                  <a:moveTo>
                    <a:pt x="14" y="47"/>
                  </a:moveTo>
                  <a:cubicBezTo>
                    <a:pt x="24" y="52"/>
                    <a:pt x="30" y="43"/>
                    <a:pt x="41" y="44"/>
                  </a:cubicBezTo>
                  <a:cubicBezTo>
                    <a:pt x="32" y="45"/>
                    <a:pt x="24" y="48"/>
                    <a:pt x="20" y="55"/>
                  </a:cubicBezTo>
                  <a:cubicBezTo>
                    <a:pt x="25" y="55"/>
                    <a:pt x="30" y="56"/>
                    <a:pt x="35" y="55"/>
                  </a:cubicBezTo>
                  <a:cubicBezTo>
                    <a:pt x="32" y="56"/>
                    <a:pt x="29" y="57"/>
                    <a:pt x="26" y="59"/>
                  </a:cubicBezTo>
                  <a:cubicBezTo>
                    <a:pt x="38" y="68"/>
                    <a:pt x="43" y="64"/>
                    <a:pt x="55" y="63"/>
                  </a:cubicBezTo>
                  <a:cubicBezTo>
                    <a:pt x="62" y="62"/>
                    <a:pt x="64" y="74"/>
                    <a:pt x="74" y="68"/>
                  </a:cubicBezTo>
                  <a:cubicBezTo>
                    <a:pt x="81" y="64"/>
                    <a:pt x="90" y="70"/>
                    <a:pt x="99" y="69"/>
                  </a:cubicBezTo>
                  <a:cubicBezTo>
                    <a:pt x="107" y="68"/>
                    <a:pt x="113" y="62"/>
                    <a:pt x="121" y="61"/>
                  </a:cubicBezTo>
                  <a:cubicBezTo>
                    <a:pt x="112" y="71"/>
                    <a:pt x="66" y="70"/>
                    <a:pt x="98" y="85"/>
                  </a:cubicBezTo>
                  <a:cubicBezTo>
                    <a:pt x="80" y="80"/>
                    <a:pt x="74" y="71"/>
                    <a:pt x="53" y="72"/>
                  </a:cubicBezTo>
                  <a:cubicBezTo>
                    <a:pt x="55" y="74"/>
                    <a:pt x="56" y="75"/>
                    <a:pt x="58" y="76"/>
                  </a:cubicBezTo>
                  <a:cubicBezTo>
                    <a:pt x="55" y="77"/>
                    <a:pt x="52" y="78"/>
                    <a:pt x="49" y="79"/>
                  </a:cubicBezTo>
                  <a:cubicBezTo>
                    <a:pt x="55" y="83"/>
                    <a:pt x="86" y="100"/>
                    <a:pt x="65" y="104"/>
                  </a:cubicBezTo>
                  <a:cubicBezTo>
                    <a:pt x="55" y="105"/>
                    <a:pt x="43" y="108"/>
                    <a:pt x="43" y="121"/>
                  </a:cubicBezTo>
                  <a:cubicBezTo>
                    <a:pt x="59" y="114"/>
                    <a:pt x="60" y="128"/>
                    <a:pt x="72" y="136"/>
                  </a:cubicBezTo>
                  <a:cubicBezTo>
                    <a:pt x="59" y="135"/>
                    <a:pt x="50" y="122"/>
                    <a:pt x="36" y="130"/>
                  </a:cubicBezTo>
                  <a:cubicBezTo>
                    <a:pt x="41" y="133"/>
                    <a:pt x="42" y="138"/>
                    <a:pt x="47" y="140"/>
                  </a:cubicBezTo>
                  <a:cubicBezTo>
                    <a:pt x="38" y="142"/>
                    <a:pt x="26" y="145"/>
                    <a:pt x="22" y="154"/>
                  </a:cubicBezTo>
                  <a:cubicBezTo>
                    <a:pt x="47" y="153"/>
                    <a:pt x="119" y="175"/>
                    <a:pt x="139" y="150"/>
                  </a:cubicBezTo>
                  <a:cubicBezTo>
                    <a:pt x="134" y="149"/>
                    <a:pt x="131" y="146"/>
                    <a:pt x="125" y="147"/>
                  </a:cubicBezTo>
                  <a:cubicBezTo>
                    <a:pt x="130" y="141"/>
                    <a:pt x="140" y="136"/>
                    <a:pt x="137" y="126"/>
                  </a:cubicBezTo>
                  <a:cubicBezTo>
                    <a:pt x="152" y="129"/>
                    <a:pt x="159" y="120"/>
                    <a:pt x="169" y="110"/>
                  </a:cubicBezTo>
                  <a:cubicBezTo>
                    <a:pt x="165" y="108"/>
                    <a:pt x="163" y="104"/>
                    <a:pt x="159" y="102"/>
                  </a:cubicBezTo>
                  <a:cubicBezTo>
                    <a:pt x="166" y="100"/>
                    <a:pt x="164" y="98"/>
                    <a:pt x="169" y="95"/>
                  </a:cubicBezTo>
                  <a:cubicBezTo>
                    <a:pt x="166" y="95"/>
                    <a:pt x="163" y="95"/>
                    <a:pt x="160" y="96"/>
                  </a:cubicBezTo>
                  <a:cubicBezTo>
                    <a:pt x="179" y="83"/>
                    <a:pt x="196" y="90"/>
                    <a:pt x="214" y="73"/>
                  </a:cubicBezTo>
                  <a:cubicBezTo>
                    <a:pt x="231" y="58"/>
                    <a:pt x="253" y="58"/>
                    <a:pt x="271" y="44"/>
                  </a:cubicBezTo>
                  <a:cubicBezTo>
                    <a:pt x="262" y="45"/>
                    <a:pt x="254" y="46"/>
                    <a:pt x="245" y="43"/>
                  </a:cubicBezTo>
                  <a:cubicBezTo>
                    <a:pt x="265" y="36"/>
                    <a:pt x="286" y="38"/>
                    <a:pt x="303" y="25"/>
                  </a:cubicBezTo>
                  <a:cubicBezTo>
                    <a:pt x="279" y="10"/>
                    <a:pt x="268" y="9"/>
                    <a:pt x="241" y="16"/>
                  </a:cubicBezTo>
                  <a:cubicBezTo>
                    <a:pt x="243" y="14"/>
                    <a:pt x="245" y="13"/>
                    <a:pt x="247" y="12"/>
                  </a:cubicBezTo>
                  <a:cubicBezTo>
                    <a:pt x="231" y="3"/>
                    <a:pt x="188" y="0"/>
                    <a:pt x="174" y="8"/>
                  </a:cubicBezTo>
                  <a:cubicBezTo>
                    <a:pt x="170" y="10"/>
                    <a:pt x="154" y="7"/>
                    <a:pt x="149" y="7"/>
                  </a:cubicBezTo>
                  <a:cubicBezTo>
                    <a:pt x="138" y="7"/>
                    <a:pt x="120" y="5"/>
                    <a:pt x="110" y="10"/>
                  </a:cubicBezTo>
                  <a:cubicBezTo>
                    <a:pt x="99" y="15"/>
                    <a:pt x="90" y="12"/>
                    <a:pt x="84" y="24"/>
                  </a:cubicBezTo>
                  <a:cubicBezTo>
                    <a:pt x="80" y="33"/>
                    <a:pt x="64" y="16"/>
                    <a:pt x="56" y="23"/>
                  </a:cubicBezTo>
                  <a:cubicBezTo>
                    <a:pt x="39" y="36"/>
                    <a:pt x="15" y="26"/>
                    <a:pt x="0" y="44"/>
                  </a:cubicBezTo>
                  <a:cubicBezTo>
                    <a:pt x="8" y="42"/>
                    <a:pt x="15" y="42"/>
                    <a:pt x="23" y="41"/>
                  </a:cubicBezTo>
                  <a:cubicBezTo>
                    <a:pt x="20" y="43"/>
                    <a:pt x="17" y="45"/>
                    <a:pt x="14" y="4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6" name="Freeform 146"/>
            <p:cNvSpPr>
              <a:spLocks noEditPoints="1"/>
            </p:cNvSpPr>
            <p:nvPr/>
          </p:nvSpPr>
          <p:spPr bwMode="auto">
            <a:xfrm>
              <a:off x="1403" y="72"/>
              <a:ext cx="1069" cy="807"/>
            </a:xfrm>
            <a:custGeom>
              <a:avLst/>
              <a:gdLst>
                <a:gd name="T0" fmla="*/ 471 w 603"/>
                <a:gd name="T1" fmla="*/ 266 h 455"/>
                <a:gd name="T2" fmla="*/ 478 w 603"/>
                <a:gd name="T3" fmla="*/ 236 h 455"/>
                <a:gd name="T4" fmla="*/ 488 w 603"/>
                <a:gd name="T5" fmla="*/ 227 h 455"/>
                <a:gd name="T6" fmla="*/ 519 w 603"/>
                <a:gd name="T7" fmla="*/ 216 h 455"/>
                <a:gd name="T8" fmla="*/ 521 w 603"/>
                <a:gd name="T9" fmla="*/ 199 h 455"/>
                <a:gd name="T10" fmla="*/ 519 w 603"/>
                <a:gd name="T11" fmla="*/ 173 h 455"/>
                <a:gd name="T12" fmla="*/ 531 w 603"/>
                <a:gd name="T13" fmla="*/ 144 h 455"/>
                <a:gd name="T14" fmla="*/ 514 w 603"/>
                <a:gd name="T15" fmla="*/ 135 h 455"/>
                <a:gd name="T16" fmla="*/ 564 w 603"/>
                <a:gd name="T17" fmla="*/ 77 h 455"/>
                <a:gd name="T18" fmla="*/ 597 w 603"/>
                <a:gd name="T19" fmla="*/ 52 h 455"/>
                <a:gd name="T20" fmla="*/ 516 w 603"/>
                <a:gd name="T21" fmla="*/ 53 h 455"/>
                <a:gd name="T22" fmla="*/ 498 w 603"/>
                <a:gd name="T23" fmla="*/ 44 h 455"/>
                <a:gd name="T24" fmla="*/ 466 w 603"/>
                <a:gd name="T25" fmla="*/ 45 h 455"/>
                <a:gd name="T26" fmla="*/ 508 w 603"/>
                <a:gd name="T27" fmla="*/ 26 h 455"/>
                <a:gd name="T28" fmla="*/ 375 w 603"/>
                <a:gd name="T29" fmla="*/ 3 h 455"/>
                <a:gd name="T30" fmla="*/ 255 w 603"/>
                <a:gd name="T31" fmla="*/ 21 h 455"/>
                <a:gd name="T32" fmla="*/ 269 w 603"/>
                <a:gd name="T33" fmla="*/ 46 h 455"/>
                <a:gd name="T34" fmla="*/ 193 w 603"/>
                <a:gd name="T35" fmla="*/ 46 h 455"/>
                <a:gd name="T36" fmla="*/ 110 w 603"/>
                <a:gd name="T37" fmla="*/ 64 h 455"/>
                <a:gd name="T38" fmla="*/ 58 w 603"/>
                <a:gd name="T39" fmla="*/ 88 h 455"/>
                <a:gd name="T40" fmla="*/ 44 w 603"/>
                <a:gd name="T41" fmla="*/ 115 h 455"/>
                <a:gd name="T42" fmla="*/ 72 w 603"/>
                <a:gd name="T43" fmla="*/ 143 h 455"/>
                <a:gd name="T44" fmla="*/ 49 w 603"/>
                <a:gd name="T45" fmla="*/ 167 h 455"/>
                <a:gd name="T46" fmla="*/ 68 w 603"/>
                <a:gd name="T47" fmla="*/ 180 h 455"/>
                <a:gd name="T48" fmla="*/ 174 w 603"/>
                <a:gd name="T49" fmla="*/ 230 h 455"/>
                <a:gd name="T50" fmla="*/ 202 w 603"/>
                <a:gd name="T51" fmla="*/ 262 h 455"/>
                <a:gd name="T52" fmla="*/ 189 w 603"/>
                <a:gd name="T53" fmla="*/ 279 h 455"/>
                <a:gd name="T54" fmla="*/ 207 w 603"/>
                <a:gd name="T55" fmla="*/ 318 h 455"/>
                <a:gd name="T56" fmla="*/ 199 w 603"/>
                <a:gd name="T57" fmla="*/ 346 h 455"/>
                <a:gd name="T58" fmla="*/ 224 w 603"/>
                <a:gd name="T59" fmla="*/ 387 h 455"/>
                <a:gd name="T60" fmla="*/ 267 w 603"/>
                <a:gd name="T61" fmla="*/ 437 h 455"/>
                <a:gd name="T62" fmla="*/ 298 w 603"/>
                <a:gd name="T63" fmla="*/ 450 h 455"/>
                <a:gd name="T64" fmla="*/ 323 w 603"/>
                <a:gd name="T65" fmla="*/ 390 h 455"/>
                <a:gd name="T66" fmla="*/ 355 w 603"/>
                <a:gd name="T67" fmla="*/ 361 h 455"/>
                <a:gd name="T68" fmla="*/ 425 w 603"/>
                <a:gd name="T69" fmla="*/ 321 h 455"/>
                <a:gd name="T70" fmla="*/ 467 w 603"/>
                <a:gd name="T71" fmla="*/ 279 h 455"/>
                <a:gd name="T72" fmla="*/ 443 w 603"/>
                <a:gd name="T73" fmla="*/ 44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3" h="455">
                  <a:moveTo>
                    <a:pt x="467" y="279"/>
                  </a:moveTo>
                  <a:cubicBezTo>
                    <a:pt x="476" y="273"/>
                    <a:pt x="474" y="275"/>
                    <a:pt x="471" y="266"/>
                  </a:cubicBezTo>
                  <a:cubicBezTo>
                    <a:pt x="479" y="266"/>
                    <a:pt x="513" y="296"/>
                    <a:pt x="512" y="275"/>
                  </a:cubicBezTo>
                  <a:cubicBezTo>
                    <a:pt x="511" y="257"/>
                    <a:pt x="483" y="251"/>
                    <a:pt x="478" y="236"/>
                  </a:cubicBezTo>
                  <a:cubicBezTo>
                    <a:pt x="483" y="239"/>
                    <a:pt x="493" y="253"/>
                    <a:pt x="501" y="250"/>
                  </a:cubicBezTo>
                  <a:cubicBezTo>
                    <a:pt x="519" y="245"/>
                    <a:pt x="493" y="230"/>
                    <a:pt x="488" y="227"/>
                  </a:cubicBezTo>
                  <a:cubicBezTo>
                    <a:pt x="498" y="229"/>
                    <a:pt x="500" y="232"/>
                    <a:pt x="509" y="229"/>
                  </a:cubicBezTo>
                  <a:cubicBezTo>
                    <a:pt x="517" y="227"/>
                    <a:pt x="523" y="225"/>
                    <a:pt x="519" y="216"/>
                  </a:cubicBezTo>
                  <a:cubicBezTo>
                    <a:pt x="527" y="214"/>
                    <a:pt x="528" y="211"/>
                    <a:pt x="533" y="207"/>
                  </a:cubicBezTo>
                  <a:cubicBezTo>
                    <a:pt x="528" y="205"/>
                    <a:pt x="526" y="201"/>
                    <a:pt x="521" y="199"/>
                  </a:cubicBezTo>
                  <a:cubicBezTo>
                    <a:pt x="531" y="197"/>
                    <a:pt x="532" y="193"/>
                    <a:pt x="530" y="184"/>
                  </a:cubicBezTo>
                  <a:cubicBezTo>
                    <a:pt x="529" y="179"/>
                    <a:pt x="519" y="170"/>
                    <a:pt x="519" y="173"/>
                  </a:cubicBezTo>
                  <a:cubicBezTo>
                    <a:pt x="517" y="154"/>
                    <a:pt x="534" y="168"/>
                    <a:pt x="547" y="156"/>
                  </a:cubicBezTo>
                  <a:cubicBezTo>
                    <a:pt x="543" y="151"/>
                    <a:pt x="537" y="147"/>
                    <a:pt x="531" y="144"/>
                  </a:cubicBezTo>
                  <a:cubicBezTo>
                    <a:pt x="533" y="143"/>
                    <a:pt x="535" y="143"/>
                    <a:pt x="537" y="142"/>
                  </a:cubicBezTo>
                  <a:cubicBezTo>
                    <a:pt x="530" y="138"/>
                    <a:pt x="522" y="136"/>
                    <a:pt x="514" y="135"/>
                  </a:cubicBezTo>
                  <a:cubicBezTo>
                    <a:pt x="517" y="121"/>
                    <a:pt x="536" y="114"/>
                    <a:pt x="532" y="101"/>
                  </a:cubicBezTo>
                  <a:cubicBezTo>
                    <a:pt x="542" y="100"/>
                    <a:pt x="561" y="85"/>
                    <a:pt x="564" y="77"/>
                  </a:cubicBezTo>
                  <a:cubicBezTo>
                    <a:pt x="562" y="77"/>
                    <a:pt x="560" y="77"/>
                    <a:pt x="557" y="77"/>
                  </a:cubicBezTo>
                  <a:cubicBezTo>
                    <a:pt x="566" y="77"/>
                    <a:pt x="603" y="63"/>
                    <a:pt x="597" y="52"/>
                  </a:cubicBezTo>
                  <a:cubicBezTo>
                    <a:pt x="590" y="40"/>
                    <a:pt x="566" y="46"/>
                    <a:pt x="556" y="48"/>
                  </a:cubicBezTo>
                  <a:cubicBezTo>
                    <a:pt x="541" y="52"/>
                    <a:pt x="531" y="54"/>
                    <a:pt x="516" y="53"/>
                  </a:cubicBezTo>
                  <a:cubicBezTo>
                    <a:pt x="505" y="52"/>
                    <a:pt x="489" y="77"/>
                    <a:pt x="480" y="84"/>
                  </a:cubicBezTo>
                  <a:cubicBezTo>
                    <a:pt x="485" y="74"/>
                    <a:pt x="512" y="53"/>
                    <a:pt x="498" y="44"/>
                  </a:cubicBezTo>
                  <a:cubicBezTo>
                    <a:pt x="486" y="36"/>
                    <a:pt x="468" y="60"/>
                    <a:pt x="454" y="61"/>
                  </a:cubicBezTo>
                  <a:cubicBezTo>
                    <a:pt x="459" y="57"/>
                    <a:pt x="461" y="51"/>
                    <a:pt x="466" y="45"/>
                  </a:cubicBezTo>
                  <a:cubicBezTo>
                    <a:pt x="462" y="44"/>
                    <a:pt x="458" y="44"/>
                    <a:pt x="455" y="44"/>
                  </a:cubicBezTo>
                  <a:cubicBezTo>
                    <a:pt x="478" y="43"/>
                    <a:pt x="500" y="40"/>
                    <a:pt x="508" y="26"/>
                  </a:cubicBezTo>
                  <a:cubicBezTo>
                    <a:pt x="481" y="26"/>
                    <a:pt x="468" y="15"/>
                    <a:pt x="444" y="6"/>
                  </a:cubicBezTo>
                  <a:cubicBezTo>
                    <a:pt x="425" y="0"/>
                    <a:pt x="395" y="0"/>
                    <a:pt x="375" y="3"/>
                  </a:cubicBezTo>
                  <a:cubicBezTo>
                    <a:pt x="354" y="5"/>
                    <a:pt x="335" y="12"/>
                    <a:pt x="314" y="13"/>
                  </a:cubicBezTo>
                  <a:cubicBezTo>
                    <a:pt x="304" y="13"/>
                    <a:pt x="273" y="17"/>
                    <a:pt x="255" y="21"/>
                  </a:cubicBezTo>
                  <a:cubicBezTo>
                    <a:pt x="258" y="23"/>
                    <a:pt x="261" y="25"/>
                    <a:pt x="263" y="27"/>
                  </a:cubicBezTo>
                  <a:cubicBezTo>
                    <a:pt x="239" y="24"/>
                    <a:pt x="260" y="41"/>
                    <a:pt x="269" y="46"/>
                  </a:cubicBezTo>
                  <a:cubicBezTo>
                    <a:pt x="260" y="46"/>
                    <a:pt x="206" y="22"/>
                    <a:pt x="217" y="46"/>
                  </a:cubicBezTo>
                  <a:cubicBezTo>
                    <a:pt x="207" y="45"/>
                    <a:pt x="190" y="28"/>
                    <a:pt x="193" y="46"/>
                  </a:cubicBezTo>
                  <a:cubicBezTo>
                    <a:pt x="178" y="34"/>
                    <a:pt x="137" y="39"/>
                    <a:pt x="121" y="49"/>
                  </a:cubicBezTo>
                  <a:cubicBezTo>
                    <a:pt x="115" y="52"/>
                    <a:pt x="115" y="60"/>
                    <a:pt x="110" y="64"/>
                  </a:cubicBezTo>
                  <a:cubicBezTo>
                    <a:pt x="104" y="70"/>
                    <a:pt x="101" y="61"/>
                    <a:pt x="94" y="67"/>
                  </a:cubicBezTo>
                  <a:cubicBezTo>
                    <a:pt x="83" y="76"/>
                    <a:pt x="70" y="80"/>
                    <a:pt x="58" y="88"/>
                  </a:cubicBezTo>
                  <a:cubicBezTo>
                    <a:pt x="64" y="95"/>
                    <a:pt x="74" y="95"/>
                    <a:pt x="83" y="95"/>
                  </a:cubicBezTo>
                  <a:cubicBezTo>
                    <a:pt x="78" y="119"/>
                    <a:pt x="62" y="111"/>
                    <a:pt x="44" y="115"/>
                  </a:cubicBezTo>
                  <a:cubicBezTo>
                    <a:pt x="38" y="117"/>
                    <a:pt x="12" y="125"/>
                    <a:pt x="10" y="130"/>
                  </a:cubicBezTo>
                  <a:cubicBezTo>
                    <a:pt x="0" y="151"/>
                    <a:pt x="66" y="143"/>
                    <a:pt x="72" y="143"/>
                  </a:cubicBezTo>
                  <a:cubicBezTo>
                    <a:pt x="66" y="162"/>
                    <a:pt x="35" y="146"/>
                    <a:pt x="22" y="162"/>
                  </a:cubicBezTo>
                  <a:cubicBezTo>
                    <a:pt x="31" y="159"/>
                    <a:pt x="41" y="162"/>
                    <a:pt x="49" y="167"/>
                  </a:cubicBezTo>
                  <a:cubicBezTo>
                    <a:pt x="47" y="169"/>
                    <a:pt x="44" y="171"/>
                    <a:pt x="42" y="173"/>
                  </a:cubicBezTo>
                  <a:cubicBezTo>
                    <a:pt x="50" y="180"/>
                    <a:pt x="59" y="183"/>
                    <a:pt x="68" y="180"/>
                  </a:cubicBezTo>
                  <a:cubicBezTo>
                    <a:pt x="67" y="179"/>
                    <a:pt x="65" y="178"/>
                    <a:pt x="64" y="177"/>
                  </a:cubicBezTo>
                  <a:cubicBezTo>
                    <a:pt x="113" y="175"/>
                    <a:pt x="154" y="175"/>
                    <a:pt x="174" y="230"/>
                  </a:cubicBezTo>
                  <a:cubicBezTo>
                    <a:pt x="179" y="244"/>
                    <a:pt x="185" y="242"/>
                    <a:pt x="179" y="256"/>
                  </a:cubicBezTo>
                  <a:cubicBezTo>
                    <a:pt x="173" y="271"/>
                    <a:pt x="196" y="260"/>
                    <a:pt x="202" y="262"/>
                  </a:cubicBezTo>
                  <a:cubicBezTo>
                    <a:pt x="208" y="265"/>
                    <a:pt x="224" y="281"/>
                    <a:pt x="217" y="286"/>
                  </a:cubicBezTo>
                  <a:cubicBezTo>
                    <a:pt x="216" y="286"/>
                    <a:pt x="193" y="279"/>
                    <a:pt x="189" y="279"/>
                  </a:cubicBezTo>
                  <a:cubicBezTo>
                    <a:pt x="197" y="289"/>
                    <a:pt x="215" y="293"/>
                    <a:pt x="227" y="294"/>
                  </a:cubicBezTo>
                  <a:cubicBezTo>
                    <a:pt x="220" y="304"/>
                    <a:pt x="221" y="320"/>
                    <a:pt x="207" y="318"/>
                  </a:cubicBezTo>
                  <a:cubicBezTo>
                    <a:pt x="201" y="325"/>
                    <a:pt x="193" y="334"/>
                    <a:pt x="193" y="346"/>
                  </a:cubicBezTo>
                  <a:cubicBezTo>
                    <a:pt x="195" y="346"/>
                    <a:pt x="197" y="346"/>
                    <a:pt x="199" y="346"/>
                  </a:cubicBezTo>
                  <a:cubicBezTo>
                    <a:pt x="193" y="361"/>
                    <a:pt x="210" y="371"/>
                    <a:pt x="212" y="386"/>
                  </a:cubicBezTo>
                  <a:cubicBezTo>
                    <a:pt x="217" y="384"/>
                    <a:pt x="220" y="387"/>
                    <a:pt x="224" y="387"/>
                  </a:cubicBezTo>
                  <a:cubicBezTo>
                    <a:pt x="210" y="400"/>
                    <a:pt x="241" y="435"/>
                    <a:pt x="254" y="440"/>
                  </a:cubicBezTo>
                  <a:cubicBezTo>
                    <a:pt x="256" y="442"/>
                    <a:pt x="263" y="435"/>
                    <a:pt x="267" y="437"/>
                  </a:cubicBezTo>
                  <a:cubicBezTo>
                    <a:pt x="272" y="440"/>
                    <a:pt x="274" y="446"/>
                    <a:pt x="278" y="447"/>
                  </a:cubicBezTo>
                  <a:cubicBezTo>
                    <a:pt x="284" y="449"/>
                    <a:pt x="292" y="455"/>
                    <a:pt x="298" y="450"/>
                  </a:cubicBezTo>
                  <a:cubicBezTo>
                    <a:pt x="307" y="441"/>
                    <a:pt x="306" y="428"/>
                    <a:pt x="308" y="417"/>
                  </a:cubicBezTo>
                  <a:cubicBezTo>
                    <a:pt x="310" y="407"/>
                    <a:pt x="329" y="400"/>
                    <a:pt x="323" y="390"/>
                  </a:cubicBezTo>
                  <a:cubicBezTo>
                    <a:pt x="312" y="374"/>
                    <a:pt x="348" y="364"/>
                    <a:pt x="355" y="354"/>
                  </a:cubicBezTo>
                  <a:cubicBezTo>
                    <a:pt x="355" y="356"/>
                    <a:pt x="355" y="359"/>
                    <a:pt x="355" y="361"/>
                  </a:cubicBezTo>
                  <a:cubicBezTo>
                    <a:pt x="373" y="358"/>
                    <a:pt x="380" y="355"/>
                    <a:pt x="392" y="343"/>
                  </a:cubicBezTo>
                  <a:cubicBezTo>
                    <a:pt x="402" y="333"/>
                    <a:pt x="409" y="321"/>
                    <a:pt x="425" y="321"/>
                  </a:cubicBezTo>
                  <a:cubicBezTo>
                    <a:pt x="456" y="321"/>
                    <a:pt x="479" y="303"/>
                    <a:pt x="505" y="290"/>
                  </a:cubicBezTo>
                  <a:cubicBezTo>
                    <a:pt x="492" y="288"/>
                    <a:pt x="474" y="291"/>
                    <a:pt x="467" y="279"/>
                  </a:cubicBezTo>
                  <a:close/>
                  <a:moveTo>
                    <a:pt x="397" y="45"/>
                  </a:moveTo>
                  <a:cubicBezTo>
                    <a:pt x="407" y="43"/>
                    <a:pt x="425" y="44"/>
                    <a:pt x="443" y="44"/>
                  </a:cubicBezTo>
                  <a:cubicBezTo>
                    <a:pt x="427" y="45"/>
                    <a:pt x="412" y="48"/>
                    <a:pt x="397" y="4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7" name="Freeform 147"/>
            <p:cNvSpPr>
              <a:spLocks/>
            </p:cNvSpPr>
            <p:nvPr/>
          </p:nvSpPr>
          <p:spPr bwMode="auto">
            <a:xfrm>
              <a:off x="1722" y="577"/>
              <a:ext cx="57" cy="39"/>
            </a:xfrm>
            <a:custGeom>
              <a:avLst/>
              <a:gdLst>
                <a:gd name="T0" fmla="*/ 11 w 32"/>
                <a:gd name="T1" fmla="*/ 20 h 22"/>
                <a:gd name="T2" fmla="*/ 32 w 32"/>
                <a:gd name="T3" fmla="*/ 14 h 22"/>
                <a:gd name="T4" fmla="*/ 12 w 32"/>
                <a:gd name="T5" fmla="*/ 1 h 22"/>
                <a:gd name="T6" fmla="*/ 11 w 32"/>
                <a:gd name="T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2">
                  <a:moveTo>
                    <a:pt x="11" y="20"/>
                  </a:moveTo>
                  <a:cubicBezTo>
                    <a:pt x="19" y="22"/>
                    <a:pt x="27" y="20"/>
                    <a:pt x="32" y="14"/>
                  </a:cubicBezTo>
                  <a:cubicBezTo>
                    <a:pt x="28" y="11"/>
                    <a:pt x="17" y="0"/>
                    <a:pt x="12" y="1"/>
                  </a:cubicBezTo>
                  <a:cubicBezTo>
                    <a:pt x="0" y="4"/>
                    <a:pt x="5" y="15"/>
                    <a:pt x="11" y="2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2350" y="403"/>
              <a:ext cx="32" cy="22"/>
            </a:xfrm>
            <a:custGeom>
              <a:avLst/>
              <a:gdLst>
                <a:gd name="T0" fmla="*/ 7 w 18"/>
                <a:gd name="T1" fmla="*/ 12 h 12"/>
                <a:gd name="T2" fmla="*/ 18 w 18"/>
                <a:gd name="T3" fmla="*/ 7 h 12"/>
                <a:gd name="T4" fmla="*/ 7 w 18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7" y="12"/>
                  </a:moveTo>
                  <a:cubicBezTo>
                    <a:pt x="11" y="11"/>
                    <a:pt x="15" y="9"/>
                    <a:pt x="18" y="7"/>
                  </a:cubicBezTo>
                  <a:cubicBezTo>
                    <a:pt x="13" y="2"/>
                    <a:pt x="0" y="0"/>
                    <a:pt x="7" y="1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49" name="Freeform 149"/>
            <p:cNvSpPr>
              <a:spLocks/>
            </p:cNvSpPr>
            <p:nvPr/>
          </p:nvSpPr>
          <p:spPr bwMode="auto">
            <a:xfrm>
              <a:off x="1658" y="1087"/>
              <a:ext cx="123" cy="112"/>
            </a:xfrm>
            <a:custGeom>
              <a:avLst/>
              <a:gdLst>
                <a:gd name="T0" fmla="*/ 23 w 69"/>
                <a:gd name="T1" fmla="*/ 24 h 63"/>
                <a:gd name="T2" fmla="*/ 30 w 69"/>
                <a:gd name="T3" fmla="*/ 0 h 63"/>
                <a:gd name="T4" fmla="*/ 1 w 69"/>
                <a:gd name="T5" fmla="*/ 38 h 63"/>
                <a:gd name="T6" fmla="*/ 1 w 69"/>
                <a:gd name="T7" fmla="*/ 52 h 63"/>
                <a:gd name="T8" fmla="*/ 39 w 69"/>
                <a:gd name="T9" fmla="*/ 52 h 63"/>
                <a:gd name="T10" fmla="*/ 35 w 69"/>
                <a:gd name="T11" fmla="*/ 58 h 63"/>
                <a:gd name="T12" fmla="*/ 47 w 69"/>
                <a:gd name="T13" fmla="*/ 49 h 63"/>
                <a:gd name="T14" fmla="*/ 56 w 69"/>
                <a:gd name="T15" fmla="*/ 63 h 63"/>
                <a:gd name="T16" fmla="*/ 56 w 69"/>
                <a:gd name="T17" fmla="*/ 38 h 63"/>
                <a:gd name="T18" fmla="*/ 52 w 69"/>
                <a:gd name="T19" fmla="*/ 39 h 63"/>
                <a:gd name="T20" fmla="*/ 52 w 69"/>
                <a:gd name="T21" fmla="*/ 28 h 63"/>
                <a:gd name="T22" fmla="*/ 32 w 69"/>
                <a:gd name="T23" fmla="*/ 28 h 63"/>
                <a:gd name="T24" fmla="*/ 34 w 69"/>
                <a:gd name="T25" fmla="*/ 23 h 63"/>
                <a:gd name="T26" fmla="*/ 23 w 69"/>
                <a:gd name="T27" fmla="*/ 2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" h="63">
                  <a:moveTo>
                    <a:pt x="23" y="24"/>
                  </a:moveTo>
                  <a:cubicBezTo>
                    <a:pt x="26" y="16"/>
                    <a:pt x="32" y="8"/>
                    <a:pt x="30" y="0"/>
                  </a:cubicBezTo>
                  <a:cubicBezTo>
                    <a:pt x="15" y="8"/>
                    <a:pt x="15" y="28"/>
                    <a:pt x="1" y="38"/>
                  </a:cubicBezTo>
                  <a:cubicBezTo>
                    <a:pt x="1" y="43"/>
                    <a:pt x="0" y="47"/>
                    <a:pt x="1" y="52"/>
                  </a:cubicBezTo>
                  <a:cubicBezTo>
                    <a:pt x="12" y="48"/>
                    <a:pt x="27" y="52"/>
                    <a:pt x="39" y="52"/>
                  </a:cubicBezTo>
                  <a:cubicBezTo>
                    <a:pt x="37" y="54"/>
                    <a:pt x="36" y="56"/>
                    <a:pt x="35" y="58"/>
                  </a:cubicBezTo>
                  <a:cubicBezTo>
                    <a:pt x="39" y="54"/>
                    <a:pt x="43" y="53"/>
                    <a:pt x="47" y="49"/>
                  </a:cubicBezTo>
                  <a:cubicBezTo>
                    <a:pt x="49" y="56"/>
                    <a:pt x="52" y="57"/>
                    <a:pt x="56" y="63"/>
                  </a:cubicBezTo>
                  <a:cubicBezTo>
                    <a:pt x="69" y="45"/>
                    <a:pt x="48" y="53"/>
                    <a:pt x="56" y="38"/>
                  </a:cubicBezTo>
                  <a:cubicBezTo>
                    <a:pt x="55" y="39"/>
                    <a:pt x="53" y="39"/>
                    <a:pt x="52" y="39"/>
                  </a:cubicBezTo>
                  <a:cubicBezTo>
                    <a:pt x="53" y="37"/>
                    <a:pt x="53" y="31"/>
                    <a:pt x="52" y="28"/>
                  </a:cubicBezTo>
                  <a:cubicBezTo>
                    <a:pt x="43" y="29"/>
                    <a:pt x="39" y="29"/>
                    <a:pt x="32" y="28"/>
                  </a:cubicBezTo>
                  <a:cubicBezTo>
                    <a:pt x="32" y="25"/>
                    <a:pt x="33" y="25"/>
                    <a:pt x="34" y="23"/>
                  </a:cubicBezTo>
                  <a:cubicBezTo>
                    <a:pt x="29" y="24"/>
                    <a:pt x="28" y="22"/>
                    <a:pt x="23" y="2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0" name="Freeform 150"/>
            <p:cNvSpPr>
              <a:spLocks/>
            </p:cNvSpPr>
            <p:nvPr/>
          </p:nvSpPr>
          <p:spPr bwMode="auto">
            <a:xfrm>
              <a:off x="5048" y="354"/>
              <a:ext cx="156" cy="87"/>
            </a:xfrm>
            <a:custGeom>
              <a:avLst/>
              <a:gdLst>
                <a:gd name="T0" fmla="*/ 72 w 88"/>
                <a:gd name="T1" fmla="*/ 34 h 49"/>
                <a:gd name="T2" fmla="*/ 88 w 88"/>
                <a:gd name="T3" fmla="*/ 22 h 49"/>
                <a:gd name="T4" fmla="*/ 67 w 88"/>
                <a:gd name="T5" fmla="*/ 16 h 49"/>
                <a:gd name="T6" fmla="*/ 48 w 88"/>
                <a:gd name="T7" fmla="*/ 22 h 49"/>
                <a:gd name="T8" fmla="*/ 16 w 88"/>
                <a:gd name="T9" fmla="*/ 18 h 49"/>
                <a:gd name="T10" fmla="*/ 72 w 88"/>
                <a:gd name="T11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9">
                  <a:moveTo>
                    <a:pt x="72" y="34"/>
                  </a:moveTo>
                  <a:cubicBezTo>
                    <a:pt x="81" y="35"/>
                    <a:pt x="86" y="31"/>
                    <a:pt x="88" y="22"/>
                  </a:cubicBezTo>
                  <a:cubicBezTo>
                    <a:pt x="81" y="20"/>
                    <a:pt x="74" y="18"/>
                    <a:pt x="67" y="16"/>
                  </a:cubicBezTo>
                  <a:cubicBezTo>
                    <a:pt x="55" y="12"/>
                    <a:pt x="54" y="22"/>
                    <a:pt x="48" y="22"/>
                  </a:cubicBezTo>
                  <a:cubicBezTo>
                    <a:pt x="39" y="22"/>
                    <a:pt x="24" y="0"/>
                    <a:pt x="16" y="18"/>
                  </a:cubicBezTo>
                  <a:cubicBezTo>
                    <a:pt x="0" y="49"/>
                    <a:pt x="59" y="36"/>
                    <a:pt x="72" y="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1" name="Freeform 151"/>
            <p:cNvSpPr>
              <a:spLocks/>
            </p:cNvSpPr>
            <p:nvPr/>
          </p:nvSpPr>
          <p:spPr bwMode="auto">
            <a:xfrm>
              <a:off x="1410" y="1323"/>
              <a:ext cx="16" cy="2"/>
            </a:xfrm>
            <a:custGeom>
              <a:avLst/>
              <a:gdLst>
                <a:gd name="T0" fmla="*/ 9 w 9"/>
                <a:gd name="T1" fmla="*/ 0 h 1"/>
                <a:gd name="T2" fmla="*/ 0 w 9"/>
                <a:gd name="T3" fmla="*/ 1 h 1"/>
                <a:gd name="T4" fmla="*/ 0 w 9"/>
                <a:gd name="T5" fmla="*/ 1 h 1"/>
                <a:gd name="T6" fmla="*/ 9 w 9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">
                  <a:moveTo>
                    <a:pt x="9" y="0"/>
                  </a:moveTo>
                  <a:cubicBezTo>
                    <a:pt x="6" y="0"/>
                    <a:pt x="3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0"/>
                    <a:pt x="9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2" name="Freeform 152"/>
            <p:cNvSpPr>
              <a:spLocks noEditPoints="1"/>
            </p:cNvSpPr>
            <p:nvPr/>
          </p:nvSpPr>
          <p:spPr bwMode="auto">
            <a:xfrm>
              <a:off x="-237" y="528"/>
              <a:ext cx="2339" cy="2646"/>
            </a:xfrm>
            <a:custGeom>
              <a:avLst/>
              <a:gdLst>
                <a:gd name="T0" fmla="*/ 1165 w 1319"/>
                <a:gd name="T1" fmla="*/ 892 h 1491"/>
                <a:gd name="T2" fmla="*/ 1156 w 1319"/>
                <a:gd name="T3" fmla="*/ 869 h 1491"/>
                <a:gd name="T4" fmla="*/ 1038 w 1319"/>
                <a:gd name="T5" fmla="*/ 770 h 1491"/>
                <a:gd name="T6" fmla="*/ 951 w 1319"/>
                <a:gd name="T7" fmla="*/ 758 h 1491"/>
                <a:gd name="T8" fmla="*/ 827 w 1319"/>
                <a:gd name="T9" fmla="*/ 742 h 1491"/>
                <a:gd name="T10" fmla="*/ 787 w 1319"/>
                <a:gd name="T11" fmla="*/ 696 h 1491"/>
                <a:gd name="T12" fmla="*/ 699 w 1319"/>
                <a:gd name="T13" fmla="*/ 590 h 1491"/>
                <a:gd name="T14" fmla="*/ 807 w 1319"/>
                <a:gd name="T15" fmla="*/ 574 h 1491"/>
                <a:gd name="T16" fmla="*/ 885 w 1319"/>
                <a:gd name="T17" fmla="*/ 528 h 1491"/>
                <a:gd name="T18" fmla="*/ 900 w 1319"/>
                <a:gd name="T19" fmla="*/ 472 h 1491"/>
                <a:gd name="T20" fmla="*/ 928 w 1319"/>
                <a:gd name="T21" fmla="*/ 446 h 1491"/>
                <a:gd name="T22" fmla="*/ 989 w 1319"/>
                <a:gd name="T23" fmla="*/ 398 h 1491"/>
                <a:gd name="T24" fmla="*/ 1017 w 1319"/>
                <a:gd name="T25" fmla="*/ 362 h 1491"/>
                <a:gd name="T26" fmla="*/ 1046 w 1319"/>
                <a:gd name="T27" fmla="*/ 333 h 1491"/>
                <a:gd name="T28" fmla="*/ 1056 w 1319"/>
                <a:gd name="T29" fmla="*/ 265 h 1491"/>
                <a:gd name="T30" fmla="*/ 952 w 1319"/>
                <a:gd name="T31" fmla="*/ 183 h 1491"/>
                <a:gd name="T32" fmla="*/ 892 w 1319"/>
                <a:gd name="T33" fmla="*/ 249 h 1491"/>
                <a:gd name="T34" fmla="*/ 820 w 1319"/>
                <a:gd name="T35" fmla="*/ 263 h 1491"/>
                <a:gd name="T36" fmla="*/ 714 w 1319"/>
                <a:gd name="T37" fmla="*/ 221 h 1491"/>
                <a:gd name="T38" fmla="*/ 793 w 1319"/>
                <a:gd name="T39" fmla="*/ 124 h 1491"/>
                <a:gd name="T40" fmla="*/ 811 w 1319"/>
                <a:gd name="T41" fmla="*/ 59 h 1491"/>
                <a:gd name="T42" fmla="*/ 735 w 1319"/>
                <a:gd name="T43" fmla="*/ 42 h 1491"/>
                <a:gd name="T44" fmla="*/ 719 w 1319"/>
                <a:gd name="T45" fmla="*/ 61 h 1491"/>
                <a:gd name="T46" fmla="*/ 577 w 1319"/>
                <a:gd name="T47" fmla="*/ 65 h 1491"/>
                <a:gd name="T48" fmla="*/ 522 w 1319"/>
                <a:gd name="T49" fmla="*/ 67 h 1491"/>
                <a:gd name="T50" fmla="*/ 358 w 1319"/>
                <a:gd name="T51" fmla="*/ 37 h 1491"/>
                <a:gd name="T52" fmla="*/ 220 w 1319"/>
                <a:gd name="T53" fmla="*/ 38 h 1491"/>
                <a:gd name="T54" fmla="*/ 37 w 1319"/>
                <a:gd name="T55" fmla="*/ 61 h 1491"/>
                <a:gd name="T56" fmla="*/ 13 w 1319"/>
                <a:gd name="T57" fmla="*/ 116 h 1491"/>
                <a:gd name="T58" fmla="*/ 71 w 1319"/>
                <a:gd name="T59" fmla="*/ 143 h 1491"/>
                <a:gd name="T60" fmla="*/ 62 w 1319"/>
                <a:gd name="T61" fmla="*/ 222 h 1491"/>
                <a:gd name="T62" fmla="*/ 78 w 1319"/>
                <a:gd name="T63" fmla="*/ 254 h 1491"/>
                <a:gd name="T64" fmla="*/ 153 w 1319"/>
                <a:gd name="T65" fmla="*/ 210 h 1491"/>
                <a:gd name="T66" fmla="*/ 305 w 1319"/>
                <a:gd name="T67" fmla="*/ 221 h 1491"/>
                <a:gd name="T68" fmla="*/ 345 w 1319"/>
                <a:gd name="T69" fmla="*/ 260 h 1491"/>
                <a:gd name="T70" fmla="*/ 361 w 1319"/>
                <a:gd name="T71" fmla="*/ 271 h 1491"/>
                <a:gd name="T72" fmla="*/ 438 w 1319"/>
                <a:gd name="T73" fmla="*/ 367 h 1491"/>
                <a:gd name="T74" fmla="*/ 445 w 1319"/>
                <a:gd name="T75" fmla="*/ 491 h 1491"/>
                <a:gd name="T76" fmla="*/ 546 w 1319"/>
                <a:gd name="T77" fmla="*/ 623 h 1491"/>
                <a:gd name="T78" fmla="*/ 543 w 1319"/>
                <a:gd name="T79" fmla="*/ 585 h 1491"/>
                <a:gd name="T80" fmla="*/ 656 w 1319"/>
                <a:gd name="T81" fmla="*/ 707 h 1491"/>
                <a:gd name="T82" fmla="*/ 810 w 1319"/>
                <a:gd name="T83" fmla="*/ 783 h 1491"/>
                <a:gd name="T84" fmla="*/ 890 w 1319"/>
                <a:gd name="T85" fmla="*/ 840 h 1491"/>
                <a:gd name="T86" fmla="*/ 947 w 1319"/>
                <a:gd name="T87" fmla="*/ 1053 h 1491"/>
                <a:gd name="T88" fmla="*/ 930 w 1319"/>
                <a:gd name="T89" fmla="*/ 1287 h 1491"/>
                <a:gd name="T90" fmla="*/ 928 w 1319"/>
                <a:gd name="T91" fmla="*/ 1318 h 1491"/>
                <a:gd name="T92" fmla="*/ 913 w 1319"/>
                <a:gd name="T93" fmla="*/ 1412 h 1491"/>
                <a:gd name="T94" fmla="*/ 987 w 1319"/>
                <a:gd name="T95" fmla="*/ 1489 h 1491"/>
                <a:gd name="T96" fmla="*/ 1008 w 1319"/>
                <a:gd name="T97" fmla="*/ 1389 h 1491"/>
                <a:gd name="T98" fmla="*/ 1019 w 1319"/>
                <a:gd name="T99" fmla="*/ 1326 h 1491"/>
                <a:gd name="T100" fmla="*/ 1080 w 1319"/>
                <a:gd name="T101" fmla="*/ 1231 h 1491"/>
                <a:gd name="T102" fmla="*/ 1221 w 1319"/>
                <a:gd name="T103" fmla="*/ 1103 h 1491"/>
                <a:gd name="T104" fmla="*/ 1268 w 1319"/>
                <a:gd name="T105" fmla="*/ 1022 h 1491"/>
                <a:gd name="T106" fmla="*/ 862 w 1319"/>
                <a:gd name="T107" fmla="*/ 431 h 1491"/>
                <a:gd name="T108" fmla="*/ 868 w 1319"/>
                <a:gd name="T109" fmla="*/ 418 h 1491"/>
                <a:gd name="T110" fmla="*/ 813 w 1319"/>
                <a:gd name="T111" fmla="*/ 367 h 1491"/>
                <a:gd name="T112" fmla="*/ 828 w 1319"/>
                <a:gd name="T113" fmla="*/ 411 h 1491"/>
                <a:gd name="T114" fmla="*/ 823 w 1319"/>
                <a:gd name="T115" fmla="*/ 387 h 1491"/>
                <a:gd name="T116" fmla="*/ 743 w 1319"/>
                <a:gd name="T117" fmla="*/ 379 h 1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19" h="1491">
                  <a:moveTo>
                    <a:pt x="1301" y="925"/>
                  </a:moveTo>
                  <a:cubicBezTo>
                    <a:pt x="1282" y="928"/>
                    <a:pt x="1275" y="906"/>
                    <a:pt x="1262" y="908"/>
                  </a:cubicBezTo>
                  <a:cubicBezTo>
                    <a:pt x="1249" y="910"/>
                    <a:pt x="1230" y="892"/>
                    <a:pt x="1217" y="906"/>
                  </a:cubicBezTo>
                  <a:cubicBezTo>
                    <a:pt x="1212" y="881"/>
                    <a:pt x="1179" y="879"/>
                    <a:pt x="1166" y="900"/>
                  </a:cubicBezTo>
                  <a:cubicBezTo>
                    <a:pt x="1166" y="898"/>
                    <a:pt x="1165" y="895"/>
                    <a:pt x="1165" y="892"/>
                  </a:cubicBezTo>
                  <a:cubicBezTo>
                    <a:pt x="1154" y="898"/>
                    <a:pt x="1145" y="890"/>
                    <a:pt x="1148" y="879"/>
                  </a:cubicBezTo>
                  <a:cubicBezTo>
                    <a:pt x="1148" y="876"/>
                    <a:pt x="1151" y="874"/>
                    <a:pt x="1153" y="872"/>
                  </a:cubicBezTo>
                  <a:cubicBezTo>
                    <a:pt x="1150" y="880"/>
                    <a:pt x="1163" y="889"/>
                    <a:pt x="1171" y="881"/>
                  </a:cubicBezTo>
                  <a:cubicBezTo>
                    <a:pt x="1180" y="872"/>
                    <a:pt x="1166" y="868"/>
                    <a:pt x="1159" y="867"/>
                  </a:cubicBezTo>
                  <a:cubicBezTo>
                    <a:pt x="1158" y="868"/>
                    <a:pt x="1157" y="868"/>
                    <a:pt x="1156" y="869"/>
                  </a:cubicBezTo>
                  <a:cubicBezTo>
                    <a:pt x="1157" y="859"/>
                    <a:pt x="1154" y="865"/>
                    <a:pt x="1152" y="857"/>
                  </a:cubicBezTo>
                  <a:cubicBezTo>
                    <a:pt x="1149" y="836"/>
                    <a:pt x="1139" y="831"/>
                    <a:pt x="1125" y="822"/>
                  </a:cubicBezTo>
                  <a:cubicBezTo>
                    <a:pt x="1115" y="815"/>
                    <a:pt x="1105" y="818"/>
                    <a:pt x="1093" y="816"/>
                  </a:cubicBezTo>
                  <a:cubicBezTo>
                    <a:pt x="1081" y="815"/>
                    <a:pt x="1080" y="806"/>
                    <a:pt x="1071" y="802"/>
                  </a:cubicBezTo>
                  <a:cubicBezTo>
                    <a:pt x="1063" y="798"/>
                    <a:pt x="1026" y="777"/>
                    <a:pt x="1038" y="770"/>
                  </a:cubicBezTo>
                  <a:cubicBezTo>
                    <a:pt x="1025" y="773"/>
                    <a:pt x="1010" y="776"/>
                    <a:pt x="996" y="773"/>
                  </a:cubicBezTo>
                  <a:cubicBezTo>
                    <a:pt x="982" y="770"/>
                    <a:pt x="977" y="766"/>
                    <a:pt x="960" y="759"/>
                  </a:cubicBezTo>
                  <a:cubicBezTo>
                    <a:pt x="963" y="762"/>
                    <a:pt x="965" y="764"/>
                    <a:pt x="967" y="766"/>
                  </a:cubicBezTo>
                  <a:cubicBezTo>
                    <a:pt x="947" y="754"/>
                    <a:pt x="952" y="779"/>
                    <a:pt x="950" y="785"/>
                  </a:cubicBezTo>
                  <a:cubicBezTo>
                    <a:pt x="940" y="777"/>
                    <a:pt x="945" y="767"/>
                    <a:pt x="951" y="758"/>
                  </a:cubicBezTo>
                  <a:cubicBezTo>
                    <a:pt x="943" y="761"/>
                    <a:pt x="932" y="762"/>
                    <a:pt x="922" y="766"/>
                  </a:cubicBezTo>
                  <a:cubicBezTo>
                    <a:pt x="908" y="772"/>
                    <a:pt x="905" y="787"/>
                    <a:pt x="895" y="789"/>
                  </a:cubicBezTo>
                  <a:cubicBezTo>
                    <a:pt x="896" y="793"/>
                    <a:pt x="897" y="791"/>
                    <a:pt x="896" y="796"/>
                  </a:cubicBezTo>
                  <a:cubicBezTo>
                    <a:pt x="880" y="781"/>
                    <a:pt x="873" y="784"/>
                    <a:pt x="853" y="787"/>
                  </a:cubicBezTo>
                  <a:cubicBezTo>
                    <a:pt x="825" y="790"/>
                    <a:pt x="831" y="757"/>
                    <a:pt x="827" y="742"/>
                  </a:cubicBezTo>
                  <a:cubicBezTo>
                    <a:pt x="826" y="735"/>
                    <a:pt x="836" y="727"/>
                    <a:pt x="825" y="725"/>
                  </a:cubicBezTo>
                  <a:cubicBezTo>
                    <a:pt x="814" y="722"/>
                    <a:pt x="808" y="717"/>
                    <a:pt x="796" y="717"/>
                  </a:cubicBezTo>
                  <a:cubicBezTo>
                    <a:pt x="788" y="717"/>
                    <a:pt x="778" y="728"/>
                    <a:pt x="774" y="717"/>
                  </a:cubicBezTo>
                  <a:cubicBezTo>
                    <a:pt x="772" y="712"/>
                    <a:pt x="790" y="705"/>
                    <a:pt x="782" y="692"/>
                  </a:cubicBezTo>
                  <a:cubicBezTo>
                    <a:pt x="784" y="693"/>
                    <a:pt x="785" y="693"/>
                    <a:pt x="787" y="696"/>
                  </a:cubicBezTo>
                  <a:cubicBezTo>
                    <a:pt x="785" y="683"/>
                    <a:pt x="791" y="673"/>
                    <a:pt x="795" y="662"/>
                  </a:cubicBezTo>
                  <a:cubicBezTo>
                    <a:pt x="773" y="666"/>
                    <a:pt x="770" y="663"/>
                    <a:pt x="755" y="680"/>
                  </a:cubicBezTo>
                  <a:cubicBezTo>
                    <a:pt x="745" y="691"/>
                    <a:pt x="736" y="702"/>
                    <a:pt x="716" y="691"/>
                  </a:cubicBezTo>
                  <a:cubicBezTo>
                    <a:pt x="686" y="676"/>
                    <a:pt x="684" y="631"/>
                    <a:pt x="694" y="613"/>
                  </a:cubicBezTo>
                  <a:cubicBezTo>
                    <a:pt x="682" y="603"/>
                    <a:pt x="692" y="598"/>
                    <a:pt x="699" y="590"/>
                  </a:cubicBezTo>
                  <a:cubicBezTo>
                    <a:pt x="705" y="584"/>
                    <a:pt x="712" y="591"/>
                    <a:pt x="714" y="582"/>
                  </a:cubicBezTo>
                  <a:cubicBezTo>
                    <a:pt x="715" y="575"/>
                    <a:pt x="720" y="575"/>
                    <a:pt x="726" y="572"/>
                  </a:cubicBezTo>
                  <a:cubicBezTo>
                    <a:pt x="730" y="569"/>
                    <a:pt x="785" y="592"/>
                    <a:pt x="766" y="568"/>
                  </a:cubicBezTo>
                  <a:cubicBezTo>
                    <a:pt x="774" y="567"/>
                    <a:pt x="781" y="567"/>
                    <a:pt x="785" y="571"/>
                  </a:cubicBezTo>
                  <a:cubicBezTo>
                    <a:pt x="794" y="562"/>
                    <a:pt x="799" y="569"/>
                    <a:pt x="807" y="574"/>
                  </a:cubicBezTo>
                  <a:cubicBezTo>
                    <a:pt x="816" y="579"/>
                    <a:pt x="825" y="566"/>
                    <a:pt x="832" y="578"/>
                  </a:cubicBezTo>
                  <a:cubicBezTo>
                    <a:pt x="836" y="586"/>
                    <a:pt x="831" y="594"/>
                    <a:pt x="835" y="602"/>
                  </a:cubicBezTo>
                  <a:cubicBezTo>
                    <a:pt x="838" y="610"/>
                    <a:pt x="850" y="614"/>
                    <a:pt x="854" y="623"/>
                  </a:cubicBezTo>
                  <a:cubicBezTo>
                    <a:pt x="872" y="606"/>
                    <a:pt x="851" y="594"/>
                    <a:pt x="848" y="577"/>
                  </a:cubicBezTo>
                  <a:cubicBezTo>
                    <a:pt x="841" y="545"/>
                    <a:pt x="864" y="542"/>
                    <a:pt x="885" y="528"/>
                  </a:cubicBezTo>
                  <a:cubicBezTo>
                    <a:pt x="884" y="520"/>
                    <a:pt x="897" y="522"/>
                    <a:pt x="902" y="514"/>
                  </a:cubicBezTo>
                  <a:cubicBezTo>
                    <a:pt x="900" y="514"/>
                    <a:pt x="898" y="513"/>
                    <a:pt x="895" y="513"/>
                  </a:cubicBezTo>
                  <a:cubicBezTo>
                    <a:pt x="899" y="510"/>
                    <a:pt x="900" y="507"/>
                    <a:pt x="906" y="505"/>
                  </a:cubicBezTo>
                  <a:cubicBezTo>
                    <a:pt x="904" y="504"/>
                    <a:pt x="902" y="503"/>
                    <a:pt x="900" y="502"/>
                  </a:cubicBezTo>
                  <a:cubicBezTo>
                    <a:pt x="903" y="492"/>
                    <a:pt x="898" y="483"/>
                    <a:pt x="900" y="472"/>
                  </a:cubicBezTo>
                  <a:cubicBezTo>
                    <a:pt x="902" y="479"/>
                    <a:pt x="903" y="486"/>
                    <a:pt x="904" y="492"/>
                  </a:cubicBezTo>
                  <a:cubicBezTo>
                    <a:pt x="910" y="485"/>
                    <a:pt x="912" y="477"/>
                    <a:pt x="909" y="469"/>
                  </a:cubicBezTo>
                  <a:cubicBezTo>
                    <a:pt x="918" y="470"/>
                    <a:pt x="930" y="458"/>
                    <a:pt x="919" y="451"/>
                  </a:cubicBezTo>
                  <a:cubicBezTo>
                    <a:pt x="922" y="451"/>
                    <a:pt x="926" y="450"/>
                    <a:pt x="929" y="449"/>
                  </a:cubicBezTo>
                  <a:cubicBezTo>
                    <a:pt x="929" y="448"/>
                    <a:pt x="929" y="447"/>
                    <a:pt x="928" y="446"/>
                  </a:cubicBezTo>
                  <a:cubicBezTo>
                    <a:pt x="939" y="444"/>
                    <a:pt x="952" y="435"/>
                    <a:pt x="963" y="438"/>
                  </a:cubicBezTo>
                  <a:cubicBezTo>
                    <a:pt x="954" y="437"/>
                    <a:pt x="949" y="421"/>
                    <a:pt x="960" y="417"/>
                  </a:cubicBezTo>
                  <a:cubicBezTo>
                    <a:pt x="964" y="416"/>
                    <a:pt x="967" y="414"/>
                    <a:pt x="968" y="410"/>
                  </a:cubicBezTo>
                  <a:cubicBezTo>
                    <a:pt x="974" y="400"/>
                    <a:pt x="973" y="413"/>
                    <a:pt x="980" y="408"/>
                  </a:cubicBezTo>
                  <a:cubicBezTo>
                    <a:pt x="988" y="403"/>
                    <a:pt x="990" y="402"/>
                    <a:pt x="989" y="398"/>
                  </a:cubicBezTo>
                  <a:cubicBezTo>
                    <a:pt x="998" y="400"/>
                    <a:pt x="1008" y="393"/>
                    <a:pt x="1016" y="387"/>
                  </a:cubicBezTo>
                  <a:cubicBezTo>
                    <a:pt x="1017" y="390"/>
                    <a:pt x="1018" y="393"/>
                    <a:pt x="1019" y="396"/>
                  </a:cubicBezTo>
                  <a:cubicBezTo>
                    <a:pt x="1005" y="391"/>
                    <a:pt x="999" y="409"/>
                    <a:pt x="1006" y="420"/>
                  </a:cubicBezTo>
                  <a:cubicBezTo>
                    <a:pt x="1015" y="406"/>
                    <a:pt x="1034" y="404"/>
                    <a:pt x="1046" y="393"/>
                  </a:cubicBezTo>
                  <a:cubicBezTo>
                    <a:pt x="1036" y="390"/>
                    <a:pt x="998" y="378"/>
                    <a:pt x="1017" y="362"/>
                  </a:cubicBezTo>
                  <a:cubicBezTo>
                    <a:pt x="1013" y="362"/>
                    <a:pt x="1009" y="361"/>
                    <a:pt x="1005" y="362"/>
                  </a:cubicBezTo>
                  <a:cubicBezTo>
                    <a:pt x="1012" y="360"/>
                    <a:pt x="1015" y="355"/>
                    <a:pt x="1020" y="350"/>
                  </a:cubicBezTo>
                  <a:cubicBezTo>
                    <a:pt x="1001" y="337"/>
                    <a:pt x="987" y="353"/>
                    <a:pt x="970" y="357"/>
                  </a:cubicBezTo>
                  <a:cubicBezTo>
                    <a:pt x="982" y="351"/>
                    <a:pt x="987" y="342"/>
                    <a:pt x="998" y="336"/>
                  </a:cubicBezTo>
                  <a:cubicBezTo>
                    <a:pt x="1011" y="328"/>
                    <a:pt x="1030" y="329"/>
                    <a:pt x="1046" y="333"/>
                  </a:cubicBezTo>
                  <a:cubicBezTo>
                    <a:pt x="1059" y="337"/>
                    <a:pt x="1077" y="316"/>
                    <a:pt x="1091" y="314"/>
                  </a:cubicBezTo>
                  <a:cubicBezTo>
                    <a:pt x="1111" y="311"/>
                    <a:pt x="1095" y="291"/>
                    <a:pt x="1090" y="281"/>
                  </a:cubicBezTo>
                  <a:cubicBezTo>
                    <a:pt x="1082" y="289"/>
                    <a:pt x="1065" y="292"/>
                    <a:pt x="1056" y="288"/>
                  </a:cubicBezTo>
                  <a:cubicBezTo>
                    <a:pt x="1066" y="284"/>
                    <a:pt x="1077" y="283"/>
                    <a:pt x="1084" y="275"/>
                  </a:cubicBezTo>
                  <a:cubicBezTo>
                    <a:pt x="1076" y="269"/>
                    <a:pt x="1065" y="270"/>
                    <a:pt x="1056" y="265"/>
                  </a:cubicBezTo>
                  <a:cubicBezTo>
                    <a:pt x="1055" y="265"/>
                    <a:pt x="1059" y="256"/>
                    <a:pt x="1056" y="253"/>
                  </a:cubicBezTo>
                  <a:cubicBezTo>
                    <a:pt x="1051" y="249"/>
                    <a:pt x="1043" y="256"/>
                    <a:pt x="1037" y="248"/>
                  </a:cubicBezTo>
                  <a:cubicBezTo>
                    <a:pt x="1053" y="240"/>
                    <a:pt x="1020" y="197"/>
                    <a:pt x="1012" y="191"/>
                  </a:cubicBezTo>
                  <a:cubicBezTo>
                    <a:pt x="1004" y="205"/>
                    <a:pt x="996" y="222"/>
                    <a:pt x="980" y="216"/>
                  </a:cubicBezTo>
                  <a:cubicBezTo>
                    <a:pt x="965" y="209"/>
                    <a:pt x="967" y="185"/>
                    <a:pt x="952" y="183"/>
                  </a:cubicBezTo>
                  <a:cubicBezTo>
                    <a:pt x="944" y="182"/>
                    <a:pt x="945" y="173"/>
                    <a:pt x="937" y="168"/>
                  </a:cubicBezTo>
                  <a:cubicBezTo>
                    <a:pt x="926" y="162"/>
                    <a:pt x="923" y="167"/>
                    <a:pt x="913" y="165"/>
                  </a:cubicBezTo>
                  <a:cubicBezTo>
                    <a:pt x="906" y="164"/>
                    <a:pt x="858" y="158"/>
                    <a:pt x="885" y="174"/>
                  </a:cubicBezTo>
                  <a:cubicBezTo>
                    <a:pt x="865" y="182"/>
                    <a:pt x="897" y="207"/>
                    <a:pt x="870" y="212"/>
                  </a:cubicBezTo>
                  <a:cubicBezTo>
                    <a:pt x="882" y="224"/>
                    <a:pt x="885" y="234"/>
                    <a:pt x="892" y="249"/>
                  </a:cubicBezTo>
                  <a:cubicBezTo>
                    <a:pt x="900" y="267"/>
                    <a:pt x="859" y="268"/>
                    <a:pt x="866" y="279"/>
                  </a:cubicBezTo>
                  <a:cubicBezTo>
                    <a:pt x="874" y="291"/>
                    <a:pt x="884" y="304"/>
                    <a:pt x="870" y="316"/>
                  </a:cubicBezTo>
                  <a:cubicBezTo>
                    <a:pt x="857" y="327"/>
                    <a:pt x="840" y="306"/>
                    <a:pt x="837" y="292"/>
                  </a:cubicBezTo>
                  <a:cubicBezTo>
                    <a:pt x="835" y="284"/>
                    <a:pt x="845" y="282"/>
                    <a:pt x="838" y="272"/>
                  </a:cubicBezTo>
                  <a:cubicBezTo>
                    <a:pt x="837" y="269"/>
                    <a:pt x="823" y="264"/>
                    <a:pt x="820" y="263"/>
                  </a:cubicBezTo>
                  <a:cubicBezTo>
                    <a:pt x="814" y="261"/>
                    <a:pt x="803" y="259"/>
                    <a:pt x="797" y="258"/>
                  </a:cubicBezTo>
                  <a:cubicBezTo>
                    <a:pt x="786" y="255"/>
                    <a:pt x="784" y="249"/>
                    <a:pt x="775" y="246"/>
                  </a:cubicBezTo>
                  <a:cubicBezTo>
                    <a:pt x="769" y="243"/>
                    <a:pt x="762" y="244"/>
                    <a:pt x="754" y="240"/>
                  </a:cubicBezTo>
                  <a:cubicBezTo>
                    <a:pt x="750" y="238"/>
                    <a:pt x="742" y="244"/>
                    <a:pt x="739" y="242"/>
                  </a:cubicBezTo>
                  <a:cubicBezTo>
                    <a:pt x="728" y="234"/>
                    <a:pt x="737" y="204"/>
                    <a:pt x="714" y="221"/>
                  </a:cubicBezTo>
                  <a:cubicBezTo>
                    <a:pt x="715" y="206"/>
                    <a:pt x="715" y="192"/>
                    <a:pt x="723" y="179"/>
                  </a:cubicBezTo>
                  <a:cubicBezTo>
                    <a:pt x="732" y="163"/>
                    <a:pt x="745" y="160"/>
                    <a:pt x="758" y="150"/>
                  </a:cubicBezTo>
                  <a:cubicBezTo>
                    <a:pt x="751" y="148"/>
                    <a:pt x="744" y="145"/>
                    <a:pt x="737" y="141"/>
                  </a:cubicBezTo>
                  <a:cubicBezTo>
                    <a:pt x="748" y="142"/>
                    <a:pt x="756" y="142"/>
                    <a:pt x="766" y="139"/>
                  </a:cubicBezTo>
                  <a:cubicBezTo>
                    <a:pt x="775" y="135"/>
                    <a:pt x="782" y="127"/>
                    <a:pt x="793" y="124"/>
                  </a:cubicBezTo>
                  <a:cubicBezTo>
                    <a:pt x="784" y="115"/>
                    <a:pt x="768" y="120"/>
                    <a:pt x="762" y="106"/>
                  </a:cubicBezTo>
                  <a:cubicBezTo>
                    <a:pt x="769" y="107"/>
                    <a:pt x="783" y="119"/>
                    <a:pt x="787" y="116"/>
                  </a:cubicBezTo>
                  <a:cubicBezTo>
                    <a:pt x="795" y="109"/>
                    <a:pt x="808" y="105"/>
                    <a:pt x="798" y="95"/>
                  </a:cubicBezTo>
                  <a:cubicBezTo>
                    <a:pt x="840" y="128"/>
                    <a:pt x="867" y="45"/>
                    <a:pt x="824" y="42"/>
                  </a:cubicBezTo>
                  <a:cubicBezTo>
                    <a:pt x="803" y="40"/>
                    <a:pt x="817" y="55"/>
                    <a:pt x="811" y="59"/>
                  </a:cubicBezTo>
                  <a:cubicBezTo>
                    <a:pt x="803" y="64"/>
                    <a:pt x="799" y="82"/>
                    <a:pt x="793" y="82"/>
                  </a:cubicBezTo>
                  <a:cubicBezTo>
                    <a:pt x="772" y="84"/>
                    <a:pt x="782" y="30"/>
                    <a:pt x="757" y="65"/>
                  </a:cubicBezTo>
                  <a:cubicBezTo>
                    <a:pt x="754" y="57"/>
                    <a:pt x="753" y="58"/>
                    <a:pt x="749" y="51"/>
                  </a:cubicBezTo>
                  <a:cubicBezTo>
                    <a:pt x="751" y="50"/>
                    <a:pt x="753" y="48"/>
                    <a:pt x="755" y="47"/>
                  </a:cubicBezTo>
                  <a:cubicBezTo>
                    <a:pt x="748" y="46"/>
                    <a:pt x="741" y="44"/>
                    <a:pt x="735" y="42"/>
                  </a:cubicBezTo>
                  <a:cubicBezTo>
                    <a:pt x="738" y="40"/>
                    <a:pt x="740" y="36"/>
                    <a:pt x="744" y="34"/>
                  </a:cubicBezTo>
                  <a:cubicBezTo>
                    <a:pt x="733" y="27"/>
                    <a:pt x="733" y="15"/>
                    <a:pt x="726" y="10"/>
                  </a:cubicBezTo>
                  <a:cubicBezTo>
                    <a:pt x="709" y="0"/>
                    <a:pt x="714" y="17"/>
                    <a:pt x="698" y="17"/>
                  </a:cubicBezTo>
                  <a:cubicBezTo>
                    <a:pt x="699" y="29"/>
                    <a:pt x="698" y="31"/>
                    <a:pt x="705" y="39"/>
                  </a:cubicBezTo>
                  <a:cubicBezTo>
                    <a:pt x="712" y="47"/>
                    <a:pt x="730" y="46"/>
                    <a:pt x="719" y="61"/>
                  </a:cubicBezTo>
                  <a:cubicBezTo>
                    <a:pt x="721" y="60"/>
                    <a:pt x="722" y="59"/>
                    <a:pt x="724" y="59"/>
                  </a:cubicBezTo>
                  <a:cubicBezTo>
                    <a:pt x="717" y="66"/>
                    <a:pt x="709" y="72"/>
                    <a:pt x="709" y="83"/>
                  </a:cubicBezTo>
                  <a:cubicBezTo>
                    <a:pt x="693" y="62"/>
                    <a:pt x="685" y="68"/>
                    <a:pt x="663" y="75"/>
                  </a:cubicBezTo>
                  <a:cubicBezTo>
                    <a:pt x="646" y="80"/>
                    <a:pt x="606" y="76"/>
                    <a:pt x="605" y="53"/>
                  </a:cubicBezTo>
                  <a:cubicBezTo>
                    <a:pt x="595" y="58"/>
                    <a:pt x="585" y="58"/>
                    <a:pt x="577" y="65"/>
                  </a:cubicBezTo>
                  <a:cubicBezTo>
                    <a:pt x="584" y="67"/>
                    <a:pt x="592" y="66"/>
                    <a:pt x="600" y="63"/>
                  </a:cubicBezTo>
                  <a:cubicBezTo>
                    <a:pt x="595" y="73"/>
                    <a:pt x="583" y="73"/>
                    <a:pt x="585" y="86"/>
                  </a:cubicBezTo>
                  <a:cubicBezTo>
                    <a:pt x="573" y="83"/>
                    <a:pt x="568" y="66"/>
                    <a:pt x="552" y="73"/>
                  </a:cubicBezTo>
                  <a:cubicBezTo>
                    <a:pt x="538" y="79"/>
                    <a:pt x="523" y="76"/>
                    <a:pt x="509" y="71"/>
                  </a:cubicBezTo>
                  <a:cubicBezTo>
                    <a:pt x="514" y="71"/>
                    <a:pt x="518" y="68"/>
                    <a:pt x="522" y="67"/>
                  </a:cubicBezTo>
                  <a:cubicBezTo>
                    <a:pt x="515" y="52"/>
                    <a:pt x="481" y="55"/>
                    <a:pt x="466" y="46"/>
                  </a:cubicBezTo>
                  <a:cubicBezTo>
                    <a:pt x="458" y="42"/>
                    <a:pt x="440" y="40"/>
                    <a:pt x="433" y="45"/>
                  </a:cubicBezTo>
                  <a:cubicBezTo>
                    <a:pt x="424" y="51"/>
                    <a:pt x="419" y="33"/>
                    <a:pt x="407" y="47"/>
                  </a:cubicBezTo>
                  <a:cubicBezTo>
                    <a:pt x="403" y="40"/>
                    <a:pt x="396" y="35"/>
                    <a:pt x="389" y="30"/>
                  </a:cubicBezTo>
                  <a:cubicBezTo>
                    <a:pt x="381" y="51"/>
                    <a:pt x="372" y="32"/>
                    <a:pt x="358" y="37"/>
                  </a:cubicBezTo>
                  <a:cubicBezTo>
                    <a:pt x="347" y="41"/>
                    <a:pt x="339" y="57"/>
                    <a:pt x="325" y="44"/>
                  </a:cubicBezTo>
                  <a:cubicBezTo>
                    <a:pt x="317" y="51"/>
                    <a:pt x="323" y="52"/>
                    <a:pt x="310" y="49"/>
                  </a:cubicBezTo>
                  <a:cubicBezTo>
                    <a:pt x="311" y="52"/>
                    <a:pt x="311" y="56"/>
                    <a:pt x="311" y="59"/>
                  </a:cubicBezTo>
                  <a:cubicBezTo>
                    <a:pt x="296" y="53"/>
                    <a:pt x="273" y="47"/>
                    <a:pt x="264" y="44"/>
                  </a:cubicBezTo>
                  <a:cubicBezTo>
                    <a:pt x="249" y="39"/>
                    <a:pt x="236" y="40"/>
                    <a:pt x="220" y="38"/>
                  </a:cubicBezTo>
                  <a:cubicBezTo>
                    <a:pt x="204" y="35"/>
                    <a:pt x="179" y="37"/>
                    <a:pt x="164" y="30"/>
                  </a:cubicBezTo>
                  <a:cubicBezTo>
                    <a:pt x="149" y="24"/>
                    <a:pt x="132" y="16"/>
                    <a:pt x="117" y="25"/>
                  </a:cubicBezTo>
                  <a:cubicBezTo>
                    <a:pt x="115" y="20"/>
                    <a:pt x="110" y="17"/>
                    <a:pt x="108" y="13"/>
                  </a:cubicBezTo>
                  <a:cubicBezTo>
                    <a:pt x="102" y="28"/>
                    <a:pt x="69" y="29"/>
                    <a:pt x="56" y="39"/>
                  </a:cubicBezTo>
                  <a:cubicBezTo>
                    <a:pt x="49" y="44"/>
                    <a:pt x="44" y="57"/>
                    <a:pt x="37" y="61"/>
                  </a:cubicBezTo>
                  <a:cubicBezTo>
                    <a:pt x="27" y="65"/>
                    <a:pt x="17" y="50"/>
                    <a:pt x="11" y="68"/>
                  </a:cubicBezTo>
                  <a:cubicBezTo>
                    <a:pt x="25" y="78"/>
                    <a:pt x="57" y="86"/>
                    <a:pt x="62" y="107"/>
                  </a:cubicBezTo>
                  <a:cubicBezTo>
                    <a:pt x="51" y="107"/>
                    <a:pt x="41" y="98"/>
                    <a:pt x="33" y="98"/>
                  </a:cubicBezTo>
                  <a:cubicBezTo>
                    <a:pt x="22" y="99"/>
                    <a:pt x="13" y="112"/>
                    <a:pt x="0" y="114"/>
                  </a:cubicBezTo>
                  <a:cubicBezTo>
                    <a:pt x="5" y="113"/>
                    <a:pt x="9" y="116"/>
                    <a:pt x="13" y="116"/>
                  </a:cubicBezTo>
                  <a:cubicBezTo>
                    <a:pt x="0" y="134"/>
                    <a:pt x="23" y="132"/>
                    <a:pt x="34" y="133"/>
                  </a:cubicBezTo>
                  <a:cubicBezTo>
                    <a:pt x="49" y="133"/>
                    <a:pt x="54" y="133"/>
                    <a:pt x="69" y="129"/>
                  </a:cubicBezTo>
                  <a:cubicBezTo>
                    <a:pt x="69" y="131"/>
                    <a:pt x="70" y="133"/>
                    <a:pt x="70" y="135"/>
                  </a:cubicBezTo>
                  <a:cubicBezTo>
                    <a:pt x="68" y="135"/>
                    <a:pt x="67" y="136"/>
                    <a:pt x="65" y="136"/>
                  </a:cubicBezTo>
                  <a:cubicBezTo>
                    <a:pt x="67" y="138"/>
                    <a:pt x="69" y="140"/>
                    <a:pt x="71" y="143"/>
                  </a:cubicBezTo>
                  <a:cubicBezTo>
                    <a:pt x="63" y="150"/>
                    <a:pt x="41" y="159"/>
                    <a:pt x="30" y="162"/>
                  </a:cubicBezTo>
                  <a:cubicBezTo>
                    <a:pt x="6" y="168"/>
                    <a:pt x="21" y="179"/>
                    <a:pt x="32" y="191"/>
                  </a:cubicBezTo>
                  <a:cubicBezTo>
                    <a:pt x="29" y="190"/>
                    <a:pt x="27" y="190"/>
                    <a:pt x="24" y="190"/>
                  </a:cubicBezTo>
                  <a:cubicBezTo>
                    <a:pt x="31" y="200"/>
                    <a:pt x="45" y="212"/>
                    <a:pt x="55" y="202"/>
                  </a:cubicBezTo>
                  <a:cubicBezTo>
                    <a:pt x="60" y="208"/>
                    <a:pt x="62" y="215"/>
                    <a:pt x="62" y="222"/>
                  </a:cubicBezTo>
                  <a:cubicBezTo>
                    <a:pt x="65" y="219"/>
                    <a:pt x="69" y="218"/>
                    <a:pt x="71" y="214"/>
                  </a:cubicBezTo>
                  <a:cubicBezTo>
                    <a:pt x="77" y="223"/>
                    <a:pt x="84" y="224"/>
                    <a:pt x="90" y="216"/>
                  </a:cubicBezTo>
                  <a:cubicBezTo>
                    <a:pt x="102" y="229"/>
                    <a:pt x="106" y="211"/>
                    <a:pt x="116" y="217"/>
                  </a:cubicBezTo>
                  <a:cubicBezTo>
                    <a:pt x="108" y="224"/>
                    <a:pt x="109" y="229"/>
                    <a:pt x="101" y="236"/>
                  </a:cubicBezTo>
                  <a:cubicBezTo>
                    <a:pt x="93" y="244"/>
                    <a:pt x="85" y="245"/>
                    <a:pt x="78" y="254"/>
                  </a:cubicBezTo>
                  <a:cubicBezTo>
                    <a:pt x="72" y="260"/>
                    <a:pt x="41" y="275"/>
                    <a:pt x="32" y="278"/>
                  </a:cubicBezTo>
                  <a:cubicBezTo>
                    <a:pt x="51" y="287"/>
                    <a:pt x="96" y="251"/>
                    <a:pt x="111" y="239"/>
                  </a:cubicBezTo>
                  <a:cubicBezTo>
                    <a:pt x="134" y="222"/>
                    <a:pt x="148" y="200"/>
                    <a:pt x="169" y="181"/>
                  </a:cubicBezTo>
                  <a:cubicBezTo>
                    <a:pt x="170" y="182"/>
                    <a:pt x="171" y="184"/>
                    <a:pt x="172" y="185"/>
                  </a:cubicBezTo>
                  <a:cubicBezTo>
                    <a:pt x="164" y="193"/>
                    <a:pt x="157" y="201"/>
                    <a:pt x="153" y="210"/>
                  </a:cubicBezTo>
                  <a:cubicBezTo>
                    <a:pt x="164" y="218"/>
                    <a:pt x="182" y="200"/>
                    <a:pt x="192" y="193"/>
                  </a:cubicBezTo>
                  <a:cubicBezTo>
                    <a:pt x="191" y="191"/>
                    <a:pt x="189" y="190"/>
                    <a:pt x="188" y="188"/>
                  </a:cubicBezTo>
                  <a:cubicBezTo>
                    <a:pt x="204" y="181"/>
                    <a:pt x="212" y="196"/>
                    <a:pt x="227" y="199"/>
                  </a:cubicBezTo>
                  <a:cubicBezTo>
                    <a:pt x="243" y="202"/>
                    <a:pt x="256" y="200"/>
                    <a:pt x="271" y="205"/>
                  </a:cubicBezTo>
                  <a:cubicBezTo>
                    <a:pt x="279" y="208"/>
                    <a:pt x="302" y="224"/>
                    <a:pt x="305" y="221"/>
                  </a:cubicBezTo>
                  <a:cubicBezTo>
                    <a:pt x="314" y="210"/>
                    <a:pt x="325" y="235"/>
                    <a:pt x="326" y="242"/>
                  </a:cubicBezTo>
                  <a:cubicBezTo>
                    <a:pt x="329" y="239"/>
                    <a:pt x="332" y="238"/>
                    <a:pt x="335" y="235"/>
                  </a:cubicBezTo>
                  <a:cubicBezTo>
                    <a:pt x="333" y="238"/>
                    <a:pt x="333" y="242"/>
                    <a:pt x="331" y="245"/>
                  </a:cubicBezTo>
                  <a:cubicBezTo>
                    <a:pt x="336" y="247"/>
                    <a:pt x="348" y="253"/>
                    <a:pt x="345" y="258"/>
                  </a:cubicBezTo>
                  <a:cubicBezTo>
                    <a:pt x="345" y="259"/>
                    <a:pt x="345" y="259"/>
                    <a:pt x="345" y="260"/>
                  </a:cubicBezTo>
                  <a:cubicBezTo>
                    <a:pt x="342" y="253"/>
                    <a:pt x="337" y="249"/>
                    <a:pt x="333" y="260"/>
                  </a:cubicBezTo>
                  <a:cubicBezTo>
                    <a:pt x="335" y="260"/>
                    <a:pt x="338" y="260"/>
                    <a:pt x="340" y="260"/>
                  </a:cubicBezTo>
                  <a:cubicBezTo>
                    <a:pt x="340" y="266"/>
                    <a:pt x="341" y="270"/>
                    <a:pt x="347" y="274"/>
                  </a:cubicBezTo>
                  <a:cubicBezTo>
                    <a:pt x="348" y="272"/>
                    <a:pt x="347" y="269"/>
                    <a:pt x="347" y="266"/>
                  </a:cubicBezTo>
                  <a:cubicBezTo>
                    <a:pt x="351" y="269"/>
                    <a:pt x="359" y="269"/>
                    <a:pt x="361" y="271"/>
                  </a:cubicBezTo>
                  <a:cubicBezTo>
                    <a:pt x="369" y="280"/>
                    <a:pt x="371" y="292"/>
                    <a:pt x="380" y="304"/>
                  </a:cubicBezTo>
                  <a:cubicBezTo>
                    <a:pt x="383" y="307"/>
                    <a:pt x="390" y="307"/>
                    <a:pt x="392" y="310"/>
                  </a:cubicBezTo>
                  <a:cubicBezTo>
                    <a:pt x="394" y="312"/>
                    <a:pt x="391" y="320"/>
                    <a:pt x="393" y="323"/>
                  </a:cubicBezTo>
                  <a:cubicBezTo>
                    <a:pt x="394" y="325"/>
                    <a:pt x="413" y="335"/>
                    <a:pt x="418" y="336"/>
                  </a:cubicBezTo>
                  <a:cubicBezTo>
                    <a:pt x="431" y="341"/>
                    <a:pt x="452" y="354"/>
                    <a:pt x="438" y="367"/>
                  </a:cubicBezTo>
                  <a:cubicBezTo>
                    <a:pt x="433" y="363"/>
                    <a:pt x="427" y="364"/>
                    <a:pt x="424" y="362"/>
                  </a:cubicBezTo>
                  <a:cubicBezTo>
                    <a:pt x="433" y="381"/>
                    <a:pt x="427" y="401"/>
                    <a:pt x="427" y="419"/>
                  </a:cubicBezTo>
                  <a:cubicBezTo>
                    <a:pt x="426" y="436"/>
                    <a:pt x="426" y="456"/>
                    <a:pt x="434" y="471"/>
                  </a:cubicBezTo>
                  <a:cubicBezTo>
                    <a:pt x="435" y="474"/>
                    <a:pt x="442" y="477"/>
                    <a:pt x="445" y="478"/>
                  </a:cubicBezTo>
                  <a:cubicBezTo>
                    <a:pt x="455" y="483"/>
                    <a:pt x="441" y="485"/>
                    <a:pt x="445" y="491"/>
                  </a:cubicBezTo>
                  <a:cubicBezTo>
                    <a:pt x="449" y="498"/>
                    <a:pt x="456" y="504"/>
                    <a:pt x="462" y="511"/>
                  </a:cubicBezTo>
                  <a:cubicBezTo>
                    <a:pt x="472" y="524"/>
                    <a:pt x="484" y="531"/>
                    <a:pt x="498" y="542"/>
                  </a:cubicBezTo>
                  <a:cubicBezTo>
                    <a:pt x="493" y="552"/>
                    <a:pt x="520" y="588"/>
                    <a:pt x="530" y="594"/>
                  </a:cubicBezTo>
                  <a:cubicBezTo>
                    <a:pt x="527" y="596"/>
                    <a:pt x="523" y="597"/>
                    <a:pt x="520" y="598"/>
                  </a:cubicBezTo>
                  <a:cubicBezTo>
                    <a:pt x="531" y="600"/>
                    <a:pt x="546" y="611"/>
                    <a:pt x="546" y="623"/>
                  </a:cubicBezTo>
                  <a:cubicBezTo>
                    <a:pt x="545" y="634"/>
                    <a:pt x="562" y="639"/>
                    <a:pt x="569" y="647"/>
                  </a:cubicBezTo>
                  <a:cubicBezTo>
                    <a:pt x="570" y="646"/>
                    <a:pt x="571" y="644"/>
                    <a:pt x="572" y="643"/>
                  </a:cubicBezTo>
                  <a:cubicBezTo>
                    <a:pt x="558" y="636"/>
                    <a:pt x="545" y="609"/>
                    <a:pt x="539" y="594"/>
                  </a:cubicBezTo>
                  <a:cubicBezTo>
                    <a:pt x="536" y="584"/>
                    <a:pt x="500" y="542"/>
                    <a:pt x="531" y="558"/>
                  </a:cubicBezTo>
                  <a:cubicBezTo>
                    <a:pt x="543" y="564"/>
                    <a:pt x="536" y="577"/>
                    <a:pt x="543" y="585"/>
                  </a:cubicBezTo>
                  <a:cubicBezTo>
                    <a:pt x="548" y="591"/>
                    <a:pt x="561" y="594"/>
                    <a:pt x="562" y="598"/>
                  </a:cubicBezTo>
                  <a:cubicBezTo>
                    <a:pt x="569" y="615"/>
                    <a:pt x="604" y="633"/>
                    <a:pt x="606" y="647"/>
                  </a:cubicBezTo>
                  <a:cubicBezTo>
                    <a:pt x="608" y="659"/>
                    <a:pt x="621" y="661"/>
                    <a:pt x="614" y="674"/>
                  </a:cubicBezTo>
                  <a:cubicBezTo>
                    <a:pt x="610" y="680"/>
                    <a:pt x="627" y="693"/>
                    <a:pt x="632" y="696"/>
                  </a:cubicBezTo>
                  <a:cubicBezTo>
                    <a:pt x="642" y="701"/>
                    <a:pt x="648" y="696"/>
                    <a:pt x="656" y="707"/>
                  </a:cubicBezTo>
                  <a:cubicBezTo>
                    <a:pt x="660" y="711"/>
                    <a:pt x="681" y="714"/>
                    <a:pt x="689" y="717"/>
                  </a:cubicBezTo>
                  <a:cubicBezTo>
                    <a:pt x="698" y="720"/>
                    <a:pt x="707" y="729"/>
                    <a:pt x="714" y="717"/>
                  </a:cubicBezTo>
                  <a:cubicBezTo>
                    <a:pt x="719" y="710"/>
                    <a:pt x="735" y="721"/>
                    <a:pt x="737" y="728"/>
                  </a:cubicBezTo>
                  <a:cubicBezTo>
                    <a:pt x="742" y="740"/>
                    <a:pt x="781" y="747"/>
                    <a:pt x="790" y="745"/>
                  </a:cubicBezTo>
                  <a:cubicBezTo>
                    <a:pt x="796" y="757"/>
                    <a:pt x="810" y="769"/>
                    <a:pt x="810" y="783"/>
                  </a:cubicBezTo>
                  <a:cubicBezTo>
                    <a:pt x="814" y="779"/>
                    <a:pt x="812" y="784"/>
                    <a:pt x="814" y="779"/>
                  </a:cubicBezTo>
                  <a:cubicBezTo>
                    <a:pt x="821" y="782"/>
                    <a:pt x="833" y="786"/>
                    <a:pt x="835" y="795"/>
                  </a:cubicBezTo>
                  <a:cubicBezTo>
                    <a:pt x="834" y="794"/>
                    <a:pt x="853" y="803"/>
                    <a:pt x="857" y="809"/>
                  </a:cubicBezTo>
                  <a:cubicBezTo>
                    <a:pt x="858" y="799"/>
                    <a:pt x="862" y="806"/>
                    <a:pt x="858" y="798"/>
                  </a:cubicBezTo>
                  <a:cubicBezTo>
                    <a:pt x="892" y="772"/>
                    <a:pt x="880" y="828"/>
                    <a:pt x="890" y="840"/>
                  </a:cubicBezTo>
                  <a:cubicBezTo>
                    <a:pt x="882" y="848"/>
                    <a:pt x="834" y="910"/>
                    <a:pt x="867" y="902"/>
                  </a:cubicBezTo>
                  <a:cubicBezTo>
                    <a:pt x="853" y="918"/>
                    <a:pt x="848" y="920"/>
                    <a:pt x="860" y="942"/>
                  </a:cubicBezTo>
                  <a:cubicBezTo>
                    <a:pt x="869" y="955"/>
                    <a:pt x="877" y="968"/>
                    <a:pt x="885" y="984"/>
                  </a:cubicBezTo>
                  <a:cubicBezTo>
                    <a:pt x="892" y="998"/>
                    <a:pt x="897" y="1016"/>
                    <a:pt x="907" y="1029"/>
                  </a:cubicBezTo>
                  <a:cubicBezTo>
                    <a:pt x="918" y="1041"/>
                    <a:pt x="934" y="1044"/>
                    <a:pt x="947" y="1053"/>
                  </a:cubicBezTo>
                  <a:cubicBezTo>
                    <a:pt x="975" y="1071"/>
                    <a:pt x="960" y="1118"/>
                    <a:pt x="955" y="1143"/>
                  </a:cubicBezTo>
                  <a:cubicBezTo>
                    <a:pt x="951" y="1159"/>
                    <a:pt x="946" y="1177"/>
                    <a:pt x="945" y="1193"/>
                  </a:cubicBezTo>
                  <a:cubicBezTo>
                    <a:pt x="945" y="1201"/>
                    <a:pt x="951" y="1212"/>
                    <a:pt x="950" y="1219"/>
                  </a:cubicBezTo>
                  <a:cubicBezTo>
                    <a:pt x="949" y="1229"/>
                    <a:pt x="941" y="1230"/>
                    <a:pt x="945" y="1242"/>
                  </a:cubicBezTo>
                  <a:cubicBezTo>
                    <a:pt x="932" y="1244"/>
                    <a:pt x="932" y="1273"/>
                    <a:pt x="930" y="1287"/>
                  </a:cubicBezTo>
                  <a:cubicBezTo>
                    <a:pt x="930" y="1288"/>
                    <a:pt x="926" y="1305"/>
                    <a:pt x="927" y="1314"/>
                  </a:cubicBezTo>
                  <a:cubicBezTo>
                    <a:pt x="926" y="1313"/>
                    <a:pt x="926" y="1312"/>
                    <a:pt x="925" y="1311"/>
                  </a:cubicBezTo>
                  <a:cubicBezTo>
                    <a:pt x="924" y="1315"/>
                    <a:pt x="922" y="1318"/>
                    <a:pt x="921" y="1322"/>
                  </a:cubicBezTo>
                  <a:cubicBezTo>
                    <a:pt x="923" y="1326"/>
                    <a:pt x="922" y="1330"/>
                    <a:pt x="928" y="1331"/>
                  </a:cubicBezTo>
                  <a:cubicBezTo>
                    <a:pt x="929" y="1326"/>
                    <a:pt x="929" y="1322"/>
                    <a:pt x="928" y="1318"/>
                  </a:cubicBezTo>
                  <a:cubicBezTo>
                    <a:pt x="930" y="1319"/>
                    <a:pt x="932" y="1319"/>
                    <a:pt x="936" y="1316"/>
                  </a:cubicBezTo>
                  <a:cubicBezTo>
                    <a:pt x="939" y="1334"/>
                    <a:pt x="935" y="1356"/>
                    <a:pt x="928" y="1373"/>
                  </a:cubicBezTo>
                  <a:cubicBezTo>
                    <a:pt x="926" y="1370"/>
                    <a:pt x="921" y="1368"/>
                    <a:pt x="918" y="1365"/>
                  </a:cubicBezTo>
                  <a:cubicBezTo>
                    <a:pt x="916" y="1367"/>
                    <a:pt x="914" y="1368"/>
                    <a:pt x="913" y="1369"/>
                  </a:cubicBezTo>
                  <a:cubicBezTo>
                    <a:pt x="930" y="1382"/>
                    <a:pt x="906" y="1395"/>
                    <a:pt x="913" y="1412"/>
                  </a:cubicBezTo>
                  <a:cubicBezTo>
                    <a:pt x="917" y="1424"/>
                    <a:pt x="926" y="1442"/>
                    <a:pt x="928" y="1451"/>
                  </a:cubicBezTo>
                  <a:cubicBezTo>
                    <a:pt x="925" y="1453"/>
                    <a:pt x="922" y="1455"/>
                    <a:pt x="920" y="1457"/>
                  </a:cubicBezTo>
                  <a:cubicBezTo>
                    <a:pt x="926" y="1467"/>
                    <a:pt x="933" y="1463"/>
                    <a:pt x="941" y="1468"/>
                  </a:cubicBezTo>
                  <a:cubicBezTo>
                    <a:pt x="947" y="1472"/>
                    <a:pt x="953" y="1479"/>
                    <a:pt x="963" y="1483"/>
                  </a:cubicBezTo>
                  <a:cubicBezTo>
                    <a:pt x="975" y="1489"/>
                    <a:pt x="973" y="1491"/>
                    <a:pt x="987" y="1489"/>
                  </a:cubicBezTo>
                  <a:cubicBezTo>
                    <a:pt x="996" y="1489"/>
                    <a:pt x="1004" y="1487"/>
                    <a:pt x="1012" y="1485"/>
                  </a:cubicBezTo>
                  <a:cubicBezTo>
                    <a:pt x="1000" y="1476"/>
                    <a:pt x="994" y="1477"/>
                    <a:pt x="985" y="1464"/>
                  </a:cubicBezTo>
                  <a:cubicBezTo>
                    <a:pt x="981" y="1459"/>
                    <a:pt x="969" y="1437"/>
                    <a:pt x="970" y="1433"/>
                  </a:cubicBezTo>
                  <a:cubicBezTo>
                    <a:pt x="972" y="1419"/>
                    <a:pt x="988" y="1423"/>
                    <a:pt x="991" y="1414"/>
                  </a:cubicBezTo>
                  <a:cubicBezTo>
                    <a:pt x="994" y="1403"/>
                    <a:pt x="999" y="1395"/>
                    <a:pt x="1008" y="1389"/>
                  </a:cubicBezTo>
                  <a:cubicBezTo>
                    <a:pt x="1003" y="1386"/>
                    <a:pt x="992" y="1379"/>
                    <a:pt x="992" y="1374"/>
                  </a:cubicBezTo>
                  <a:cubicBezTo>
                    <a:pt x="991" y="1360"/>
                    <a:pt x="994" y="1365"/>
                    <a:pt x="1000" y="1356"/>
                  </a:cubicBezTo>
                  <a:cubicBezTo>
                    <a:pt x="1006" y="1345"/>
                    <a:pt x="1012" y="1338"/>
                    <a:pt x="1016" y="1328"/>
                  </a:cubicBezTo>
                  <a:cubicBezTo>
                    <a:pt x="1024" y="1326"/>
                    <a:pt x="1020" y="1327"/>
                    <a:pt x="1023" y="1322"/>
                  </a:cubicBezTo>
                  <a:cubicBezTo>
                    <a:pt x="1022" y="1324"/>
                    <a:pt x="1020" y="1325"/>
                    <a:pt x="1019" y="1326"/>
                  </a:cubicBezTo>
                  <a:cubicBezTo>
                    <a:pt x="1016" y="1321"/>
                    <a:pt x="1009" y="1310"/>
                    <a:pt x="1012" y="1307"/>
                  </a:cubicBezTo>
                  <a:cubicBezTo>
                    <a:pt x="1019" y="1298"/>
                    <a:pt x="1024" y="1316"/>
                    <a:pt x="1030" y="1313"/>
                  </a:cubicBezTo>
                  <a:cubicBezTo>
                    <a:pt x="1049" y="1304"/>
                    <a:pt x="1030" y="1287"/>
                    <a:pt x="1056" y="1282"/>
                  </a:cubicBezTo>
                  <a:cubicBezTo>
                    <a:pt x="1075" y="1278"/>
                    <a:pt x="1075" y="1281"/>
                    <a:pt x="1089" y="1267"/>
                  </a:cubicBezTo>
                  <a:cubicBezTo>
                    <a:pt x="1104" y="1252"/>
                    <a:pt x="1082" y="1246"/>
                    <a:pt x="1080" y="1231"/>
                  </a:cubicBezTo>
                  <a:cubicBezTo>
                    <a:pt x="1096" y="1235"/>
                    <a:pt x="1118" y="1244"/>
                    <a:pt x="1130" y="1225"/>
                  </a:cubicBezTo>
                  <a:cubicBezTo>
                    <a:pt x="1140" y="1209"/>
                    <a:pt x="1151" y="1192"/>
                    <a:pt x="1159" y="1180"/>
                  </a:cubicBezTo>
                  <a:cubicBezTo>
                    <a:pt x="1162" y="1176"/>
                    <a:pt x="1172" y="1162"/>
                    <a:pt x="1171" y="1159"/>
                  </a:cubicBezTo>
                  <a:cubicBezTo>
                    <a:pt x="1171" y="1154"/>
                    <a:pt x="1172" y="1134"/>
                    <a:pt x="1175" y="1130"/>
                  </a:cubicBezTo>
                  <a:cubicBezTo>
                    <a:pt x="1180" y="1122"/>
                    <a:pt x="1212" y="1105"/>
                    <a:pt x="1221" y="1103"/>
                  </a:cubicBezTo>
                  <a:cubicBezTo>
                    <a:pt x="1233" y="1100"/>
                    <a:pt x="1235" y="1110"/>
                    <a:pt x="1247" y="1097"/>
                  </a:cubicBezTo>
                  <a:cubicBezTo>
                    <a:pt x="1249" y="1094"/>
                    <a:pt x="1245" y="1090"/>
                    <a:pt x="1248" y="1086"/>
                  </a:cubicBezTo>
                  <a:cubicBezTo>
                    <a:pt x="1252" y="1082"/>
                    <a:pt x="1259" y="1077"/>
                    <a:pt x="1261" y="1072"/>
                  </a:cubicBezTo>
                  <a:cubicBezTo>
                    <a:pt x="1265" y="1064"/>
                    <a:pt x="1252" y="1054"/>
                    <a:pt x="1266" y="1048"/>
                  </a:cubicBezTo>
                  <a:cubicBezTo>
                    <a:pt x="1274" y="1045"/>
                    <a:pt x="1268" y="1029"/>
                    <a:pt x="1268" y="1022"/>
                  </a:cubicBezTo>
                  <a:cubicBezTo>
                    <a:pt x="1269" y="1010"/>
                    <a:pt x="1268" y="1011"/>
                    <a:pt x="1275" y="1000"/>
                  </a:cubicBezTo>
                  <a:cubicBezTo>
                    <a:pt x="1277" y="996"/>
                    <a:pt x="1289" y="980"/>
                    <a:pt x="1294" y="978"/>
                  </a:cubicBezTo>
                  <a:cubicBezTo>
                    <a:pt x="1307" y="973"/>
                    <a:pt x="1319" y="932"/>
                    <a:pt x="1301" y="925"/>
                  </a:cubicBezTo>
                  <a:close/>
                  <a:moveTo>
                    <a:pt x="832" y="437"/>
                  </a:moveTo>
                  <a:cubicBezTo>
                    <a:pt x="843" y="436"/>
                    <a:pt x="851" y="425"/>
                    <a:pt x="862" y="431"/>
                  </a:cubicBezTo>
                  <a:cubicBezTo>
                    <a:pt x="856" y="438"/>
                    <a:pt x="837" y="448"/>
                    <a:pt x="832" y="437"/>
                  </a:cubicBezTo>
                  <a:close/>
                  <a:moveTo>
                    <a:pt x="868" y="418"/>
                  </a:moveTo>
                  <a:cubicBezTo>
                    <a:pt x="880" y="412"/>
                    <a:pt x="889" y="413"/>
                    <a:pt x="901" y="410"/>
                  </a:cubicBezTo>
                  <a:cubicBezTo>
                    <a:pt x="890" y="421"/>
                    <a:pt x="874" y="427"/>
                    <a:pt x="860" y="420"/>
                  </a:cubicBezTo>
                  <a:cubicBezTo>
                    <a:pt x="863" y="419"/>
                    <a:pt x="865" y="419"/>
                    <a:pt x="868" y="418"/>
                  </a:cubicBezTo>
                  <a:close/>
                  <a:moveTo>
                    <a:pt x="769" y="359"/>
                  </a:moveTo>
                  <a:cubicBezTo>
                    <a:pt x="776" y="358"/>
                    <a:pt x="779" y="360"/>
                    <a:pt x="784" y="353"/>
                  </a:cubicBezTo>
                  <a:cubicBezTo>
                    <a:pt x="786" y="356"/>
                    <a:pt x="790" y="358"/>
                    <a:pt x="792" y="361"/>
                  </a:cubicBezTo>
                  <a:cubicBezTo>
                    <a:pt x="791" y="358"/>
                    <a:pt x="791" y="355"/>
                    <a:pt x="791" y="352"/>
                  </a:cubicBezTo>
                  <a:cubicBezTo>
                    <a:pt x="798" y="357"/>
                    <a:pt x="806" y="360"/>
                    <a:pt x="813" y="367"/>
                  </a:cubicBezTo>
                  <a:cubicBezTo>
                    <a:pt x="821" y="375"/>
                    <a:pt x="819" y="384"/>
                    <a:pt x="833" y="388"/>
                  </a:cubicBezTo>
                  <a:cubicBezTo>
                    <a:pt x="842" y="391"/>
                    <a:pt x="852" y="383"/>
                    <a:pt x="859" y="392"/>
                  </a:cubicBezTo>
                  <a:cubicBezTo>
                    <a:pt x="867" y="403"/>
                    <a:pt x="857" y="406"/>
                    <a:pt x="848" y="401"/>
                  </a:cubicBezTo>
                  <a:cubicBezTo>
                    <a:pt x="848" y="409"/>
                    <a:pt x="845" y="416"/>
                    <a:pt x="839" y="420"/>
                  </a:cubicBezTo>
                  <a:cubicBezTo>
                    <a:pt x="834" y="410"/>
                    <a:pt x="836" y="412"/>
                    <a:pt x="828" y="411"/>
                  </a:cubicBezTo>
                  <a:cubicBezTo>
                    <a:pt x="840" y="388"/>
                    <a:pt x="801" y="387"/>
                    <a:pt x="796" y="413"/>
                  </a:cubicBezTo>
                  <a:cubicBezTo>
                    <a:pt x="795" y="416"/>
                    <a:pt x="794" y="457"/>
                    <a:pt x="784" y="432"/>
                  </a:cubicBezTo>
                  <a:cubicBezTo>
                    <a:pt x="781" y="424"/>
                    <a:pt x="792" y="405"/>
                    <a:pt x="793" y="397"/>
                  </a:cubicBezTo>
                  <a:cubicBezTo>
                    <a:pt x="790" y="399"/>
                    <a:pt x="787" y="400"/>
                    <a:pt x="784" y="402"/>
                  </a:cubicBezTo>
                  <a:cubicBezTo>
                    <a:pt x="795" y="387"/>
                    <a:pt x="804" y="380"/>
                    <a:pt x="823" y="387"/>
                  </a:cubicBezTo>
                  <a:cubicBezTo>
                    <a:pt x="819" y="375"/>
                    <a:pt x="811" y="381"/>
                    <a:pt x="802" y="379"/>
                  </a:cubicBezTo>
                  <a:cubicBezTo>
                    <a:pt x="794" y="378"/>
                    <a:pt x="795" y="390"/>
                    <a:pt x="790" y="379"/>
                  </a:cubicBezTo>
                  <a:cubicBezTo>
                    <a:pt x="785" y="371"/>
                    <a:pt x="786" y="377"/>
                    <a:pt x="779" y="379"/>
                  </a:cubicBezTo>
                  <a:cubicBezTo>
                    <a:pt x="781" y="375"/>
                    <a:pt x="783" y="371"/>
                    <a:pt x="785" y="367"/>
                  </a:cubicBezTo>
                  <a:cubicBezTo>
                    <a:pt x="772" y="381"/>
                    <a:pt x="758" y="376"/>
                    <a:pt x="743" y="379"/>
                  </a:cubicBezTo>
                  <a:cubicBezTo>
                    <a:pt x="752" y="372"/>
                    <a:pt x="761" y="367"/>
                    <a:pt x="769" y="35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3" name="Freeform 153"/>
            <p:cNvSpPr>
              <a:spLocks/>
            </p:cNvSpPr>
            <p:nvPr/>
          </p:nvSpPr>
          <p:spPr bwMode="auto">
            <a:xfrm>
              <a:off x="1258" y="1051"/>
              <a:ext cx="19" cy="11"/>
            </a:xfrm>
            <a:custGeom>
              <a:avLst/>
              <a:gdLst>
                <a:gd name="T0" fmla="*/ 11 w 11"/>
                <a:gd name="T1" fmla="*/ 6 h 6"/>
                <a:gd name="T2" fmla="*/ 0 w 11"/>
                <a:gd name="T3" fmla="*/ 0 h 6"/>
                <a:gd name="T4" fmla="*/ 11 w 11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11" y="6"/>
                  </a:moveTo>
                  <a:cubicBezTo>
                    <a:pt x="8" y="0"/>
                    <a:pt x="5" y="2"/>
                    <a:pt x="0" y="0"/>
                  </a:cubicBezTo>
                  <a:cubicBezTo>
                    <a:pt x="2" y="2"/>
                    <a:pt x="5" y="6"/>
                    <a:pt x="11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4" name="Freeform 154"/>
            <p:cNvSpPr>
              <a:spLocks/>
            </p:cNvSpPr>
            <p:nvPr/>
          </p:nvSpPr>
          <p:spPr bwMode="auto">
            <a:xfrm>
              <a:off x="449" y="1106"/>
              <a:ext cx="82" cy="57"/>
            </a:xfrm>
            <a:custGeom>
              <a:avLst/>
              <a:gdLst>
                <a:gd name="T0" fmla="*/ 0 w 46"/>
                <a:gd name="T1" fmla="*/ 4 h 32"/>
                <a:gd name="T2" fmla="*/ 6 w 46"/>
                <a:gd name="T3" fmla="*/ 5 h 32"/>
                <a:gd name="T4" fmla="*/ 3 w 46"/>
                <a:gd name="T5" fmla="*/ 8 h 32"/>
                <a:gd name="T6" fmla="*/ 21 w 46"/>
                <a:gd name="T7" fmla="*/ 16 h 32"/>
                <a:gd name="T8" fmla="*/ 46 w 46"/>
                <a:gd name="T9" fmla="*/ 32 h 32"/>
                <a:gd name="T10" fmla="*/ 0 w 46"/>
                <a:gd name="T11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32">
                  <a:moveTo>
                    <a:pt x="0" y="4"/>
                  </a:moveTo>
                  <a:cubicBezTo>
                    <a:pt x="2" y="4"/>
                    <a:pt x="4" y="4"/>
                    <a:pt x="6" y="5"/>
                  </a:cubicBezTo>
                  <a:cubicBezTo>
                    <a:pt x="5" y="6"/>
                    <a:pt x="4" y="7"/>
                    <a:pt x="3" y="8"/>
                  </a:cubicBezTo>
                  <a:cubicBezTo>
                    <a:pt x="9" y="12"/>
                    <a:pt x="13" y="15"/>
                    <a:pt x="21" y="16"/>
                  </a:cubicBezTo>
                  <a:cubicBezTo>
                    <a:pt x="17" y="24"/>
                    <a:pt x="35" y="31"/>
                    <a:pt x="46" y="32"/>
                  </a:cubicBezTo>
                  <a:cubicBezTo>
                    <a:pt x="41" y="19"/>
                    <a:pt x="14" y="0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5" name="Freeform 155"/>
            <p:cNvSpPr>
              <a:spLocks/>
            </p:cNvSpPr>
            <p:nvPr/>
          </p:nvSpPr>
          <p:spPr bwMode="auto">
            <a:xfrm>
              <a:off x="366" y="1032"/>
              <a:ext cx="25" cy="42"/>
            </a:xfrm>
            <a:custGeom>
              <a:avLst/>
              <a:gdLst>
                <a:gd name="T0" fmla="*/ 6 w 14"/>
                <a:gd name="T1" fmla="*/ 7 h 24"/>
                <a:gd name="T2" fmla="*/ 0 w 14"/>
                <a:gd name="T3" fmla="*/ 0 h 24"/>
                <a:gd name="T4" fmla="*/ 5 w 14"/>
                <a:gd name="T5" fmla="*/ 9 h 24"/>
                <a:gd name="T6" fmla="*/ 14 w 14"/>
                <a:gd name="T7" fmla="*/ 24 h 24"/>
                <a:gd name="T8" fmla="*/ 11 w 14"/>
                <a:gd name="T9" fmla="*/ 3 h 24"/>
                <a:gd name="T10" fmla="*/ 6 w 14"/>
                <a:gd name="T1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4">
                  <a:moveTo>
                    <a:pt x="6" y="7"/>
                  </a:moveTo>
                  <a:cubicBezTo>
                    <a:pt x="4" y="3"/>
                    <a:pt x="9" y="5"/>
                    <a:pt x="0" y="0"/>
                  </a:cubicBezTo>
                  <a:cubicBezTo>
                    <a:pt x="1" y="4"/>
                    <a:pt x="3" y="6"/>
                    <a:pt x="5" y="9"/>
                  </a:cubicBezTo>
                  <a:cubicBezTo>
                    <a:pt x="9" y="15"/>
                    <a:pt x="11" y="17"/>
                    <a:pt x="14" y="24"/>
                  </a:cubicBezTo>
                  <a:cubicBezTo>
                    <a:pt x="11" y="17"/>
                    <a:pt x="11" y="11"/>
                    <a:pt x="11" y="3"/>
                  </a:cubicBezTo>
                  <a:cubicBezTo>
                    <a:pt x="9" y="4"/>
                    <a:pt x="8" y="5"/>
                    <a:pt x="6" y="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6" name="Freeform 156"/>
            <p:cNvSpPr>
              <a:spLocks/>
            </p:cNvSpPr>
            <p:nvPr/>
          </p:nvSpPr>
          <p:spPr bwMode="auto">
            <a:xfrm>
              <a:off x="-15" y="939"/>
              <a:ext cx="53" cy="31"/>
            </a:xfrm>
            <a:custGeom>
              <a:avLst/>
              <a:gdLst>
                <a:gd name="T0" fmla="*/ 21 w 30"/>
                <a:gd name="T1" fmla="*/ 0 h 17"/>
                <a:gd name="T2" fmla="*/ 12 w 30"/>
                <a:gd name="T3" fmla="*/ 14 h 17"/>
                <a:gd name="T4" fmla="*/ 21 w 3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7">
                  <a:moveTo>
                    <a:pt x="21" y="0"/>
                  </a:moveTo>
                  <a:cubicBezTo>
                    <a:pt x="9" y="1"/>
                    <a:pt x="0" y="17"/>
                    <a:pt x="12" y="14"/>
                  </a:cubicBezTo>
                  <a:cubicBezTo>
                    <a:pt x="19" y="13"/>
                    <a:pt x="30" y="4"/>
                    <a:pt x="21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7" name="Freeform 157"/>
            <p:cNvSpPr>
              <a:spLocks/>
            </p:cNvSpPr>
            <p:nvPr/>
          </p:nvSpPr>
          <p:spPr bwMode="auto">
            <a:xfrm>
              <a:off x="2899" y="1376"/>
              <a:ext cx="48" cy="39"/>
            </a:xfrm>
            <a:custGeom>
              <a:avLst/>
              <a:gdLst>
                <a:gd name="T0" fmla="*/ 27 w 27"/>
                <a:gd name="T1" fmla="*/ 0 h 22"/>
                <a:gd name="T2" fmla="*/ 0 w 27"/>
                <a:gd name="T3" fmla="*/ 2 h 22"/>
                <a:gd name="T4" fmla="*/ 27 w 27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2">
                  <a:moveTo>
                    <a:pt x="27" y="0"/>
                  </a:moveTo>
                  <a:cubicBezTo>
                    <a:pt x="18" y="4"/>
                    <a:pt x="8" y="2"/>
                    <a:pt x="0" y="2"/>
                  </a:cubicBezTo>
                  <a:cubicBezTo>
                    <a:pt x="11" y="15"/>
                    <a:pt x="25" y="22"/>
                    <a:pt x="27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8" name="Freeform 158"/>
            <p:cNvSpPr>
              <a:spLocks/>
            </p:cNvSpPr>
            <p:nvPr/>
          </p:nvSpPr>
          <p:spPr bwMode="auto">
            <a:xfrm>
              <a:off x="2836" y="1277"/>
              <a:ext cx="12" cy="32"/>
            </a:xfrm>
            <a:custGeom>
              <a:avLst/>
              <a:gdLst>
                <a:gd name="T0" fmla="*/ 6 w 7"/>
                <a:gd name="T1" fmla="*/ 0 h 18"/>
                <a:gd name="T2" fmla="*/ 0 w 7"/>
                <a:gd name="T3" fmla="*/ 4 h 18"/>
                <a:gd name="T4" fmla="*/ 4 w 7"/>
                <a:gd name="T5" fmla="*/ 18 h 18"/>
                <a:gd name="T6" fmla="*/ 6 w 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6" y="0"/>
                  </a:moveTo>
                  <a:cubicBezTo>
                    <a:pt x="4" y="2"/>
                    <a:pt x="2" y="3"/>
                    <a:pt x="0" y="4"/>
                  </a:cubicBezTo>
                  <a:cubicBezTo>
                    <a:pt x="0" y="7"/>
                    <a:pt x="0" y="12"/>
                    <a:pt x="4" y="18"/>
                  </a:cubicBezTo>
                  <a:cubicBezTo>
                    <a:pt x="7" y="12"/>
                    <a:pt x="7" y="6"/>
                    <a:pt x="6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59" name="Freeform 159"/>
            <p:cNvSpPr>
              <a:spLocks/>
            </p:cNvSpPr>
            <p:nvPr/>
          </p:nvSpPr>
          <p:spPr bwMode="auto">
            <a:xfrm>
              <a:off x="2816" y="1293"/>
              <a:ext cx="69" cy="65"/>
            </a:xfrm>
            <a:custGeom>
              <a:avLst/>
              <a:gdLst>
                <a:gd name="T0" fmla="*/ 10 w 39"/>
                <a:gd name="T1" fmla="*/ 23 h 37"/>
                <a:gd name="T2" fmla="*/ 11 w 39"/>
                <a:gd name="T3" fmla="*/ 37 h 37"/>
                <a:gd name="T4" fmla="*/ 10 w 39"/>
                <a:gd name="T5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9" h="37">
                  <a:moveTo>
                    <a:pt x="10" y="23"/>
                  </a:moveTo>
                  <a:cubicBezTo>
                    <a:pt x="8" y="29"/>
                    <a:pt x="8" y="32"/>
                    <a:pt x="11" y="37"/>
                  </a:cubicBezTo>
                  <a:cubicBezTo>
                    <a:pt x="39" y="25"/>
                    <a:pt x="0" y="0"/>
                    <a:pt x="10" y="2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0" name="Freeform 160"/>
            <p:cNvSpPr>
              <a:spLocks/>
            </p:cNvSpPr>
            <p:nvPr/>
          </p:nvSpPr>
          <p:spPr bwMode="auto">
            <a:xfrm>
              <a:off x="2729" y="1337"/>
              <a:ext cx="13" cy="16"/>
            </a:xfrm>
            <a:custGeom>
              <a:avLst/>
              <a:gdLst>
                <a:gd name="T0" fmla="*/ 7 w 7"/>
                <a:gd name="T1" fmla="*/ 6 h 9"/>
                <a:gd name="T2" fmla="*/ 0 w 7"/>
                <a:gd name="T3" fmla="*/ 4 h 9"/>
                <a:gd name="T4" fmla="*/ 7 w 7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7" y="6"/>
                  </a:moveTo>
                  <a:cubicBezTo>
                    <a:pt x="4" y="5"/>
                    <a:pt x="6" y="0"/>
                    <a:pt x="0" y="4"/>
                  </a:cubicBezTo>
                  <a:cubicBezTo>
                    <a:pt x="3" y="9"/>
                    <a:pt x="5" y="5"/>
                    <a:pt x="7" y="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1" name="Freeform 161"/>
            <p:cNvSpPr>
              <a:spLocks/>
            </p:cNvSpPr>
            <p:nvPr/>
          </p:nvSpPr>
          <p:spPr bwMode="auto">
            <a:xfrm>
              <a:off x="2855" y="989"/>
              <a:ext cx="18" cy="14"/>
            </a:xfrm>
            <a:custGeom>
              <a:avLst/>
              <a:gdLst>
                <a:gd name="T0" fmla="*/ 8 w 10"/>
                <a:gd name="T1" fmla="*/ 8 h 8"/>
                <a:gd name="T2" fmla="*/ 0 w 10"/>
                <a:gd name="T3" fmla="*/ 0 h 8"/>
                <a:gd name="T4" fmla="*/ 8 w 1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cubicBezTo>
                    <a:pt x="10" y="7"/>
                    <a:pt x="8" y="3"/>
                    <a:pt x="0" y="0"/>
                  </a:cubicBezTo>
                  <a:cubicBezTo>
                    <a:pt x="1" y="5"/>
                    <a:pt x="4" y="4"/>
                    <a:pt x="8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2" name="Freeform 162"/>
            <p:cNvSpPr>
              <a:spLocks/>
            </p:cNvSpPr>
            <p:nvPr/>
          </p:nvSpPr>
          <p:spPr bwMode="auto">
            <a:xfrm>
              <a:off x="2997" y="925"/>
              <a:ext cx="14" cy="23"/>
            </a:xfrm>
            <a:custGeom>
              <a:avLst/>
              <a:gdLst>
                <a:gd name="T0" fmla="*/ 8 w 8"/>
                <a:gd name="T1" fmla="*/ 0 h 13"/>
                <a:gd name="T2" fmla="*/ 0 w 8"/>
                <a:gd name="T3" fmla="*/ 13 h 13"/>
                <a:gd name="T4" fmla="*/ 5 w 8"/>
                <a:gd name="T5" fmla="*/ 5 h 13"/>
                <a:gd name="T6" fmla="*/ 8 w 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3" y="6"/>
                    <a:pt x="2" y="8"/>
                    <a:pt x="0" y="13"/>
                  </a:cubicBezTo>
                  <a:cubicBezTo>
                    <a:pt x="2" y="11"/>
                    <a:pt x="3" y="8"/>
                    <a:pt x="5" y="5"/>
                  </a:cubicBezTo>
                  <a:cubicBezTo>
                    <a:pt x="6" y="3"/>
                    <a:pt x="7" y="2"/>
                    <a:pt x="8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3" name="Freeform 163"/>
            <p:cNvSpPr>
              <a:spLocks/>
            </p:cNvSpPr>
            <p:nvPr/>
          </p:nvSpPr>
          <p:spPr bwMode="auto">
            <a:xfrm>
              <a:off x="3098" y="1431"/>
              <a:ext cx="39" cy="7"/>
            </a:xfrm>
            <a:custGeom>
              <a:avLst/>
              <a:gdLst>
                <a:gd name="T0" fmla="*/ 22 w 22"/>
                <a:gd name="T1" fmla="*/ 3 h 4"/>
                <a:gd name="T2" fmla="*/ 0 w 22"/>
                <a:gd name="T3" fmla="*/ 1 h 4"/>
                <a:gd name="T4" fmla="*/ 22 w 2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4">
                  <a:moveTo>
                    <a:pt x="22" y="3"/>
                  </a:moveTo>
                  <a:cubicBezTo>
                    <a:pt x="14" y="1"/>
                    <a:pt x="7" y="0"/>
                    <a:pt x="0" y="1"/>
                  </a:cubicBezTo>
                  <a:cubicBezTo>
                    <a:pt x="7" y="3"/>
                    <a:pt x="14" y="4"/>
                    <a:pt x="22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4" name="Freeform 164"/>
            <p:cNvSpPr>
              <a:spLocks/>
            </p:cNvSpPr>
            <p:nvPr/>
          </p:nvSpPr>
          <p:spPr bwMode="auto">
            <a:xfrm>
              <a:off x="3245" y="1426"/>
              <a:ext cx="36" cy="17"/>
            </a:xfrm>
            <a:custGeom>
              <a:avLst/>
              <a:gdLst>
                <a:gd name="T0" fmla="*/ 20 w 20"/>
                <a:gd name="T1" fmla="*/ 0 h 10"/>
                <a:gd name="T2" fmla="*/ 0 w 20"/>
                <a:gd name="T3" fmla="*/ 7 h 10"/>
                <a:gd name="T4" fmla="*/ 4 w 20"/>
                <a:gd name="T5" fmla="*/ 10 h 10"/>
                <a:gd name="T6" fmla="*/ 20 w 2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0">
                  <a:moveTo>
                    <a:pt x="20" y="0"/>
                  </a:moveTo>
                  <a:cubicBezTo>
                    <a:pt x="13" y="1"/>
                    <a:pt x="6" y="4"/>
                    <a:pt x="0" y="7"/>
                  </a:cubicBezTo>
                  <a:cubicBezTo>
                    <a:pt x="1" y="8"/>
                    <a:pt x="3" y="9"/>
                    <a:pt x="4" y="10"/>
                  </a:cubicBezTo>
                  <a:cubicBezTo>
                    <a:pt x="11" y="8"/>
                    <a:pt x="16" y="5"/>
                    <a:pt x="2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5" name="Freeform 165"/>
            <p:cNvSpPr>
              <a:spLocks/>
            </p:cNvSpPr>
            <p:nvPr/>
          </p:nvSpPr>
          <p:spPr bwMode="auto">
            <a:xfrm>
              <a:off x="3609" y="1857"/>
              <a:ext cx="17" cy="9"/>
            </a:xfrm>
            <a:custGeom>
              <a:avLst/>
              <a:gdLst>
                <a:gd name="T0" fmla="*/ 10 w 10"/>
                <a:gd name="T1" fmla="*/ 0 h 5"/>
                <a:gd name="T2" fmla="*/ 0 w 10"/>
                <a:gd name="T3" fmla="*/ 2 h 5"/>
                <a:gd name="T4" fmla="*/ 10 w 10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10" y="0"/>
                  </a:moveTo>
                  <a:cubicBezTo>
                    <a:pt x="6" y="0"/>
                    <a:pt x="3" y="1"/>
                    <a:pt x="0" y="2"/>
                  </a:cubicBezTo>
                  <a:cubicBezTo>
                    <a:pt x="4" y="2"/>
                    <a:pt x="5" y="5"/>
                    <a:pt x="1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6" name="Freeform 166"/>
            <p:cNvSpPr>
              <a:spLocks/>
            </p:cNvSpPr>
            <p:nvPr/>
          </p:nvSpPr>
          <p:spPr bwMode="auto">
            <a:xfrm>
              <a:off x="3499" y="602"/>
              <a:ext cx="55" cy="36"/>
            </a:xfrm>
            <a:custGeom>
              <a:avLst/>
              <a:gdLst>
                <a:gd name="T0" fmla="*/ 13 w 31"/>
                <a:gd name="T1" fmla="*/ 3 h 20"/>
                <a:gd name="T2" fmla="*/ 29 w 31"/>
                <a:gd name="T3" fmla="*/ 9 h 20"/>
                <a:gd name="T4" fmla="*/ 13 w 31"/>
                <a:gd name="T5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0">
                  <a:moveTo>
                    <a:pt x="13" y="3"/>
                  </a:moveTo>
                  <a:cubicBezTo>
                    <a:pt x="0" y="20"/>
                    <a:pt x="28" y="15"/>
                    <a:pt x="29" y="9"/>
                  </a:cubicBezTo>
                  <a:cubicBezTo>
                    <a:pt x="31" y="0"/>
                    <a:pt x="18" y="0"/>
                    <a:pt x="13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7" name="Freeform 167"/>
            <p:cNvSpPr>
              <a:spLocks/>
            </p:cNvSpPr>
            <p:nvPr/>
          </p:nvSpPr>
          <p:spPr bwMode="auto">
            <a:xfrm>
              <a:off x="3697" y="577"/>
              <a:ext cx="30" cy="22"/>
            </a:xfrm>
            <a:custGeom>
              <a:avLst/>
              <a:gdLst>
                <a:gd name="T0" fmla="*/ 0 w 17"/>
                <a:gd name="T1" fmla="*/ 2 h 12"/>
                <a:gd name="T2" fmla="*/ 17 w 17"/>
                <a:gd name="T3" fmla="*/ 9 h 12"/>
                <a:gd name="T4" fmla="*/ 0 w 17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2">
                  <a:moveTo>
                    <a:pt x="0" y="2"/>
                  </a:moveTo>
                  <a:cubicBezTo>
                    <a:pt x="4" y="9"/>
                    <a:pt x="10" y="12"/>
                    <a:pt x="17" y="9"/>
                  </a:cubicBezTo>
                  <a:cubicBezTo>
                    <a:pt x="13" y="2"/>
                    <a:pt x="7" y="0"/>
                    <a:pt x="0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8" name="Freeform 168"/>
            <p:cNvSpPr>
              <a:spLocks/>
            </p:cNvSpPr>
            <p:nvPr/>
          </p:nvSpPr>
          <p:spPr bwMode="auto">
            <a:xfrm>
              <a:off x="5233" y="396"/>
              <a:ext cx="78" cy="39"/>
            </a:xfrm>
            <a:custGeom>
              <a:avLst/>
              <a:gdLst>
                <a:gd name="T0" fmla="*/ 44 w 44"/>
                <a:gd name="T1" fmla="*/ 10 h 22"/>
                <a:gd name="T2" fmla="*/ 0 w 44"/>
                <a:gd name="T3" fmla="*/ 0 h 22"/>
                <a:gd name="T4" fmla="*/ 44 w 44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2">
                  <a:moveTo>
                    <a:pt x="44" y="10"/>
                  </a:moveTo>
                  <a:cubicBezTo>
                    <a:pt x="33" y="2"/>
                    <a:pt x="14" y="4"/>
                    <a:pt x="0" y="0"/>
                  </a:cubicBezTo>
                  <a:cubicBezTo>
                    <a:pt x="9" y="14"/>
                    <a:pt x="30" y="22"/>
                    <a:pt x="44" y="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9" name="Freeform 169"/>
            <p:cNvSpPr>
              <a:spLocks/>
            </p:cNvSpPr>
            <p:nvPr/>
          </p:nvSpPr>
          <p:spPr bwMode="auto">
            <a:xfrm>
              <a:off x="5121" y="446"/>
              <a:ext cx="18" cy="12"/>
            </a:xfrm>
            <a:custGeom>
              <a:avLst/>
              <a:gdLst>
                <a:gd name="T0" fmla="*/ 10 w 10"/>
                <a:gd name="T1" fmla="*/ 0 h 7"/>
                <a:gd name="T2" fmla="*/ 0 w 10"/>
                <a:gd name="T3" fmla="*/ 0 h 7"/>
                <a:gd name="T4" fmla="*/ 10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7"/>
                    <a:pt x="5" y="1"/>
                    <a:pt x="1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0" name="Freeform 170"/>
            <p:cNvSpPr>
              <a:spLocks/>
            </p:cNvSpPr>
            <p:nvPr/>
          </p:nvSpPr>
          <p:spPr bwMode="auto">
            <a:xfrm>
              <a:off x="1564" y="1126"/>
              <a:ext cx="45" cy="19"/>
            </a:xfrm>
            <a:custGeom>
              <a:avLst/>
              <a:gdLst>
                <a:gd name="T0" fmla="*/ 0 w 25"/>
                <a:gd name="T1" fmla="*/ 1 h 11"/>
                <a:gd name="T2" fmla="*/ 20 w 25"/>
                <a:gd name="T3" fmla="*/ 11 h 11"/>
                <a:gd name="T4" fmla="*/ 25 w 25"/>
                <a:gd name="T5" fmla="*/ 9 h 11"/>
                <a:gd name="T6" fmla="*/ 0 w 2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1">
                  <a:moveTo>
                    <a:pt x="0" y="1"/>
                  </a:moveTo>
                  <a:cubicBezTo>
                    <a:pt x="6" y="6"/>
                    <a:pt x="13" y="9"/>
                    <a:pt x="20" y="11"/>
                  </a:cubicBezTo>
                  <a:cubicBezTo>
                    <a:pt x="21" y="11"/>
                    <a:pt x="23" y="10"/>
                    <a:pt x="25" y="9"/>
                  </a:cubicBezTo>
                  <a:cubicBezTo>
                    <a:pt x="18" y="4"/>
                    <a:pt x="9" y="0"/>
                    <a:pt x="0" y="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1" name="Freeform 171"/>
            <p:cNvSpPr>
              <a:spLocks/>
            </p:cNvSpPr>
            <p:nvPr/>
          </p:nvSpPr>
          <p:spPr bwMode="auto">
            <a:xfrm>
              <a:off x="1570" y="1193"/>
              <a:ext cx="32" cy="29"/>
            </a:xfrm>
            <a:custGeom>
              <a:avLst/>
              <a:gdLst>
                <a:gd name="T0" fmla="*/ 0 w 18"/>
                <a:gd name="T1" fmla="*/ 0 h 16"/>
                <a:gd name="T2" fmla="*/ 18 w 18"/>
                <a:gd name="T3" fmla="*/ 6 h 16"/>
                <a:gd name="T4" fmla="*/ 0 w 18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0" y="0"/>
                  </a:moveTo>
                  <a:cubicBezTo>
                    <a:pt x="1" y="8"/>
                    <a:pt x="13" y="16"/>
                    <a:pt x="18" y="6"/>
                  </a:cubicBezTo>
                  <a:cubicBezTo>
                    <a:pt x="10" y="7"/>
                    <a:pt x="7" y="4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2" name="Freeform 172"/>
            <p:cNvSpPr>
              <a:spLocks/>
            </p:cNvSpPr>
            <p:nvPr/>
          </p:nvSpPr>
          <p:spPr bwMode="auto">
            <a:xfrm>
              <a:off x="1610" y="1195"/>
              <a:ext cx="31" cy="37"/>
            </a:xfrm>
            <a:custGeom>
              <a:avLst/>
              <a:gdLst>
                <a:gd name="T0" fmla="*/ 17 w 17"/>
                <a:gd name="T1" fmla="*/ 8 h 21"/>
                <a:gd name="T2" fmla="*/ 12 w 17"/>
                <a:gd name="T3" fmla="*/ 0 h 21"/>
                <a:gd name="T4" fmla="*/ 17 w 17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1">
                  <a:moveTo>
                    <a:pt x="17" y="8"/>
                  </a:moveTo>
                  <a:cubicBezTo>
                    <a:pt x="16" y="5"/>
                    <a:pt x="14" y="2"/>
                    <a:pt x="12" y="0"/>
                  </a:cubicBezTo>
                  <a:cubicBezTo>
                    <a:pt x="0" y="8"/>
                    <a:pt x="7" y="21"/>
                    <a:pt x="17" y="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3" name="Freeform 173"/>
            <p:cNvSpPr>
              <a:spLocks/>
            </p:cNvSpPr>
            <p:nvPr/>
          </p:nvSpPr>
          <p:spPr bwMode="auto">
            <a:xfrm>
              <a:off x="-226" y="872"/>
              <a:ext cx="28" cy="14"/>
            </a:xfrm>
            <a:custGeom>
              <a:avLst/>
              <a:gdLst>
                <a:gd name="T0" fmla="*/ 6 w 16"/>
                <a:gd name="T1" fmla="*/ 5 h 8"/>
                <a:gd name="T2" fmla="*/ 0 w 16"/>
                <a:gd name="T3" fmla="*/ 5 h 8"/>
                <a:gd name="T4" fmla="*/ 16 w 16"/>
                <a:gd name="T5" fmla="*/ 8 h 8"/>
                <a:gd name="T6" fmla="*/ 6 w 16"/>
                <a:gd name="T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6" y="5"/>
                  </a:moveTo>
                  <a:cubicBezTo>
                    <a:pt x="4" y="5"/>
                    <a:pt x="2" y="5"/>
                    <a:pt x="0" y="5"/>
                  </a:cubicBezTo>
                  <a:cubicBezTo>
                    <a:pt x="6" y="8"/>
                    <a:pt x="9" y="8"/>
                    <a:pt x="16" y="8"/>
                  </a:cubicBezTo>
                  <a:cubicBezTo>
                    <a:pt x="12" y="0"/>
                    <a:pt x="11" y="5"/>
                    <a:pt x="6" y="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4" name="Freeform 174"/>
            <p:cNvSpPr>
              <a:spLocks/>
            </p:cNvSpPr>
            <p:nvPr/>
          </p:nvSpPr>
          <p:spPr bwMode="auto">
            <a:xfrm>
              <a:off x="-22" y="1742"/>
              <a:ext cx="14" cy="19"/>
            </a:xfrm>
            <a:custGeom>
              <a:avLst/>
              <a:gdLst>
                <a:gd name="T0" fmla="*/ 8 w 8"/>
                <a:gd name="T1" fmla="*/ 3 h 11"/>
                <a:gd name="T2" fmla="*/ 0 w 8"/>
                <a:gd name="T3" fmla="*/ 0 h 11"/>
                <a:gd name="T4" fmla="*/ 8 w 8"/>
                <a:gd name="T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1">
                  <a:moveTo>
                    <a:pt x="8" y="3"/>
                  </a:moveTo>
                  <a:cubicBezTo>
                    <a:pt x="5" y="2"/>
                    <a:pt x="2" y="1"/>
                    <a:pt x="0" y="0"/>
                  </a:cubicBezTo>
                  <a:cubicBezTo>
                    <a:pt x="0" y="11"/>
                    <a:pt x="3" y="5"/>
                    <a:pt x="8" y="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5" name="Freeform 175"/>
            <p:cNvSpPr>
              <a:spLocks/>
            </p:cNvSpPr>
            <p:nvPr/>
          </p:nvSpPr>
          <p:spPr bwMode="auto">
            <a:xfrm>
              <a:off x="-35" y="1722"/>
              <a:ext cx="9" cy="4"/>
            </a:xfrm>
            <a:custGeom>
              <a:avLst/>
              <a:gdLst>
                <a:gd name="T0" fmla="*/ 5 w 5"/>
                <a:gd name="T1" fmla="*/ 2 h 2"/>
                <a:gd name="T2" fmla="*/ 0 w 5"/>
                <a:gd name="T3" fmla="*/ 0 h 2"/>
                <a:gd name="T4" fmla="*/ 5 w 5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3" y="1"/>
                    <a:pt x="2" y="1"/>
                    <a:pt x="0" y="0"/>
                  </a:cubicBezTo>
                  <a:cubicBezTo>
                    <a:pt x="1" y="2"/>
                    <a:pt x="3" y="2"/>
                    <a:pt x="5" y="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6" name="Freeform 176"/>
            <p:cNvSpPr>
              <a:spLocks/>
            </p:cNvSpPr>
            <p:nvPr/>
          </p:nvSpPr>
          <p:spPr bwMode="auto">
            <a:xfrm>
              <a:off x="-51" y="1715"/>
              <a:ext cx="13" cy="9"/>
            </a:xfrm>
            <a:custGeom>
              <a:avLst/>
              <a:gdLst>
                <a:gd name="T0" fmla="*/ 7 w 7"/>
                <a:gd name="T1" fmla="*/ 0 h 5"/>
                <a:gd name="T2" fmla="*/ 0 w 7"/>
                <a:gd name="T3" fmla="*/ 0 h 5"/>
                <a:gd name="T4" fmla="*/ 7 w 7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cubicBezTo>
                    <a:pt x="5" y="0"/>
                    <a:pt x="3" y="0"/>
                    <a:pt x="0" y="0"/>
                  </a:cubicBezTo>
                  <a:cubicBezTo>
                    <a:pt x="3" y="5"/>
                    <a:pt x="3" y="1"/>
                    <a:pt x="7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7" name="Freeform 177"/>
            <p:cNvSpPr>
              <a:spLocks/>
            </p:cNvSpPr>
            <p:nvPr/>
          </p:nvSpPr>
          <p:spPr bwMode="auto">
            <a:xfrm>
              <a:off x="-65" y="1703"/>
              <a:ext cx="11" cy="10"/>
            </a:xfrm>
            <a:custGeom>
              <a:avLst/>
              <a:gdLst>
                <a:gd name="T0" fmla="*/ 2 w 6"/>
                <a:gd name="T1" fmla="*/ 4 h 6"/>
                <a:gd name="T2" fmla="*/ 5 w 6"/>
                <a:gd name="T3" fmla="*/ 5 h 6"/>
                <a:gd name="T4" fmla="*/ 2 w 6"/>
                <a:gd name="T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2" y="4"/>
                  </a:moveTo>
                  <a:cubicBezTo>
                    <a:pt x="2" y="3"/>
                    <a:pt x="0" y="6"/>
                    <a:pt x="5" y="5"/>
                  </a:cubicBezTo>
                  <a:cubicBezTo>
                    <a:pt x="6" y="0"/>
                    <a:pt x="4" y="5"/>
                    <a:pt x="2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78" name="Freeform 178"/>
            <p:cNvSpPr>
              <a:spLocks/>
            </p:cNvSpPr>
            <p:nvPr/>
          </p:nvSpPr>
          <p:spPr bwMode="auto">
            <a:xfrm>
              <a:off x="-90" y="1690"/>
              <a:ext cx="9" cy="16"/>
            </a:xfrm>
            <a:custGeom>
              <a:avLst/>
              <a:gdLst>
                <a:gd name="T0" fmla="*/ 0 w 5"/>
                <a:gd name="T1" fmla="*/ 4 h 9"/>
                <a:gd name="T2" fmla="*/ 5 w 5"/>
                <a:gd name="T3" fmla="*/ 4 h 9"/>
                <a:gd name="T4" fmla="*/ 0 w 5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9">
                  <a:moveTo>
                    <a:pt x="0" y="4"/>
                  </a:moveTo>
                  <a:cubicBezTo>
                    <a:pt x="4" y="9"/>
                    <a:pt x="4" y="4"/>
                    <a:pt x="5" y="4"/>
                  </a:cubicBezTo>
                  <a:cubicBezTo>
                    <a:pt x="2" y="5"/>
                    <a:pt x="3" y="0"/>
                    <a:pt x="0" y="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</p:grpSp>
      <p:sp>
        <p:nvSpPr>
          <p:cNvPr id="207" name="Oval 206">
            <a:extLst>
              <a:ext uri="{FF2B5EF4-FFF2-40B4-BE49-F238E27FC236}">
                <a16:creationId xmlns:a16="http://schemas.microsoft.com/office/drawing/2014/main" id="{7F858785-7ACB-4FF8-A9D7-9F2E68CBB477}"/>
              </a:ext>
            </a:extLst>
          </p:cNvPr>
          <p:cNvSpPr/>
          <p:nvPr/>
        </p:nvSpPr>
        <p:spPr>
          <a:xfrm>
            <a:off x="2389727" y="3583104"/>
            <a:ext cx="1584444" cy="1584444"/>
          </a:xfrm>
          <a:prstGeom prst="ellipse">
            <a:avLst/>
          </a:prstGeom>
          <a:solidFill>
            <a:schemeClr val="accent4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3200" dirty="0">
                <a:solidFill>
                  <a:schemeClr val="tx2"/>
                </a:solidFill>
              </a:rPr>
              <a:t>$40b</a:t>
            </a:r>
          </a:p>
          <a:p>
            <a:pPr algn="ctr"/>
            <a:r>
              <a:rPr lang="en-US" sz="1400" dirty="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345B1673-E4AD-44B3-8566-15BD06BB17DA}"/>
              </a:ext>
            </a:extLst>
          </p:cNvPr>
          <p:cNvSpPr/>
          <p:nvPr/>
        </p:nvSpPr>
        <p:spPr>
          <a:xfrm>
            <a:off x="7472648" y="3142160"/>
            <a:ext cx="1920481" cy="1920481"/>
          </a:xfrm>
          <a:prstGeom prst="ellipse">
            <a:avLst/>
          </a:prstGeom>
          <a:solidFill>
            <a:schemeClr val="accent3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2933" dirty="0">
                <a:solidFill>
                  <a:srgbClr val="FFFFFF"/>
                </a:solidFill>
              </a:rPr>
              <a:t>$50b</a:t>
            </a:r>
          </a:p>
          <a:p>
            <a:pPr algn="ctr"/>
            <a:r>
              <a:rPr lang="en-US" sz="1600" dirty="0">
                <a:solidFill>
                  <a:srgbClr val="FFFFFF"/>
                </a:solidFill>
              </a:rPr>
              <a:t>Lorem ipsum</a:t>
            </a: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7D3FDF0D-CE0A-41D0-8C36-0B81DBDD9FB7}"/>
              </a:ext>
            </a:extLst>
          </p:cNvPr>
          <p:cNvSpPr/>
          <p:nvPr/>
        </p:nvSpPr>
        <p:spPr>
          <a:xfrm>
            <a:off x="319166" y="542319"/>
            <a:ext cx="2420185" cy="2420185"/>
          </a:xfrm>
          <a:prstGeom prst="ellipse">
            <a:avLst/>
          </a:prstGeom>
          <a:solidFill>
            <a:schemeClr val="accent5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3200" dirty="0">
                <a:solidFill>
                  <a:srgbClr val="FFFFFF"/>
                </a:solidFill>
              </a:rPr>
              <a:t>$63b</a:t>
            </a:r>
          </a:p>
          <a:p>
            <a:pPr algn="ctr"/>
            <a:r>
              <a:rPr lang="en-US" sz="1600" dirty="0">
                <a:solidFill>
                  <a:srgbClr val="FFFFFF"/>
                </a:solidFill>
              </a:rPr>
              <a:t>Lorem ipsum</a:t>
            </a:r>
          </a:p>
        </p:txBody>
      </p:sp>
      <p:sp>
        <p:nvSpPr>
          <p:cNvPr id="210" name="Oval 209">
            <a:extLst>
              <a:ext uri="{FF2B5EF4-FFF2-40B4-BE49-F238E27FC236}">
                <a16:creationId xmlns:a16="http://schemas.microsoft.com/office/drawing/2014/main" id="{C9FCAB6E-B9AD-4F94-B101-ED275F7F9D4E}"/>
              </a:ext>
            </a:extLst>
          </p:cNvPr>
          <p:cNvSpPr/>
          <p:nvPr/>
        </p:nvSpPr>
        <p:spPr>
          <a:xfrm>
            <a:off x="5819296" y="-192887"/>
            <a:ext cx="3168353" cy="3168353"/>
          </a:xfrm>
          <a:prstGeom prst="ellipse">
            <a:avLst/>
          </a:prstGeom>
          <a:solidFill>
            <a:schemeClr val="bg2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4267" dirty="0">
                <a:solidFill>
                  <a:schemeClr val="tx2"/>
                </a:solidFill>
              </a:rPr>
              <a:t>$80b</a:t>
            </a:r>
          </a:p>
          <a:p>
            <a:pPr algn="ctr"/>
            <a:r>
              <a:rPr lang="en-US" sz="1600" dirty="0">
                <a:solidFill>
                  <a:schemeClr val="tx2"/>
                </a:solidFill>
              </a:rPr>
              <a:t>Lorem ipsum</a:t>
            </a:r>
          </a:p>
        </p:txBody>
      </p:sp>
      <p:sp useBgFill="1">
        <p:nvSpPr>
          <p:cNvPr id="211" name="Oval 210">
            <a:extLst>
              <a:ext uri="{FF2B5EF4-FFF2-40B4-BE49-F238E27FC236}">
                <a16:creationId xmlns:a16="http://schemas.microsoft.com/office/drawing/2014/main" id="{0ED799C2-3305-4A05-AA51-DCD33498DE18}"/>
              </a:ext>
            </a:extLst>
          </p:cNvPr>
          <p:cNvSpPr/>
          <p:nvPr/>
        </p:nvSpPr>
        <p:spPr>
          <a:xfrm>
            <a:off x="3469231" y="4834077"/>
            <a:ext cx="314824" cy="314824"/>
          </a:xfrm>
          <a:prstGeom prst="ellipse">
            <a:avLst/>
          </a:prstGeom>
          <a:ln w="38100"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12" name="Oval 211">
            <a:extLst>
              <a:ext uri="{FF2B5EF4-FFF2-40B4-BE49-F238E27FC236}">
                <a16:creationId xmlns:a16="http://schemas.microsoft.com/office/drawing/2014/main" id="{AFFE677E-608A-4ECF-9247-B9B2C72F9F5E}"/>
              </a:ext>
            </a:extLst>
          </p:cNvPr>
          <p:cNvSpPr/>
          <p:nvPr/>
        </p:nvSpPr>
        <p:spPr>
          <a:xfrm>
            <a:off x="8033627" y="3012502"/>
            <a:ext cx="314824" cy="314824"/>
          </a:xfrm>
          <a:prstGeom prst="ellipse">
            <a:avLst/>
          </a:prstGeom>
          <a:ln w="381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 useBgFill="1">
        <p:nvSpPr>
          <p:cNvPr id="213" name="Oval 212">
            <a:extLst>
              <a:ext uri="{FF2B5EF4-FFF2-40B4-BE49-F238E27FC236}">
                <a16:creationId xmlns:a16="http://schemas.microsoft.com/office/drawing/2014/main" id="{9D8BA99E-827D-4D28-BDA3-36FD4CC0EB35}"/>
              </a:ext>
            </a:extLst>
          </p:cNvPr>
          <p:cNvSpPr/>
          <p:nvPr/>
        </p:nvSpPr>
        <p:spPr>
          <a:xfrm>
            <a:off x="2369291" y="2250451"/>
            <a:ext cx="314824" cy="314824"/>
          </a:xfrm>
          <a:prstGeom prst="ellipse">
            <a:avLst/>
          </a:prstGeom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 useBgFill="1">
        <p:nvSpPr>
          <p:cNvPr id="214" name="Oval 213">
            <a:extLst>
              <a:ext uri="{FF2B5EF4-FFF2-40B4-BE49-F238E27FC236}">
                <a16:creationId xmlns:a16="http://schemas.microsoft.com/office/drawing/2014/main" id="{0648E173-8B00-43FB-8C5E-FF6F304D486B}"/>
              </a:ext>
            </a:extLst>
          </p:cNvPr>
          <p:cNvSpPr/>
          <p:nvPr/>
        </p:nvSpPr>
        <p:spPr>
          <a:xfrm>
            <a:off x="5831959" y="1907665"/>
            <a:ext cx="314824" cy="314824"/>
          </a:xfrm>
          <a:prstGeom prst="ellipse">
            <a:avLst/>
          </a:prstGeom>
          <a:ln w="38100"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79" name="Footer Placeholder 178">
            <a:extLst>
              <a:ext uri="{FF2B5EF4-FFF2-40B4-BE49-F238E27FC236}">
                <a16:creationId xmlns:a16="http://schemas.microsoft.com/office/drawing/2014/main" id="{E0FBA5C0-52E4-44C2-B682-30A04016F2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180" name="Slide Number Placeholder 179">
            <a:extLst>
              <a:ext uri="{FF2B5EF4-FFF2-40B4-BE49-F238E27FC236}">
                <a16:creationId xmlns:a16="http://schemas.microsoft.com/office/drawing/2014/main" id="{2C790654-7019-4135-AEC3-540BCBCAD8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0977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F3A59F-C896-93CD-86FB-9338DFD9A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AD9B258-9A54-8D07-AE23-C73CFE9424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7200" dirty="0"/>
              <a:t>Thank you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AD4B31-AE87-E838-B195-EE6A7F632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0BE7F0-DCF1-804F-0E8F-851E99E06D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03383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28928D-917F-4E17-9E81-F576FAFD7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70D8E7-52AE-40CD-8057-3B3D5E7F8C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371921-71AE-44ED-AB2A-9D0C9535B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648" y="2123596"/>
            <a:ext cx="5750052" cy="2149890"/>
          </a:xfrm>
        </p:spPr>
        <p:txBody>
          <a:bodyPr/>
          <a:lstStyle/>
          <a:p>
            <a:r>
              <a:rPr lang="en-US" dirty="0"/>
              <a:t>Graphs and charts</a:t>
            </a:r>
          </a:p>
        </p:txBody>
      </p:sp>
    </p:spTree>
    <p:extLst>
      <p:ext uri="{BB962C8B-B14F-4D97-AF65-F5344CB8AC3E}">
        <p14:creationId xmlns:p14="http://schemas.microsoft.com/office/powerpoint/2010/main" val="1639090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20024C6-A2FF-343F-DCE3-03E7EE825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</p:spPr>
        <p:txBody>
          <a:bodyPr/>
          <a:lstStyle/>
          <a:p>
            <a:r>
              <a:rPr lang="en-US" dirty="0"/>
              <a:t>Graphs and char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048616-0FD6-0434-C19F-58EEFCE6F6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2500" y="6496528"/>
            <a:ext cx="469900" cy="155448"/>
          </a:xfrm>
        </p:spPr>
        <p:txBody>
          <a:bodyPr/>
          <a:lstStyle/>
          <a:p>
            <a:fld id="{D56C3BBE-A286-8A42-8D1F-96885F6DDE0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2A7A6F-5903-F293-20BC-AC95C90B88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7288" y="6493290"/>
            <a:ext cx="4994286" cy="158686"/>
          </a:xfrm>
        </p:spPr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059897D-0E3E-591F-B8EA-8E383366FB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599" y="1371600"/>
            <a:ext cx="3334251" cy="48768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en we create graphs and charts we primarily use our </a:t>
            </a:r>
            <a:br>
              <a:rPr lang="en-US" dirty="0"/>
            </a:br>
            <a:r>
              <a:rPr lang="en-US" b="1" dirty="0"/>
              <a:t>teal tints </a:t>
            </a:r>
            <a:r>
              <a:rPr lang="en-US" dirty="0"/>
              <a:t>and add </a:t>
            </a:r>
            <a:r>
              <a:rPr lang="en-US" b="1" dirty="0"/>
              <a:t>accent colors </a:t>
            </a:r>
            <a:r>
              <a:rPr lang="en-US" dirty="0"/>
              <a:t>from the secondary palette when needed.</a:t>
            </a:r>
          </a:p>
          <a:p>
            <a:pPr marL="0" indent="0">
              <a:buNone/>
            </a:pPr>
            <a:r>
              <a:rPr lang="en-US" dirty="0"/>
              <a:t>Our charts are </a:t>
            </a:r>
            <a:r>
              <a:rPr lang="en-US" b="1" dirty="0"/>
              <a:t>two dimensional </a:t>
            </a:r>
            <a:r>
              <a:rPr lang="en-US" dirty="0"/>
              <a:t>with </a:t>
            </a:r>
            <a:r>
              <a:rPr lang="en-US" b="1" dirty="0"/>
              <a:t>flat colors</a:t>
            </a:r>
            <a:r>
              <a:rPr lang="en-US" dirty="0"/>
              <a:t>. When selecting chart styles, start with the </a:t>
            </a:r>
            <a:br>
              <a:rPr lang="en-US" dirty="0"/>
            </a:br>
            <a:r>
              <a:rPr lang="en-US" dirty="0"/>
              <a:t>ones that are the simplest. Monochromatic graphs are preferred, but secondary colors may be used to draw attention to important information.</a:t>
            </a:r>
          </a:p>
          <a:p>
            <a:pPr marL="0" indent="0">
              <a:buNone/>
            </a:pPr>
            <a:r>
              <a:rPr lang="en-US" b="1" dirty="0"/>
              <a:t>Avoid</a:t>
            </a:r>
            <a:r>
              <a:rPr lang="en-US" dirty="0"/>
              <a:t> using several different secondary colors in the </a:t>
            </a:r>
            <a:br>
              <a:rPr lang="en-US" dirty="0"/>
            </a:br>
            <a:r>
              <a:rPr lang="en-US" dirty="0"/>
              <a:t>same chart.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pSp>
        <p:nvGrpSpPr>
          <p:cNvPr id="100" name="object 13">
            <a:extLst>
              <a:ext uri="{FF2B5EF4-FFF2-40B4-BE49-F238E27FC236}">
                <a16:creationId xmlns:a16="http://schemas.microsoft.com/office/drawing/2014/main" id="{F75A5A15-3B79-4AF6-5A69-270DB19F200A}"/>
              </a:ext>
            </a:extLst>
          </p:cNvPr>
          <p:cNvGrpSpPr/>
          <p:nvPr/>
        </p:nvGrpSpPr>
        <p:grpSpPr>
          <a:xfrm>
            <a:off x="4318125" y="3746214"/>
            <a:ext cx="3556071" cy="2413200"/>
            <a:chOff x="7120201" y="6701366"/>
            <a:chExt cx="5864225" cy="3979545"/>
          </a:xfrm>
        </p:grpSpPr>
        <p:sp>
          <p:nvSpPr>
            <p:cNvPr id="101" name="object 14">
              <a:extLst>
                <a:ext uri="{FF2B5EF4-FFF2-40B4-BE49-F238E27FC236}">
                  <a16:creationId xmlns:a16="http://schemas.microsoft.com/office/drawing/2014/main" id="{1D0738F2-B5E0-1584-8693-7134BE6564C9}"/>
                </a:ext>
              </a:extLst>
            </p:cNvPr>
            <p:cNvSpPr/>
            <p:nvPr/>
          </p:nvSpPr>
          <p:spPr>
            <a:xfrm>
              <a:off x="7120201" y="6701366"/>
              <a:ext cx="5864225" cy="3979545"/>
            </a:xfrm>
            <a:custGeom>
              <a:avLst/>
              <a:gdLst/>
              <a:ahLst/>
              <a:cxnLst/>
              <a:rect l="l" t="t" r="r" b="b"/>
              <a:pathLst>
                <a:path w="5864225" h="3979545">
                  <a:moveTo>
                    <a:pt x="5863695" y="0"/>
                  </a:moveTo>
                  <a:lnTo>
                    <a:pt x="0" y="0"/>
                  </a:lnTo>
                  <a:lnTo>
                    <a:pt x="0" y="3978936"/>
                  </a:lnTo>
                  <a:lnTo>
                    <a:pt x="5863695" y="3978936"/>
                  </a:lnTo>
                  <a:lnTo>
                    <a:pt x="5863695" y="0"/>
                  </a:lnTo>
                  <a:close/>
                </a:path>
              </a:pathLst>
            </a:custGeom>
            <a:solidFill>
              <a:srgbClr val="D1E0D7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2" name="object 15">
              <a:extLst>
                <a:ext uri="{FF2B5EF4-FFF2-40B4-BE49-F238E27FC236}">
                  <a16:creationId xmlns:a16="http://schemas.microsoft.com/office/drawing/2014/main" id="{4BA877FC-922D-B18C-1C94-C44BFC25D4F9}"/>
                </a:ext>
              </a:extLst>
            </p:cNvPr>
            <p:cNvSpPr/>
            <p:nvPr/>
          </p:nvSpPr>
          <p:spPr>
            <a:xfrm>
              <a:off x="9811460" y="7401788"/>
              <a:ext cx="1357630" cy="1427480"/>
            </a:xfrm>
            <a:custGeom>
              <a:avLst/>
              <a:gdLst/>
              <a:ahLst/>
              <a:cxnLst/>
              <a:rect l="l" t="t" r="r" b="b"/>
              <a:pathLst>
                <a:path w="1357629" h="1427479">
                  <a:moveTo>
                    <a:pt x="1357068" y="0"/>
                  </a:moveTo>
                  <a:lnTo>
                    <a:pt x="1307505" y="799"/>
                  </a:lnTo>
                  <a:lnTo>
                    <a:pt x="1258378" y="3185"/>
                  </a:lnTo>
                  <a:lnTo>
                    <a:pt x="1209712" y="7139"/>
                  </a:lnTo>
                  <a:lnTo>
                    <a:pt x="1161535" y="12641"/>
                  </a:lnTo>
                  <a:lnTo>
                    <a:pt x="1113872" y="19673"/>
                  </a:lnTo>
                  <a:lnTo>
                    <a:pt x="1066749" y="28216"/>
                  </a:lnTo>
                  <a:lnTo>
                    <a:pt x="1020193" y="38250"/>
                  </a:lnTo>
                  <a:lnTo>
                    <a:pt x="974228" y="49758"/>
                  </a:lnTo>
                  <a:lnTo>
                    <a:pt x="928882" y="62719"/>
                  </a:lnTo>
                  <a:lnTo>
                    <a:pt x="884181" y="77116"/>
                  </a:lnTo>
                  <a:lnTo>
                    <a:pt x="840150" y="92928"/>
                  </a:lnTo>
                  <a:lnTo>
                    <a:pt x="796816" y="110138"/>
                  </a:lnTo>
                  <a:lnTo>
                    <a:pt x="754204" y="128726"/>
                  </a:lnTo>
                  <a:lnTo>
                    <a:pt x="712341" y="148673"/>
                  </a:lnTo>
                  <a:lnTo>
                    <a:pt x="671253" y="169961"/>
                  </a:lnTo>
                  <a:lnTo>
                    <a:pt x="630965" y="192570"/>
                  </a:lnTo>
                  <a:lnTo>
                    <a:pt x="591505" y="216482"/>
                  </a:lnTo>
                  <a:lnTo>
                    <a:pt x="552897" y="241677"/>
                  </a:lnTo>
                  <a:lnTo>
                    <a:pt x="515168" y="268137"/>
                  </a:lnTo>
                  <a:lnTo>
                    <a:pt x="478345" y="295842"/>
                  </a:lnTo>
                  <a:lnTo>
                    <a:pt x="442452" y="324774"/>
                  </a:lnTo>
                  <a:lnTo>
                    <a:pt x="407517" y="354914"/>
                  </a:lnTo>
                  <a:lnTo>
                    <a:pt x="373565" y="386243"/>
                  </a:lnTo>
                  <a:lnTo>
                    <a:pt x="340623" y="418742"/>
                  </a:lnTo>
                  <a:lnTo>
                    <a:pt x="308715" y="452392"/>
                  </a:lnTo>
                  <a:lnTo>
                    <a:pt x="277870" y="487174"/>
                  </a:lnTo>
                  <a:lnTo>
                    <a:pt x="248111" y="523069"/>
                  </a:lnTo>
                  <a:lnTo>
                    <a:pt x="219467" y="560059"/>
                  </a:lnTo>
                  <a:lnTo>
                    <a:pt x="191962" y="598123"/>
                  </a:lnTo>
                  <a:lnTo>
                    <a:pt x="165622" y="637244"/>
                  </a:lnTo>
                  <a:lnTo>
                    <a:pt x="140474" y="677403"/>
                  </a:lnTo>
                  <a:lnTo>
                    <a:pt x="116545" y="718580"/>
                  </a:lnTo>
                  <a:lnTo>
                    <a:pt x="93859" y="760756"/>
                  </a:lnTo>
                  <a:lnTo>
                    <a:pt x="72443" y="803913"/>
                  </a:lnTo>
                  <a:lnTo>
                    <a:pt x="52323" y="848032"/>
                  </a:lnTo>
                  <a:lnTo>
                    <a:pt x="33525" y="893094"/>
                  </a:lnTo>
                  <a:lnTo>
                    <a:pt x="16075" y="939079"/>
                  </a:lnTo>
                  <a:lnTo>
                    <a:pt x="0" y="985969"/>
                  </a:lnTo>
                  <a:lnTo>
                    <a:pt x="1357068" y="1426909"/>
                  </a:lnTo>
                  <a:lnTo>
                    <a:pt x="13570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3" name="object 16">
              <a:extLst>
                <a:ext uri="{FF2B5EF4-FFF2-40B4-BE49-F238E27FC236}">
                  <a16:creationId xmlns:a16="http://schemas.microsoft.com/office/drawing/2014/main" id="{33DAB14E-BE87-9425-315B-3F37494175CC}"/>
                </a:ext>
              </a:extLst>
            </p:cNvPr>
            <p:cNvSpPr/>
            <p:nvPr/>
          </p:nvSpPr>
          <p:spPr>
            <a:xfrm>
              <a:off x="9741423" y="8387758"/>
              <a:ext cx="1427480" cy="1837055"/>
            </a:xfrm>
            <a:custGeom>
              <a:avLst/>
              <a:gdLst/>
              <a:ahLst/>
              <a:cxnLst/>
              <a:rect l="l" t="t" r="r" b="b"/>
              <a:pathLst>
                <a:path w="1427479" h="1837054">
                  <a:moveTo>
                    <a:pt x="70036" y="0"/>
                  </a:moveTo>
                  <a:lnTo>
                    <a:pt x="48735" y="71603"/>
                  </a:lnTo>
                  <a:lnTo>
                    <a:pt x="31377" y="144267"/>
                  </a:lnTo>
                  <a:lnTo>
                    <a:pt x="22162" y="191440"/>
                  </a:lnTo>
                  <a:lnTo>
                    <a:pt x="14567" y="238550"/>
                  </a:lnTo>
                  <a:lnTo>
                    <a:pt x="8572" y="285569"/>
                  </a:lnTo>
                  <a:lnTo>
                    <a:pt x="4159" y="332465"/>
                  </a:lnTo>
                  <a:lnTo>
                    <a:pt x="1308" y="379210"/>
                  </a:lnTo>
                  <a:lnTo>
                    <a:pt x="0" y="425775"/>
                  </a:lnTo>
                  <a:lnTo>
                    <a:pt x="215" y="472129"/>
                  </a:lnTo>
                  <a:lnTo>
                    <a:pt x="1935" y="518243"/>
                  </a:lnTo>
                  <a:lnTo>
                    <a:pt x="5140" y="564087"/>
                  </a:lnTo>
                  <a:lnTo>
                    <a:pt x="9812" y="609632"/>
                  </a:lnTo>
                  <a:lnTo>
                    <a:pt x="15930" y="654848"/>
                  </a:lnTo>
                  <a:lnTo>
                    <a:pt x="23475" y="699705"/>
                  </a:lnTo>
                  <a:lnTo>
                    <a:pt x="32429" y="744174"/>
                  </a:lnTo>
                  <a:lnTo>
                    <a:pt x="42772" y="788225"/>
                  </a:lnTo>
                  <a:lnTo>
                    <a:pt x="54485" y="831829"/>
                  </a:lnTo>
                  <a:lnTo>
                    <a:pt x="67548" y="874956"/>
                  </a:lnTo>
                  <a:lnTo>
                    <a:pt x="81943" y="917576"/>
                  </a:lnTo>
                  <a:lnTo>
                    <a:pt x="97650" y="959659"/>
                  </a:lnTo>
                  <a:lnTo>
                    <a:pt x="114649" y="1001177"/>
                  </a:lnTo>
                  <a:lnTo>
                    <a:pt x="132923" y="1042100"/>
                  </a:lnTo>
                  <a:lnTo>
                    <a:pt x="152450" y="1082397"/>
                  </a:lnTo>
                  <a:lnTo>
                    <a:pt x="173213" y="1122039"/>
                  </a:lnTo>
                  <a:lnTo>
                    <a:pt x="195192" y="1160998"/>
                  </a:lnTo>
                  <a:lnTo>
                    <a:pt x="218368" y="1199242"/>
                  </a:lnTo>
                  <a:lnTo>
                    <a:pt x="242721" y="1236742"/>
                  </a:lnTo>
                  <a:lnTo>
                    <a:pt x="268233" y="1273469"/>
                  </a:lnTo>
                  <a:lnTo>
                    <a:pt x="294883" y="1309394"/>
                  </a:lnTo>
                  <a:lnTo>
                    <a:pt x="322653" y="1344486"/>
                  </a:lnTo>
                  <a:lnTo>
                    <a:pt x="351524" y="1378716"/>
                  </a:lnTo>
                  <a:lnTo>
                    <a:pt x="381476" y="1412054"/>
                  </a:lnTo>
                  <a:lnTo>
                    <a:pt x="412490" y="1444471"/>
                  </a:lnTo>
                  <a:lnTo>
                    <a:pt x="444547" y="1475937"/>
                  </a:lnTo>
                  <a:lnTo>
                    <a:pt x="477628" y="1506422"/>
                  </a:lnTo>
                  <a:lnTo>
                    <a:pt x="511713" y="1535897"/>
                  </a:lnTo>
                  <a:lnTo>
                    <a:pt x="546783" y="1564333"/>
                  </a:lnTo>
                  <a:lnTo>
                    <a:pt x="582819" y="1591699"/>
                  </a:lnTo>
                  <a:lnTo>
                    <a:pt x="619801" y="1617966"/>
                  </a:lnTo>
                  <a:lnTo>
                    <a:pt x="657712" y="1643104"/>
                  </a:lnTo>
                  <a:lnTo>
                    <a:pt x="696530" y="1667085"/>
                  </a:lnTo>
                  <a:lnTo>
                    <a:pt x="736237" y="1689877"/>
                  </a:lnTo>
                  <a:lnTo>
                    <a:pt x="776814" y="1711452"/>
                  </a:lnTo>
                  <a:lnTo>
                    <a:pt x="818242" y="1731779"/>
                  </a:lnTo>
                  <a:lnTo>
                    <a:pt x="860500" y="1750830"/>
                  </a:lnTo>
                  <a:lnTo>
                    <a:pt x="903571" y="1768575"/>
                  </a:lnTo>
                  <a:lnTo>
                    <a:pt x="947435" y="1784983"/>
                  </a:lnTo>
                  <a:lnTo>
                    <a:pt x="992072" y="1800027"/>
                  </a:lnTo>
                  <a:lnTo>
                    <a:pt x="1037464" y="1813674"/>
                  </a:lnTo>
                  <a:lnTo>
                    <a:pt x="1083590" y="1825897"/>
                  </a:lnTo>
                  <a:lnTo>
                    <a:pt x="1130433" y="1836666"/>
                  </a:lnTo>
                  <a:lnTo>
                    <a:pt x="1427104" y="440939"/>
                  </a:lnTo>
                  <a:lnTo>
                    <a:pt x="70036" y="0"/>
                  </a:lnTo>
                  <a:close/>
                </a:path>
              </a:pathLst>
            </a:custGeom>
            <a:solidFill>
              <a:srgbClr val="9AB9AD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4" name="object 17">
              <a:extLst>
                <a:ext uri="{FF2B5EF4-FFF2-40B4-BE49-F238E27FC236}">
                  <a16:creationId xmlns:a16="http://schemas.microsoft.com/office/drawing/2014/main" id="{51AC19C6-1EA5-75C5-9E23-DA1091B546D6}"/>
                </a:ext>
              </a:extLst>
            </p:cNvPr>
            <p:cNvSpPr/>
            <p:nvPr/>
          </p:nvSpPr>
          <p:spPr>
            <a:xfrm>
              <a:off x="10871857" y="8387758"/>
              <a:ext cx="1724025" cy="1870075"/>
            </a:xfrm>
            <a:custGeom>
              <a:avLst/>
              <a:gdLst/>
              <a:ahLst/>
              <a:cxnLst/>
              <a:rect l="l" t="t" r="r" b="b"/>
              <a:pathLst>
                <a:path w="1724025" h="1870075">
                  <a:moveTo>
                    <a:pt x="1653740" y="0"/>
                  </a:moveTo>
                  <a:lnTo>
                    <a:pt x="296671" y="440939"/>
                  </a:lnTo>
                  <a:lnTo>
                    <a:pt x="0" y="1836666"/>
                  </a:lnTo>
                  <a:lnTo>
                    <a:pt x="51013" y="1846689"/>
                  </a:lnTo>
                  <a:lnTo>
                    <a:pt x="101428" y="1854929"/>
                  </a:lnTo>
                  <a:lnTo>
                    <a:pt x="151321" y="1861383"/>
                  </a:lnTo>
                  <a:lnTo>
                    <a:pt x="200771" y="1866047"/>
                  </a:lnTo>
                  <a:lnTo>
                    <a:pt x="249855" y="1868916"/>
                  </a:lnTo>
                  <a:lnTo>
                    <a:pt x="298650" y="1869986"/>
                  </a:lnTo>
                  <a:lnTo>
                    <a:pt x="347234" y="1869253"/>
                  </a:lnTo>
                  <a:lnTo>
                    <a:pt x="395685" y="1866714"/>
                  </a:lnTo>
                  <a:lnTo>
                    <a:pt x="444079" y="1862364"/>
                  </a:lnTo>
                  <a:lnTo>
                    <a:pt x="492495" y="1856199"/>
                  </a:lnTo>
                  <a:lnTo>
                    <a:pt x="541010" y="1848215"/>
                  </a:lnTo>
                  <a:lnTo>
                    <a:pt x="589701" y="1838407"/>
                  </a:lnTo>
                  <a:lnTo>
                    <a:pt x="638647" y="1826773"/>
                  </a:lnTo>
                  <a:lnTo>
                    <a:pt x="687924" y="1813308"/>
                  </a:lnTo>
                  <a:lnTo>
                    <a:pt x="737611" y="1798008"/>
                  </a:lnTo>
                  <a:lnTo>
                    <a:pt x="783071" y="1782402"/>
                  </a:lnTo>
                  <a:lnTo>
                    <a:pt x="827667" y="1765424"/>
                  </a:lnTo>
                  <a:lnTo>
                    <a:pt x="871383" y="1747107"/>
                  </a:lnTo>
                  <a:lnTo>
                    <a:pt x="914204" y="1727480"/>
                  </a:lnTo>
                  <a:lnTo>
                    <a:pt x="956112" y="1706577"/>
                  </a:lnTo>
                  <a:lnTo>
                    <a:pt x="997092" y="1684427"/>
                  </a:lnTo>
                  <a:lnTo>
                    <a:pt x="1037128" y="1661064"/>
                  </a:lnTo>
                  <a:lnTo>
                    <a:pt x="1076204" y="1636517"/>
                  </a:lnTo>
                  <a:lnTo>
                    <a:pt x="1114303" y="1610819"/>
                  </a:lnTo>
                  <a:lnTo>
                    <a:pt x="1151411" y="1584001"/>
                  </a:lnTo>
                  <a:lnTo>
                    <a:pt x="1187510" y="1556095"/>
                  </a:lnTo>
                  <a:lnTo>
                    <a:pt x="1222585" y="1527132"/>
                  </a:lnTo>
                  <a:lnTo>
                    <a:pt x="1256619" y="1497143"/>
                  </a:lnTo>
                  <a:lnTo>
                    <a:pt x="1289597" y="1466160"/>
                  </a:lnTo>
                  <a:lnTo>
                    <a:pt x="1321503" y="1434215"/>
                  </a:lnTo>
                  <a:lnTo>
                    <a:pt x="1352320" y="1401338"/>
                  </a:lnTo>
                  <a:lnTo>
                    <a:pt x="1382033" y="1367562"/>
                  </a:lnTo>
                  <a:lnTo>
                    <a:pt x="1410626" y="1332918"/>
                  </a:lnTo>
                  <a:lnTo>
                    <a:pt x="1438081" y="1297436"/>
                  </a:lnTo>
                  <a:lnTo>
                    <a:pt x="1464385" y="1261150"/>
                  </a:lnTo>
                  <a:lnTo>
                    <a:pt x="1489519" y="1224090"/>
                  </a:lnTo>
                  <a:lnTo>
                    <a:pt x="1513469" y="1186287"/>
                  </a:lnTo>
                  <a:lnTo>
                    <a:pt x="1536219" y="1147774"/>
                  </a:lnTo>
                  <a:lnTo>
                    <a:pt x="1557751" y="1108581"/>
                  </a:lnTo>
                  <a:lnTo>
                    <a:pt x="1578051" y="1068741"/>
                  </a:lnTo>
                  <a:lnTo>
                    <a:pt x="1597102" y="1028283"/>
                  </a:lnTo>
                  <a:lnTo>
                    <a:pt x="1614889" y="987241"/>
                  </a:lnTo>
                  <a:lnTo>
                    <a:pt x="1631394" y="945646"/>
                  </a:lnTo>
                  <a:lnTo>
                    <a:pt x="1646603" y="903528"/>
                  </a:lnTo>
                  <a:lnTo>
                    <a:pt x="1660499" y="860920"/>
                  </a:lnTo>
                  <a:lnTo>
                    <a:pt x="1673065" y="817852"/>
                  </a:lnTo>
                  <a:lnTo>
                    <a:pt x="1684287" y="774357"/>
                  </a:lnTo>
                  <a:lnTo>
                    <a:pt x="1694148" y="730466"/>
                  </a:lnTo>
                  <a:lnTo>
                    <a:pt x="1702632" y="686210"/>
                  </a:lnTo>
                  <a:lnTo>
                    <a:pt x="1709723" y="641621"/>
                  </a:lnTo>
                  <a:lnTo>
                    <a:pt x="1715404" y="596729"/>
                  </a:lnTo>
                  <a:lnTo>
                    <a:pt x="1719660" y="551568"/>
                  </a:lnTo>
                  <a:lnTo>
                    <a:pt x="1722476" y="506168"/>
                  </a:lnTo>
                  <a:lnTo>
                    <a:pt x="1723834" y="460560"/>
                  </a:lnTo>
                  <a:lnTo>
                    <a:pt x="1723719" y="414777"/>
                  </a:lnTo>
                  <a:lnTo>
                    <a:pt x="1722114" y="368849"/>
                  </a:lnTo>
                  <a:lnTo>
                    <a:pt x="1719004" y="322808"/>
                  </a:lnTo>
                  <a:lnTo>
                    <a:pt x="1714373" y="276685"/>
                  </a:lnTo>
                  <a:lnTo>
                    <a:pt x="1708204" y="230512"/>
                  </a:lnTo>
                  <a:lnTo>
                    <a:pt x="1700482" y="184321"/>
                  </a:lnTo>
                  <a:lnTo>
                    <a:pt x="1691191" y="138143"/>
                  </a:lnTo>
                  <a:lnTo>
                    <a:pt x="1680314" y="92009"/>
                  </a:lnTo>
                  <a:lnTo>
                    <a:pt x="1667836" y="45950"/>
                  </a:lnTo>
                  <a:lnTo>
                    <a:pt x="1653740" y="0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5" name="object 18">
              <a:extLst>
                <a:ext uri="{FF2B5EF4-FFF2-40B4-BE49-F238E27FC236}">
                  <a16:creationId xmlns:a16="http://schemas.microsoft.com/office/drawing/2014/main" id="{435E0DE5-4327-B07D-BB59-6BB6388C959A}"/>
                </a:ext>
              </a:extLst>
            </p:cNvPr>
            <p:cNvSpPr/>
            <p:nvPr/>
          </p:nvSpPr>
          <p:spPr>
            <a:xfrm>
              <a:off x="11168528" y="7401788"/>
              <a:ext cx="1357630" cy="1427480"/>
            </a:xfrm>
            <a:custGeom>
              <a:avLst/>
              <a:gdLst/>
              <a:ahLst/>
              <a:cxnLst/>
              <a:rect l="l" t="t" r="r" b="b"/>
              <a:pathLst>
                <a:path w="1357629" h="1427479">
                  <a:moveTo>
                    <a:pt x="0" y="0"/>
                  </a:moveTo>
                  <a:lnTo>
                    <a:pt x="0" y="1426909"/>
                  </a:lnTo>
                  <a:lnTo>
                    <a:pt x="1357068" y="985969"/>
                  </a:lnTo>
                  <a:lnTo>
                    <a:pt x="1340993" y="939079"/>
                  </a:lnTo>
                  <a:lnTo>
                    <a:pt x="1323543" y="893094"/>
                  </a:lnTo>
                  <a:lnTo>
                    <a:pt x="1304745" y="848032"/>
                  </a:lnTo>
                  <a:lnTo>
                    <a:pt x="1284625" y="803913"/>
                  </a:lnTo>
                  <a:lnTo>
                    <a:pt x="1263209" y="760756"/>
                  </a:lnTo>
                  <a:lnTo>
                    <a:pt x="1240523" y="718580"/>
                  </a:lnTo>
                  <a:lnTo>
                    <a:pt x="1216593" y="677403"/>
                  </a:lnTo>
                  <a:lnTo>
                    <a:pt x="1191446" y="637244"/>
                  </a:lnTo>
                  <a:lnTo>
                    <a:pt x="1165106" y="598123"/>
                  </a:lnTo>
                  <a:lnTo>
                    <a:pt x="1137601" y="560059"/>
                  </a:lnTo>
                  <a:lnTo>
                    <a:pt x="1108956" y="523069"/>
                  </a:lnTo>
                  <a:lnTo>
                    <a:pt x="1079198" y="487174"/>
                  </a:lnTo>
                  <a:lnTo>
                    <a:pt x="1048352" y="452392"/>
                  </a:lnTo>
                  <a:lnTo>
                    <a:pt x="1016445" y="418742"/>
                  </a:lnTo>
                  <a:lnTo>
                    <a:pt x="983502" y="386243"/>
                  </a:lnTo>
                  <a:lnTo>
                    <a:pt x="949550" y="354914"/>
                  </a:lnTo>
                  <a:lnTo>
                    <a:pt x="914615" y="324774"/>
                  </a:lnTo>
                  <a:lnTo>
                    <a:pt x="878723" y="295842"/>
                  </a:lnTo>
                  <a:lnTo>
                    <a:pt x="841899" y="268137"/>
                  </a:lnTo>
                  <a:lnTo>
                    <a:pt x="804171" y="241677"/>
                  </a:lnTo>
                  <a:lnTo>
                    <a:pt x="765563" y="216482"/>
                  </a:lnTo>
                  <a:lnTo>
                    <a:pt x="726102" y="192570"/>
                  </a:lnTo>
                  <a:lnTo>
                    <a:pt x="685815" y="169961"/>
                  </a:lnTo>
                  <a:lnTo>
                    <a:pt x="644727" y="148673"/>
                  </a:lnTo>
                  <a:lnTo>
                    <a:pt x="602864" y="128726"/>
                  </a:lnTo>
                  <a:lnTo>
                    <a:pt x="560252" y="110138"/>
                  </a:lnTo>
                  <a:lnTo>
                    <a:pt x="516918" y="92928"/>
                  </a:lnTo>
                  <a:lnTo>
                    <a:pt x="472887" y="77116"/>
                  </a:lnTo>
                  <a:lnTo>
                    <a:pt x="428185" y="62719"/>
                  </a:lnTo>
                  <a:lnTo>
                    <a:pt x="382839" y="49758"/>
                  </a:lnTo>
                  <a:lnTo>
                    <a:pt x="336875" y="38250"/>
                  </a:lnTo>
                  <a:lnTo>
                    <a:pt x="290318" y="28216"/>
                  </a:lnTo>
                  <a:lnTo>
                    <a:pt x="243196" y="19673"/>
                  </a:lnTo>
                  <a:lnTo>
                    <a:pt x="195533" y="12641"/>
                  </a:lnTo>
                  <a:lnTo>
                    <a:pt x="147355" y="7139"/>
                  </a:lnTo>
                  <a:lnTo>
                    <a:pt x="98690" y="3185"/>
                  </a:lnTo>
                  <a:lnTo>
                    <a:pt x="49563" y="7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3322B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6" name="object 19">
              <a:extLst>
                <a:ext uri="{FF2B5EF4-FFF2-40B4-BE49-F238E27FC236}">
                  <a16:creationId xmlns:a16="http://schemas.microsoft.com/office/drawing/2014/main" id="{ECE17E37-7F99-6545-12D2-8124E6F64802}"/>
                </a:ext>
              </a:extLst>
            </p:cNvPr>
            <p:cNvSpPr/>
            <p:nvPr/>
          </p:nvSpPr>
          <p:spPr>
            <a:xfrm>
              <a:off x="10086138" y="7754599"/>
              <a:ext cx="2148840" cy="2148840"/>
            </a:xfrm>
            <a:custGeom>
              <a:avLst/>
              <a:gdLst/>
              <a:ahLst/>
              <a:cxnLst/>
              <a:rect l="l" t="t" r="r" b="b"/>
              <a:pathLst>
                <a:path w="2148840" h="2148840">
                  <a:moveTo>
                    <a:pt x="1074312" y="0"/>
                  </a:moveTo>
                  <a:lnTo>
                    <a:pt x="1026459" y="1046"/>
                  </a:lnTo>
                  <a:lnTo>
                    <a:pt x="979141" y="4157"/>
                  </a:lnTo>
                  <a:lnTo>
                    <a:pt x="932403" y="9289"/>
                  </a:lnTo>
                  <a:lnTo>
                    <a:pt x="886288" y="16398"/>
                  </a:lnTo>
                  <a:lnTo>
                    <a:pt x="840840" y="25441"/>
                  </a:lnTo>
                  <a:lnTo>
                    <a:pt x="796103" y="36373"/>
                  </a:lnTo>
                  <a:lnTo>
                    <a:pt x="752120" y="49151"/>
                  </a:lnTo>
                  <a:lnTo>
                    <a:pt x="708935" y="63731"/>
                  </a:lnTo>
                  <a:lnTo>
                    <a:pt x="666592" y="80070"/>
                  </a:lnTo>
                  <a:lnTo>
                    <a:pt x="625135" y="98125"/>
                  </a:lnTo>
                  <a:lnTo>
                    <a:pt x="584606" y="117850"/>
                  </a:lnTo>
                  <a:lnTo>
                    <a:pt x="545050" y="139204"/>
                  </a:lnTo>
                  <a:lnTo>
                    <a:pt x="506510" y="162141"/>
                  </a:lnTo>
                  <a:lnTo>
                    <a:pt x="469030" y="186619"/>
                  </a:lnTo>
                  <a:lnTo>
                    <a:pt x="432654" y="212593"/>
                  </a:lnTo>
                  <a:lnTo>
                    <a:pt x="397426" y="240021"/>
                  </a:lnTo>
                  <a:lnTo>
                    <a:pt x="363388" y="268858"/>
                  </a:lnTo>
                  <a:lnTo>
                    <a:pt x="330585" y="299060"/>
                  </a:lnTo>
                  <a:lnTo>
                    <a:pt x="299060" y="330585"/>
                  </a:lnTo>
                  <a:lnTo>
                    <a:pt x="268858" y="363388"/>
                  </a:lnTo>
                  <a:lnTo>
                    <a:pt x="240021" y="397426"/>
                  </a:lnTo>
                  <a:lnTo>
                    <a:pt x="212593" y="432654"/>
                  </a:lnTo>
                  <a:lnTo>
                    <a:pt x="186619" y="469030"/>
                  </a:lnTo>
                  <a:lnTo>
                    <a:pt x="162141" y="506510"/>
                  </a:lnTo>
                  <a:lnTo>
                    <a:pt x="139204" y="545050"/>
                  </a:lnTo>
                  <a:lnTo>
                    <a:pt x="117850" y="584606"/>
                  </a:lnTo>
                  <a:lnTo>
                    <a:pt x="98125" y="625135"/>
                  </a:lnTo>
                  <a:lnTo>
                    <a:pt x="80070" y="666592"/>
                  </a:lnTo>
                  <a:lnTo>
                    <a:pt x="63731" y="708935"/>
                  </a:lnTo>
                  <a:lnTo>
                    <a:pt x="49151" y="752120"/>
                  </a:lnTo>
                  <a:lnTo>
                    <a:pt x="36373" y="796103"/>
                  </a:lnTo>
                  <a:lnTo>
                    <a:pt x="25441" y="840840"/>
                  </a:lnTo>
                  <a:lnTo>
                    <a:pt x="16398" y="886288"/>
                  </a:lnTo>
                  <a:lnTo>
                    <a:pt x="9289" y="932403"/>
                  </a:lnTo>
                  <a:lnTo>
                    <a:pt x="4157" y="979141"/>
                  </a:lnTo>
                  <a:lnTo>
                    <a:pt x="1046" y="1026459"/>
                  </a:lnTo>
                  <a:lnTo>
                    <a:pt x="0" y="1074312"/>
                  </a:lnTo>
                  <a:lnTo>
                    <a:pt x="1046" y="1122166"/>
                  </a:lnTo>
                  <a:lnTo>
                    <a:pt x="4157" y="1169484"/>
                  </a:lnTo>
                  <a:lnTo>
                    <a:pt x="9289" y="1216222"/>
                  </a:lnTo>
                  <a:lnTo>
                    <a:pt x="16398" y="1262337"/>
                  </a:lnTo>
                  <a:lnTo>
                    <a:pt x="25441" y="1307785"/>
                  </a:lnTo>
                  <a:lnTo>
                    <a:pt x="36373" y="1352522"/>
                  </a:lnTo>
                  <a:lnTo>
                    <a:pt x="49151" y="1396504"/>
                  </a:lnTo>
                  <a:lnTo>
                    <a:pt x="63731" y="1439689"/>
                  </a:lnTo>
                  <a:lnTo>
                    <a:pt x="80070" y="1482032"/>
                  </a:lnTo>
                  <a:lnTo>
                    <a:pt x="98125" y="1523490"/>
                  </a:lnTo>
                  <a:lnTo>
                    <a:pt x="117850" y="1564019"/>
                  </a:lnTo>
                  <a:lnTo>
                    <a:pt x="139204" y="1603575"/>
                  </a:lnTo>
                  <a:lnTo>
                    <a:pt x="162141" y="1642115"/>
                  </a:lnTo>
                  <a:lnTo>
                    <a:pt x="186619" y="1679594"/>
                  </a:lnTo>
                  <a:lnTo>
                    <a:pt x="212593" y="1715970"/>
                  </a:lnTo>
                  <a:lnTo>
                    <a:pt x="240021" y="1751199"/>
                  </a:lnTo>
                  <a:lnTo>
                    <a:pt x="268858" y="1785237"/>
                  </a:lnTo>
                  <a:lnTo>
                    <a:pt x="299060" y="1818040"/>
                  </a:lnTo>
                  <a:lnTo>
                    <a:pt x="330585" y="1849564"/>
                  </a:lnTo>
                  <a:lnTo>
                    <a:pt x="363388" y="1879767"/>
                  </a:lnTo>
                  <a:lnTo>
                    <a:pt x="397426" y="1908604"/>
                  </a:lnTo>
                  <a:lnTo>
                    <a:pt x="432654" y="1936031"/>
                  </a:lnTo>
                  <a:lnTo>
                    <a:pt x="469030" y="1962006"/>
                  </a:lnTo>
                  <a:lnTo>
                    <a:pt x="506510" y="1986484"/>
                  </a:lnTo>
                  <a:lnTo>
                    <a:pt x="545050" y="2009421"/>
                  </a:lnTo>
                  <a:lnTo>
                    <a:pt x="584606" y="2030774"/>
                  </a:lnTo>
                  <a:lnTo>
                    <a:pt x="625135" y="2050500"/>
                  </a:lnTo>
                  <a:lnTo>
                    <a:pt x="666592" y="2068554"/>
                  </a:lnTo>
                  <a:lnTo>
                    <a:pt x="708935" y="2084893"/>
                  </a:lnTo>
                  <a:lnTo>
                    <a:pt x="752120" y="2099474"/>
                  </a:lnTo>
                  <a:lnTo>
                    <a:pt x="796103" y="2112252"/>
                  </a:lnTo>
                  <a:lnTo>
                    <a:pt x="840840" y="2123184"/>
                  </a:lnTo>
                  <a:lnTo>
                    <a:pt x="886288" y="2132226"/>
                  </a:lnTo>
                  <a:lnTo>
                    <a:pt x="932403" y="2139335"/>
                  </a:lnTo>
                  <a:lnTo>
                    <a:pt x="979141" y="2144467"/>
                  </a:lnTo>
                  <a:lnTo>
                    <a:pt x="1026459" y="2147578"/>
                  </a:lnTo>
                  <a:lnTo>
                    <a:pt x="1074312" y="2148625"/>
                  </a:lnTo>
                  <a:lnTo>
                    <a:pt x="1122166" y="2147578"/>
                  </a:lnTo>
                  <a:lnTo>
                    <a:pt x="1169484" y="2144467"/>
                  </a:lnTo>
                  <a:lnTo>
                    <a:pt x="1216222" y="2139335"/>
                  </a:lnTo>
                  <a:lnTo>
                    <a:pt x="1262337" y="2132226"/>
                  </a:lnTo>
                  <a:lnTo>
                    <a:pt x="1307785" y="2123184"/>
                  </a:lnTo>
                  <a:lnTo>
                    <a:pt x="1352522" y="2112252"/>
                  </a:lnTo>
                  <a:lnTo>
                    <a:pt x="1396504" y="2099474"/>
                  </a:lnTo>
                  <a:lnTo>
                    <a:pt x="1439689" y="2084893"/>
                  </a:lnTo>
                  <a:lnTo>
                    <a:pt x="1482032" y="2068554"/>
                  </a:lnTo>
                  <a:lnTo>
                    <a:pt x="1523490" y="2050500"/>
                  </a:lnTo>
                  <a:lnTo>
                    <a:pt x="1564019" y="2030774"/>
                  </a:lnTo>
                  <a:lnTo>
                    <a:pt x="1603575" y="2009421"/>
                  </a:lnTo>
                  <a:lnTo>
                    <a:pt x="1642115" y="1986484"/>
                  </a:lnTo>
                  <a:lnTo>
                    <a:pt x="1679594" y="1962006"/>
                  </a:lnTo>
                  <a:lnTo>
                    <a:pt x="1715970" y="1936031"/>
                  </a:lnTo>
                  <a:lnTo>
                    <a:pt x="1751199" y="1908604"/>
                  </a:lnTo>
                  <a:lnTo>
                    <a:pt x="1785237" y="1879767"/>
                  </a:lnTo>
                  <a:lnTo>
                    <a:pt x="1818040" y="1849564"/>
                  </a:lnTo>
                  <a:lnTo>
                    <a:pt x="1849564" y="1818040"/>
                  </a:lnTo>
                  <a:lnTo>
                    <a:pt x="1879767" y="1785237"/>
                  </a:lnTo>
                  <a:lnTo>
                    <a:pt x="1908604" y="1751199"/>
                  </a:lnTo>
                  <a:lnTo>
                    <a:pt x="1936031" y="1715970"/>
                  </a:lnTo>
                  <a:lnTo>
                    <a:pt x="1962006" y="1679594"/>
                  </a:lnTo>
                  <a:lnTo>
                    <a:pt x="1986484" y="1642115"/>
                  </a:lnTo>
                  <a:lnTo>
                    <a:pt x="2009421" y="1603575"/>
                  </a:lnTo>
                  <a:lnTo>
                    <a:pt x="2030774" y="1564019"/>
                  </a:lnTo>
                  <a:lnTo>
                    <a:pt x="2050500" y="1523490"/>
                  </a:lnTo>
                  <a:lnTo>
                    <a:pt x="2068554" y="1482032"/>
                  </a:lnTo>
                  <a:lnTo>
                    <a:pt x="2084893" y="1439689"/>
                  </a:lnTo>
                  <a:lnTo>
                    <a:pt x="2099474" y="1396504"/>
                  </a:lnTo>
                  <a:lnTo>
                    <a:pt x="2112252" y="1352522"/>
                  </a:lnTo>
                  <a:lnTo>
                    <a:pt x="2123184" y="1307785"/>
                  </a:lnTo>
                  <a:lnTo>
                    <a:pt x="2132226" y="1262337"/>
                  </a:lnTo>
                  <a:lnTo>
                    <a:pt x="2139335" y="1216222"/>
                  </a:lnTo>
                  <a:lnTo>
                    <a:pt x="2144467" y="1169484"/>
                  </a:lnTo>
                  <a:lnTo>
                    <a:pt x="2147578" y="1122166"/>
                  </a:lnTo>
                  <a:lnTo>
                    <a:pt x="2148625" y="1074312"/>
                  </a:lnTo>
                  <a:lnTo>
                    <a:pt x="2147578" y="1026459"/>
                  </a:lnTo>
                  <a:lnTo>
                    <a:pt x="2144467" y="979141"/>
                  </a:lnTo>
                  <a:lnTo>
                    <a:pt x="2139335" y="932403"/>
                  </a:lnTo>
                  <a:lnTo>
                    <a:pt x="2132226" y="886288"/>
                  </a:lnTo>
                  <a:lnTo>
                    <a:pt x="2123184" y="840840"/>
                  </a:lnTo>
                  <a:lnTo>
                    <a:pt x="2112252" y="796103"/>
                  </a:lnTo>
                  <a:lnTo>
                    <a:pt x="2099474" y="752120"/>
                  </a:lnTo>
                  <a:lnTo>
                    <a:pt x="2084893" y="708935"/>
                  </a:lnTo>
                  <a:lnTo>
                    <a:pt x="2068554" y="666592"/>
                  </a:lnTo>
                  <a:lnTo>
                    <a:pt x="2050500" y="625135"/>
                  </a:lnTo>
                  <a:lnTo>
                    <a:pt x="2030774" y="584606"/>
                  </a:lnTo>
                  <a:lnTo>
                    <a:pt x="2009421" y="545050"/>
                  </a:lnTo>
                  <a:lnTo>
                    <a:pt x="1986484" y="506510"/>
                  </a:lnTo>
                  <a:lnTo>
                    <a:pt x="1962006" y="469030"/>
                  </a:lnTo>
                  <a:lnTo>
                    <a:pt x="1936031" y="432654"/>
                  </a:lnTo>
                  <a:lnTo>
                    <a:pt x="1908604" y="397426"/>
                  </a:lnTo>
                  <a:lnTo>
                    <a:pt x="1879767" y="363388"/>
                  </a:lnTo>
                  <a:lnTo>
                    <a:pt x="1849564" y="330585"/>
                  </a:lnTo>
                  <a:lnTo>
                    <a:pt x="1818040" y="299060"/>
                  </a:lnTo>
                  <a:lnTo>
                    <a:pt x="1785237" y="268858"/>
                  </a:lnTo>
                  <a:lnTo>
                    <a:pt x="1751199" y="240021"/>
                  </a:lnTo>
                  <a:lnTo>
                    <a:pt x="1715970" y="212593"/>
                  </a:lnTo>
                  <a:lnTo>
                    <a:pt x="1679594" y="186619"/>
                  </a:lnTo>
                  <a:lnTo>
                    <a:pt x="1642115" y="162141"/>
                  </a:lnTo>
                  <a:lnTo>
                    <a:pt x="1603575" y="139204"/>
                  </a:lnTo>
                  <a:lnTo>
                    <a:pt x="1564019" y="117850"/>
                  </a:lnTo>
                  <a:lnTo>
                    <a:pt x="1523490" y="98125"/>
                  </a:lnTo>
                  <a:lnTo>
                    <a:pt x="1482032" y="80070"/>
                  </a:lnTo>
                  <a:lnTo>
                    <a:pt x="1439689" y="63731"/>
                  </a:lnTo>
                  <a:lnTo>
                    <a:pt x="1396504" y="49151"/>
                  </a:lnTo>
                  <a:lnTo>
                    <a:pt x="1352522" y="36373"/>
                  </a:lnTo>
                  <a:lnTo>
                    <a:pt x="1307785" y="25441"/>
                  </a:lnTo>
                  <a:lnTo>
                    <a:pt x="1262337" y="16398"/>
                  </a:lnTo>
                  <a:lnTo>
                    <a:pt x="1216222" y="9289"/>
                  </a:lnTo>
                  <a:lnTo>
                    <a:pt x="1169484" y="4157"/>
                  </a:lnTo>
                  <a:lnTo>
                    <a:pt x="1122166" y="1046"/>
                  </a:lnTo>
                  <a:lnTo>
                    <a:pt x="1074312" y="0"/>
                  </a:lnTo>
                  <a:close/>
                </a:path>
              </a:pathLst>
            </a:custGeom>
            <a:solidFill>
              <a:srgbClr val="D1E0D7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07" name="object 20">
              <a:extLst>
                <a:ext uri="{FF2B5EF4-FFF2-40B4-BE49-F238E27FC236}">
                  <a16:creationId xmlns:a16="http://schemas.microsoft.com/office/drawing/2014/main" id="{9D30D06C-C2B5-701C-5C1A-9CD5030F528D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396351" y="9477014"/>
              <a:ext cx="129702" cy="129713"/>
            </a:xfrm>
            <a:prstGeom prst="rect">
              <a:avLst/>
            </a:prstGeom>
          </p:spPr>
        </p:pic>
        <p:pic>
          <p:nvPicPr>
            <p:cNvPr id="108" name="object 21">
              <a:extLst>
                <a:ext uri="{FF2B5EF4-FFF2-40B4-BE49-F238E27FC236}">
                  <a16:creationId xmlns:a16="http://schemas.microsoft.com/office/drawing/2014/main" id="{E8BE818E-DC4F-78AC-9CC7-1F7C47CE65C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396351" y="9687782"/>
              <a:ext cx="129702" cy="129713"/>
            </a:xfrm>
            <a:prstGeom prst="rect">
              <a:avLst/>
            </a:prstGeom>
          </p:spPr>
        </p:pic>
        <p:pic>
          <p:nvPicPr>
            <p:cNvPr id="109" name="object 22">
              <a:extLst>
                <a:ext uri="{FF2B5EF4-FFF2-40B4-BE49-F238E27FC236}">
                  <a16:creationId xmlns:a16="http://schemas.microsoft.com/office/drawing/2014/main" id="{275ABA00-B6AE-B1D1-DE30-6519846F625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396351" y="9898551"/>
              <a:ext cx="129702" cy="129713"/>
            </a:xfrm>
            <a:prstGeom prst="rect">
              <a:avLst/>
            </a:prstGeom>
          </p:spPr>
        </p:pic>
      </p:grpSp>
      <p:sp>
        <p:nvSpPr>
          <p:cNvPr id="110" name="object 23">
            <a:extLst>
              <a:ext uri="{FF2B5EF4-FFF2-40B4-BE49-F238E27FC236}">
                <a16:creationId xmlns:a16="http://schemas.microsoft.com/office/drawing/2014/main" id="{E83B01E2-435C-4D9C-BEFB-9C56A610DBAB}"/>
              </a:ext>
            </a:extLst>
          </p:cNvPr>
          <p:cNvSpPr txBox="1"/>
          <p:nvPr/>
        </p:nvSpPr>
        <p:spPr>
          <a:xfrm>
            <a:off x="4318125" y="3746214"/>
            <a:ext cx="3556071" cy="2104742"/>
          </a:xfrm>
          <a:prstGeom prst="rect">
            <a:avLst/>
          </a:prstGeom>
        </p:spPr>
        <p:txBody>
          <a:bodyPr vert="horz" wrap="square" lIns="0" tIns="11937" rIns="0" bIns="0" rtlCol="0">
            <a:spAutoFit/>
          </a:bodyPr>
          <a:lstStyle/>
          <a:p>
            <a:pPr>
              <a:spcBef>
                <a:spcPts val="94"/>
              </a:spcBef>
            </a:pPr>
            <a:endParaRPr sz="1486" dirty="0">
              <a:latin typeface="Times New Roman"/>
              <a:cs typeface="Times New Roman"/>
            </a:endParaRPr>
          </a:p>
          <a:p>
            <a:pPr marL="171739" marR="2191014">
              <a:lnSpc>
                <a:spcPts val="1498"/>
              </a:lnSpc>
            </a:pPr>
            <a:r>
              <a:rPr sz="1486" spc="-6" dirty="0">
                <a:solidFill>
                  <a:srgbClr val="004E42"/>
                </a:solidFill>
                <a:latin typeface="Sora"/>
                <a:cs typeface="Sora"/>
              </a:rPr>
              <a:t>Branch </a:t>
            </a:r>
            <a:r>
              <a:rPr sz="1486" spc="-12" dirty="0">
                <a:solidFill>
                  <a:srgbClr val="004E42"/>
                </a:solidFill>
                <a:latin typeface="Sora"/>
                <a:cs typeface="Sora"/>
              </a:rPr>
              <a:t>transactions</a:t>
            </a:r>
            <a:endParaRPr sz="1486" dirty="0">
              <a:latin typeface="Sora"/>
              <a:cs typeface="Sora"/>
            </a:endParaRPr>
          </a:p>
          <a:p>
            <a:pPr>
              <a:spcBef>
                <a:spcPts val="1471"/>
              </a:spcBef>
            </a:pPr>
            <a:endParaRPr sz="1486" dirty="0">
              <a:latin typeface="Sora"/>
              <a:cs typeface="Sora"/>
            </a:endParaRPr>
          </a:p>
          <a:p>
            <a:pPr marL="1950349"/>
            <a:r>
              <a:rPr sz="2244" spc="-6" dirty="0">
                <a:solidFill>
                  <a:srgbClr val="004E42"/>
                </a:solidFill>
                <a:latin typeface="Sora"/>
                <a:cs typeface="Sora"/>
              </a:rPr>
              <a:t>$25.9m</a:t>
            </a:r>
            <a:endParaRPr sz="2244" dirty="0">
              <a:latin typeface="Sora"/>
              <a:cs typeface="Sora"/>
            </a:endParaRPr>
          </a:p>
          <a:p>
            <a:pPr marL="305356" marR="2711621" algn="just">
              <a:lnSpc>
                <a:spcPct val="184400"/>
              </a:lnSpc>
              <a:spcBef>
                <a:spcPts val="1534"/>
              </a:spcBef>
            </a:pPr>
            <a:r>
              <a:rPr sz="455" dirty="0">
                <a:latin typeface="Sora"/>
                <a:cs typeface="Sora"/>
              </a:rPr>
              <a:t>Forth</a:t>
            </a:r>
            <a:r>
              <a:rPr sz="455" spc="-15" dirty="0">
                <a:latin typeface="Sora"/>
                <a:cs typeface="Sora"/>
              </a:rPr>
              <a:t> </a:t>
            </a:r>
            <a:r>
              <a:rPr sz="455" dirty="0">
                <a:latin typeface="Sora"/>
                <a:cs typeface="Sora"/>
              </a:rPr>
              <a:t>Worth</a:t>
            </a:r>
            <a:r>
              <a:rPr sz="455" spc="-15" dirty="0">
                <a:latin typeface="Sora"/>
                <a:cs typeface="Sora"/>
              </a:rPr>
              <a:t> </a:t>
            </a:r>
            <a:r>
              <a:rPr sz="455" dirty="0">
                <a:latin typeface="Sora"/>
                <a:cs typeface="Sora"/>
              </a:rPr>
              <a:t>–</a:t>
            </a:r>
            <a:r>
              <a:rPr sz="455" spc="-15" dirty="0">
                <a:latin typeface="Sora"/>
                <a:cs typeface="Sora"/>
              </a:rPr>
              <a:t> 15%</a:t>
            </a:r>
            <a:r>
              <a:rPr sz="455" spc="303" dirty="0">
                <a:latin typeface="Sora"/>
                <a:cs typeface="Sora"/>
              </a:rPr>
              <a:t> </a:t>
            </a:r>
            <a:r>
              <a:rPr sz="455" dirty="0">
                <a:latin typeface="Sora"/>
                <a:cs typeface="Sora"/>
              </a:rPr>
              <a:t>San</a:t>
            </a:r>
            <a:r>
              <a:rPr sz="455" spc="-6" dirty="0">
                <a:latin typeface="Sora"/>
                <a:cs typeface="Sora"/>
              </a:rPr>
              <a:t> Antonio</a:t>
            </a:r>
            <a:r>
              <a:rPr sz="455" spc="-3" dirty="0">
                <a:latin typeface="Sora"/>
                <a:cs typeface="Sora"/>
              </a:rPr>
              <a:t> </a:t>
            </a:r>
            <a:r>
              <a:rPr sz="455" dirty="0">
                <a:latin typeface="Sora"/>
                <a:cs typeface="Sora"/>
              </a:rPr>
              <a:t>–</a:t>
            </a:r>
            <a:r>
              <a:rPr sz="455" spc="-3" dirty="0">
                <a:latin typeface="Sora"/>
                <a:cs typeface="Sora"/>
              </a:rPr>
              <a:t> </a:t>
            </a:r>
            <a:r>
              <a:rPr sz="455" spc="-15" dirty="0">
                <a:latin typeface="Sora"/>
                <a:cs typeface="Sora"/>
              </a:rPr>
              <a:t>25%</a:t>
            </a:r>
            <a:r>
              <a:rPr sz="455" spc="303" dirty="0">
                <a:latin typeface="Sora"/>
                <a:cs typeface="Sora"/>
              </a:rPr>
              <a:t> </a:t>
            </a:r>
            <a:r>
              <a:rPr sz="455" dirty="0">
                <a:latin typeface="Sora"/>
                <a:cs typeface="Sora"/>
              </a:rPr>
              <a:t>Austin</a:t>
            </a:r>
            <a:r>
              <a:rPr sz="455" spc="-6" dirty="0">
                <a:latin typeface="Sora"/>
                <a:cs typeface="Sora"/>
              </a:rPr>
              <a:t> </a:t>
            </a:r>
            <a:r>
              <a:rPr sz="455" dirty="0">
                <a:latin typeface="Sora"/>
                <a:cs typeface="Sora"/>
              </a:rPr>
              <a:t>–</a:t>
            </a:r>
            <a:r>
              <a:rPr sz="455" spc="-6" dirty="0">
                <a:latin typeface="Sora"/>
                <a:cs typeface="Sora"/>
              </a:rPr>
              <a:t> </a:t>
            </a:r>
            <a:r>
              <a:rPr sz="455" spc="-15" dirty="0">
                <a:latin typeface="Sora"/>
                <a:cs typeface="Sora"/>
              </a:rPr>
              <a:t>15%</a:t>
            </a:r>
            <a:endParaRPr sz="455" dirty="0">
              <a:latin typeface="Sora"/>
              <a:cs typeface="Sora"/>
            </a:endParaRPr>
          </a:p>
          <a:p>
            <a:pPr marL="305356" algn="just">
              <a:spcBef>
                <a:spcPts val="461"/>
              </a:spcBef>
            </a:pPr>
            <a:r>
              <a:rPr sz="455" dirty="0">
                <a:latin typeface="Sora"/>
                <a:cs typeface="Sora"/>
              </a:rPr>
              <a:t>Dallas</a:t>
            </a:r>
            <a:r>
              <a:rPr sz="455" spc="-15" dirty="0">
                <a:latin typeface="Sora"/>
                <a:cs typeface="Sora"/>
              </a:rPr>
              <a:t> </a:t>
            </a:r>
            <a:r>
              <a:rPr sz="455" dirty="0">
                <a:latin typeface="Sora"/>
                <a:cs typeface="Sora"/>
              </a:rPr>
              <a:t>–</a:t>
            </a:r>
            <a:r>
              <a:rPr sz="455" spc="-12" dirty="0">
                <a:latin typeface="Sora"/>
                <a:cs typeface="Sora"/>
              </a:rPr>
              <a:t> </a:t>
            </a:r>
            <a:r>
              <a:rPr sz="455" spc="-15" dirty="0">
                <a:latin typeface="Sora"/>
                <a:cs typeface="Sora"/>
              </a:rPr>
              <a:t>10%</a:t>
            </a:r>
            <a:endParaRPr sz="455" dirty="0">
              <a:latin typeface="Sora"/>
              <a:cs typeface="Sora"/>
            </a:endParaRPr>
          </a:p>
        </p:txBody>
      </p:sp>
      <p:pic>
        <p:nvPicPr>
          <p:cNvPr id="111" name="object 24">
            <a:extLst>
              <a:ext uri="{FF2B5EF4-FFF2-40B4-BE49-F238E27FC236}">
                <a16:creationId xmlns:a16="http://schemas.microsoft.com/office/drawing/2014/main" id="{7AFB7B3A-417A-10D9-5D6A-4992A91C0452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485582" y="5812800"/>
            <a:ext cx="78651" cy="78658"/>
          </a:xfrm>
          <a:prstGeom prst="rect">
            <a:avLst/>
          </a:prstGeom>
        </p:spPr>
      </p:pic>
      <p:sp>
        <p:nvSpPr>
          <p:cNvPr id="112" name="object 25">
            <a:extLst>
              <a:ext uri="{FF2B5EF4-FFF2-40B4-BE49-F238E27FC236}">
                <a16:creationId xmlns:a16="http://schemas.microsoft.com/office/drawing/2014/main" id="{DEB0FDFC-1AC1-2D30-10E6-7680D9E0D401}"/>
              </a:ext>
            </a:extLst>
          </p:cNvPr>
          <p:cNvSpPr txBox="1"/>
          <p:nvPr/>
        </p:nvSpPr>
        <p:spPr>
          <a:xfrm>
            <a:off x="8254848" y="961483"/>
            <a:ext cx="3556071" cy="2413199"/>
          </a:xfrm>
          <a:prstGeom prst="rect">
            <a:avLst/>
          </a:prstGeom>
          <a:ln w="5235">
            <a:solidFill>
              <a:srgbClr val="004E42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758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758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758" dirty="0">
              <a:latin typeface="Times New Roman"/>
              <a:cs typeface="Times New Roman"/>
            </a:endParaRPr>
          </a:p>
          <a:p>
            <a:pPr>
              <a:spcBef>
                <a:spcPts val="394"/>
              </a:spcBef>
            </a:pPr>
            <a:endParaRPr sz="758" dirty="0">
              <a:latin typeface="Times New Roman"/>
              <a:cs typeface="Times New Roman"/>
            </a:endParaRPr>
          </a:p>
          <a:p>
            <a:pPr marL="162112"/>
            <a:r>
              <a:rPr sz="758" spc="-12" dirty="0">
                <a:solidFill>
                  <a:srgbClr val="1D3C34"/>
                </a:solidFill>
                <a:latin typeface="Sora"/>
                <a:cs typeface="Sora"/>
              </a:rPr>
              <a:t>4000</a:t>
            </a:r>
            <a:endParaRPr sz="758" dirty="0">
              <a:latin typeface="Sora"/>
              <a:cs typeface="Sora"/>
            </a:endParaRPr>
          </a:p>
          <a:p>
            <a:pPr>
              <a:spcBef>
                <a:spcPts val="542"/>
              </a:spcBef>
            </a:pPr>
            <a:endParaRPr sz="758" dirty="0">
              <a:latin typeface="Sora"/>
              <a:cs typeface="Sora"/>
            </a:endParaRPr>
          </a:p>
          <a:p>
            <a:pPr marL="162112"/>
            <a:r>
              <a:rPr sz="758" spc="-12" dirty="0">
                <a:solidFill>
                  <a:srgbClr val="1D3C34"/>
                </a:solidFill>
                <a:latin typeface="Sora"/>
                <a:cs typeface="Sora"/>
              </a:rPr>
              <a:t>3000</a:t>
            </a:r>
            <a:endParaRPr sz="758" dirty="0">
              <a:latin typeface="Sora"/>
              <a:cs typeface="Sora"/>
            </a:endParaRPr>
          </a:p>
          <a:p>
            <a:pPr>
              <a:spcBef>
                <a:spcPts val="572"/>
              </a:spcBef>
            </a:pPr>
            <a:endParaRPr sz="758" dirty="0">
              <a:latin typeface="Sora"/>
              <a:cs typeface="Sora"/>
            </a:endParaRPr>
          </a:p>
          <a:p>
            <a:pPr marL="162112"/>
            <a:r>
              <a:rPr sz="758" spc="-12" dirty="0">
                <a:solidFill>
                  <a:srgbClr val="1D3C34"/>
                </a:solidFill>
                <a:latin typeface="Sora"/>
                <a:cs typeface="Sora"/>
              </a:rPr>
              <a:t>2000</a:t>
            </a:r>
            <a:endParaRPr sz="758" dirty="0">
              <a:latin typeface="Sora"/>
              <a:cs typeface="Sora"/>
            </a:endParaRPr>
          </a:p>
          <a:p>
            <a:pPr>
              <a:spcBef>
                <a:spcPts val="685"/>
              </a:spcBef>
            </a:pPr>
            <a:endParaRPr sz="758" dirty="0">
              <a:latin typeface="Sora"/>
              <a:cs typeface="Sora"/>
            </a:endParaRPr>
          </a:p>
          <a:p>
            <a:pPr marL="162112"/>
            <a:r>
              <a:rPr sz="758" spc="-12" dirty="0">
                <a:solidFill>
                  <a:srgbClr val="1D3C34"/>
                </a:solidFill>
                <a:latin typeface="Sora"/>
                <a:cs typeface="Sora"/>
              </a:rPr>
              <a:t>1000</a:t>
            </a:r>
            <a:endParaRPr sz="758" dirty="0">
              <a:latin typeface="Sora"/>
              <a:cs typeface="Sora"/>
            </a:endParaRPr>
          </a:p>
        </p:txBody>
      </p:sp>
      <p:grpSp>
        <p:nvGrpSpPr>
          <p:cNvPr id="113" name="object 26">
            <a:extLst>
              <a:ext uri="{FF2B5EF4-FFF2-40B4-BE49-F238E27FC236}">
                <a16:creationId xmlns:a16="http://schemas.microsoft.com/office/drawing/2014/main" id="{3B49D343-8E2F-5B61-B403-120BD47097F2}"/>
              </a:ext>
            </a:extLst>
          </p:cNvPr>
          <p:cNvGrpSpPr/>
          <p:nvPr/>
        </p:nvGrpSpPr>
        <p:grpSpPr>
          <a:xfrm>
            <a:off x="8417330" y="1500822"/>
            <a:ext cx="3231077" cy="1370445"/>
            <a:chOff x="13880095" y="2998547"/>
            <a:chExt cx="5328285" cy="2259965"/>
          </a:xfrm>
        </p:grpSpPr>
        <p:sp>
          <p:nvSpPr>
            <p:cNvPr id="114" name="object 27">
              <a:extLst>
                <a:ext uri="{FF2B5EF4-FFF2-40B4-BE49-F238E27FC236}">
                  <a16:creationId xmlns:a16="http://schemas.microsoft.com/office/drawing/2014/main" id="{F27B2931-AC35-275E-62EA-28E7C955BE6D}"/>
                </a:ext>
              </a:extLst>
            </p:cNvPr>
            <p:cNvSpPr/>
            <p:nvPr/>
          </p:nvSpPr>
          <p:spPr>
            <a:xfrm>
              <a:off x="14457351" y="3018111"/>
              <a:ext cx="4751070" cy="1674495"/>
            </a:xfrm>
            <a:custGeom>
              <a:avLst/>
              <a:gdLst/>
              <a:ahLst/>
              <a:cxnLst/>
              <a:rect l="l" t="t" r="r" b="b"/>
              <a:pathLst>
                <a:path w="4751069" h="1674495">
                  <a:moveTo>
                    <a:pt x="0" y="1674357"/>
                  </a:moveTo>
                  <a:lnTo>
                    <a:pt x="293352" y="1674357"/>
                  </a:lnTo>
                </a:path>
                <a:path w="4751069" h="1674495">
                  <a:moveTo>
                    <a:pt x="573877" y="1674357"/>
                  </a:moveTo>
                  <a:lnTo>
                    <a:pt x="684680" y="1674357"/>
                  </a:lnTo>
                </a:path>
                <a:path w="4751069" h="1674495">
                  <a:moveTo>
                    <a:pt x="965216" y="1674357"/>
                  </a:moveTo>
                  <a:lnTo>
                    <a:pt x="1076040" y="1674357"/>
                  </a:lnTo>
                </a:path>
                <a:path w="4751069" h="1674495">
                  <a:moveTo>
                    <a:pt x="1356565" y="1674357"/>
                  </a:moveTo>
                  <a:lnTo>
                    <a:pt x="1467368" y="1674357"/>
                  </a:lnTo>
                </a:path>
                <a:path w="4751069" h="1674495">
                  <a:moveTo>
                    <a:pt x="1747894" y="1674357"/>
                  </a:moveTo>
                  <a:lnTo>
                    <a:pt x="1858707" y="1674357"/>
                  </a:lnTo>
                </a:path>
                <a:path w="4751069" h="1674495">
                  <a:moveTo>
                    <a:pt x="2139233" y="1674357"/>
                  </a:moveTo>
                  <a:lnTo>
                    <a:pt x="2250046" y="1674357"/>
                  </a:lnTo>
                </a:path>
                <a:path w="4751069" h="1674495">
                  <a:moveTo>
                    <a:pt x="2530572" y="1674357"/>
                  </a:moveTo>
                  <a:lnTo>
                    <a:pt x="2641385" y="1674357"/>
                  </a:lnTo>
                </a:path>
                <a:path w="4751069" h="1674495">
                  <a:moveTo>
                    <a:pt x="2921910" y="1674357"/>
                  </a:moveTo>
                  <a:lnTo>
                    <a:pt x="3032734" y="1674357"/>
                  </a:lnTo>
                </a:path>
                <a:path w="4751069" h="1674495">
                  <a:moveTo>
                    <a:pt x="3313260" y="1674357"/>
                  </a:moveTo>
                  <a:lnTo>
                    <a:pt x="3424063" y="1674357"/>
                  </a:lnTo>
                </a:path>
                <a:path w="4751069" h="1674495">
                  <a:moveTo>
                    <a:pt x="3704588" y="1674357"/>
                  </a:moveTo>
                  <a:lnTo>
                    <a:pt x="3815412" y="1674357"/>
                  </a:lnTo>
                </a:path>
                <a:path w="4751069" h="1674495">
                  <a:moveTo>
                    <a:pt x="4095927" y="1674357"/>
                  </a:moveTo>
                  <a:lnTo>
                    <a:pt x="4206751" y="1674357"/>
                  </a:lnTo>
                </a:path>
                <a:path w="4751069" h="1674495">
                  <a:moveTo>
                    <a:pt x="4487276" y="1674357"/>
                  </a:moveTo>
                  <a:lnTo>
                    <a:pt x="4750567" y="1674357"/>
                  </a:lnTo>
                </a:path>
                <a:path w="4751069" h="1674495">
                  <a:moveTo>
                    <a:pt x="0" y="1116238"/>
                  </a:moveTo>
                  <a:lnTo>
                    <a:pt x="293352" y="1116238"/>
                  </a:lnTo>
                </a:path>
                <a:path w="4751069" h="1674495">
                  <a:moveTo>
                    <a:pt x="573877" y="1116238"/>
                  </a:moveTo>
                  <a:lnTo>
                    <a:pt x="684680" y="1116238"/>
                  </a:lnTo>
                </a:path>
                <a:path w="4751069" h="1674495">
                  <a:moveTo>
                    <a:pt x="965216" y="1116238"/>
                  </a:moveTo>
                  <a:lnTo>
                    <a:pt x="1076040" y="1116238"/>
                  </a:lnTo>
                </a:path>
                <a:path w="4751069" h="1674495">
                  <a:moveTo>
                    <a:pt x="1356565" y="1116238"/>
                  </a:moveTo>
                  <a:lnTo>
                    <a:pt x="1467368" y="1116238"/>
                  </a:lnTo>
                </a:path>
                <a:path w="4751069" h="1674495">
                  <a:moveTo>
                    <a:pt x="1747894" y="1116238"/>
                  </a:moveTo>
                  <a:lnTo>
                    <a:pt x="1858707" y="1116238"/>
                  </a:lnTo>
                </a:path>
                <a:path w="4751069" h="1674495">
                  <a:moveTo>
                    <a:pt x="2139233" y="1116238"/>
                  </a:moveTo>
                  <a:lnTo>
                    <a:pt x="2250046" y="1116238"/>
                  </a:lnTo>
                </a:path>
                <a:path w="4751069" h="1674495">
                  <a:moveTo>
                    <a:pt x="2530572" y="1116238"/>
                  </a:moveTo>
                  <a:lnTo>
                    <a:pt x="2641385" y="1116238"/>
                  </a:lnTo>
                </a:path>
                <a:path w="4751069" h="1674495">
                  <a:moveTo>
                    <a:pt x="2921910" y="1116238"/>
                  </a:moveTo>
                  <a:lnTo>
                    <a:pt x="3032734" y="1116238"/>
                  </a:lnTo>
                </a:path>
                <a:path w="4751069" h="1674495">
                  <a:moveTo>
                    <a:pt x="3313260" y="1116238"/>
                  </a:moveTo>
                  <a:lnTo>
                    <a:pt x="3424063" y="1116238"/>
                  </a:lnTo>
                </a:path>
                <a:path w="4751069" h="1674495">
                  <a:moveTo>
                    <a:pt x="4487276" y="1116238"/>
                  </a:moveTo>
                  <a:lnTo>
                    <a:pt x="4750567" y="1116238"/>
                  </a:lnTo>
                </a:path>
                <a:path w="4751069" h="1674495">
                  <a:moveTo>
                    <a:pt x="3704588" y="1116238"/>
                  </a:moveTo>
                  <a:lnTo>
                    <a:pt x="3815412" y="1116238"/>
                  </a:lnTo>
                </a:path>
                <a:path w="4751069" h="1674495">
                  <a:moveTo>
                    <a:pt x="4095927" y="1116238"/>
                  </a:moveTo>
                  <a:lnTo>
                    <a:pt x="4206751" y="1116238"/>
                  </a:lnTo>
                </a:path>
                <a:path w="4751069" h="1674495">
                  <a:moveTo>
                    <a:pt x="965216" y="558119"/>
                  </a:moveTo>
                  <a:lnTo>
                    <a:pt x="1076040" y="558119"/>
                  </a:lnTo>
                </a:path>
                <a:path w="4751069" h="1674495">
                  <a:moveTo>
                    <a:pt x="1356565" y="558119"/>
                  </a:moveTo>
                  <a:lnTo>
                    <a:pt x="1467368" y="558119"/>
                  </a:lnTo>
                </a:path>
                <a:path w="4751069" h="1674495">
                  <a:moveTo>
                    <a:pt x="1747894" y="558119"/>
                  </a:moveTo>
                  <a:lnTo>
                    <a:pt x="1858707" y="558119"/>
                  </a:lnTo>
                </a:path>
                <a:path w="4751069" h="1674495">
                  <a:moveTo>
                    <a:pt x="2139233" y="558119"/>
                  </a:moveTo>
                  <a:lnTo>
                    <a:pt x="2250046" y="558119"/>
                  </a:lnTo>
                </a:path>
                <a:path w="4751069" h="1674495">
                  <a:moveTo>
                    <a:pt x="2530572" y="558119"/>
                  </a:moveTo>
                  <a:lnTo>
                    <a:pt x="2641385" y="558119"/>
                  </a:lnTo>
                </a:path>
                <a:path w="4751069" h="1674495">
                  <a:moveTo>
                    <a:pt x="2921910" y="558119"/>
                  </a:moveTo>
                  <a:lnTo>
                    <a:pt x="3032734" y="558119"/>
                  </a:lnTo>
                </a:path>
                <a:path w="4751069" h="1674495">
                  <a:moveTo>
                    <a:pt x="3313260" y="558119"/>
                  </a:moveTo>
                  <a:lnTo>
                    <a:pt x="3424063" y="558119"/>
                  </a:lnTo>
                </a:path>
                <a:path w="4751069" h="1674495">
                  <a:moveTo>
                    <a:pt x="3704588" y="558119"/>
                  </a:moveTo>
                  <a:lnTo>
                    <a:pt x="4750567" y="558119"/>
                  </a:lnTo>
                </a:path>
                <a:path w="4751069" h="1674495">
                  <a:moveTo>
                    <a:pt x="0" y="558119"/>
                  </a:moveTo>
                  <a:lnTo>
                    <a:pt x="293352" y="558119"/>
                  </a:lnTo>
                </a:path>
                <a:path w="4751069" h="1674495">
                  <a:moveTo>
                    <a:pt x="573877" y="558119"/>
                  </a:moveTo>
                  <a:lnTo>
                    <a:pt x="684680" y="558119"/>
                  </a:lnTo>
                </a:path>
                <a:path w="4751069" h="1674495">
                  <a:moveTo>
                    <a:pt x="0" y="0"/>
                  </a:moveTo>
                  <a:lnTo>
                    <a:pt x="3032734" y="0"/>
                  </a:lnTo>
                </a:path>
                <a:path w="4751069" h="1674495">
                  <a:moveTo>
                    <a:pt x="3313260" y="0"/>
                  </a:moveTo>
                  <a:lnTo>
                    <a:pt x="4750567" y="0"/>
                  </a:lnTo>
                </a:path>
              </a:pathLst>
            </a:custGeom>
            <a:ln w="10470">
              <a:solidFill>
                <a:srgbClr val="9E9E9E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5" name="object 28">
              <a:extLst>
                <a:ext uri="{FF2B5EF4-FFF2-40B4-BE49-F238E27FC236}">
                  <a16:creationId xmlns:a16="http://schemas.microsoft.com/office/drawing/2014/main" id="{2B8B088C-EC57-2253-D4AD-53D580DE16C9}"/>
                </a:ext>
              </a:extLst>
            </p:cNvPr>
            <p:cNvSpPr/>
            <p:nvPr/>
          </p:nvSpPr>
          <p:spPr>
            <a:xfrm>
              <a:off x="14750703" y="3444282"/>
              <a:ext cx="280670" cy="682625"/>
            </a:xfrm>
            <a:custGeom>
              <a:avLst/>
              <a:gdLst/>
              <a:ahLst/>
              <a:cxnLst/>
              <a:rect l="l" t="t" r="r" b="b"/>
              <a:pathLst>
                <a:path w="280669" h="682625">
                  <a:moveTo>
                    <a:pt x="0" y="682115"/>
                  </a:moveTo>
                  <a:lnTo>
                    <a:pt x="280525" y="682115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682115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6" name="object 29">
              <a:extLst>
                <a:ext uri="{FF2B5EF4-FFF2-40B4-BE49-F238E27FC236}">
                  <a16:creationId xmlns:a16="http://schemas.microsoft.com/office/drawing/2014/main" id="{4B68BED5-CD5F-2508-6C29-5B8E5D38F1EF}"/>
                </a:ext>
              </a:extLst>
            </p:cNvPr>
            <p:cNvSpPr/>
            <p:nvPr/>
          </p:nvSpPr>
          <p:spPr>
            <a:xfrm>
              <a:off x="14750703" y="4126398"/>
              <a:ext cx="280670" cy="224790"/>
            </a:xfrm>
            <a:custGeom>
              <a:avLst/>
              <a:gdLst/>
              <a:ahLst/>
              <a:cxnLst/>
              <a:rect l="l" t="t" r="r" b="b"/>
              <a:pathLst>
                <a:path w="280669" h="224789">
                  <a:moveTo>
                    <a:pt x="0" y="224234"/>
                  </a:moveTo>
                  <a:lnTo>
                    <a:pt x="280525" y="224234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24234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7" name="object 30">
              <a:extLst>
                <a:ext uri="{FF2B5EF4-FFF2-40B4-BE49-F238E27FC236}">
                  <a16:creationId xmlns:a16="http://schemas.microsoft.com/office/drawing/2014/main" id="{E9F0F98E-C6F3-DE80-93B8-5EBEAFCDBB71}"/>
                </a:ext>
              </a:extLst>
            </p:cNvPr>
            <p:cNvSpPr/>
            <p:nvPr/>
          </p:nvSpPr>
          <p:spPr>
            <a:xfrm>
              <a:off x="14750703" y="4350632"/>
              <a:ext cx="280670" cy="250825"/>
            </a:xfrm>
            <a:custGeom>
              <a:avLst/>
              <a:gdLst/>
              <a:ahLst/>
              <a:cxnLst/>
              <a:rect l="l" t="t" r="r" b="b"/>
              <a:pathLst>
                <a:path w="280669" h="250825">
                  <a:moveTo>
                    <a:pt x="0" y="250704"/>
                  </a:moveTo>
                  <a:lnTo>
                    <a:pt x="280525" y="250704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50704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8" name="object 31">
              <a:extLst>
                <a:ext uri="{FF2B5EF4-FFF2-40B4-BE49-F238E27FC236}">
                  <a16:creationId xmlns:a16="http://schemas.microsoft.com/office/drawing/2014/main" id="{2D006334-4B77-708E-C7EF-9390FBF453DE}"/>
                </a:ext>
              </a:extLst>
            </p:cNvPr>
            <p:cNvSpPr/>
            <p:nvPr/>
          </p:nvSpPr>
          <p:spPr>
            <a:xfrm>
              <a:off x="15142031" y="3331595"/>
              <a:ext cx="280670" cy="760095"/>
            </a:xfrm>
            <a:custGeom>
              <a:avLst/>
              <a:gdLst/>
              <a:ahLst/>
              <a:cxnLst/>
              <a:rect l="l" t="t" r="r" b="b"/>
              <a:pathLst>
                <a:path w="280669" h="760095">
                  <a:moveTo>
                    <a:pt x="0" y="759955"/>
                  </a:moveTo>
                  <a:lnTo>
                    <a:pt x="280535" y="759955"/>
                  </a:lnTo>
                  <a:lnTo>
                    <a:pt x="280535" y="0"/>
                  </a:lnTo>
                  <a:lnTo>
                    <a:pt x="0" y="0"/>
                  </a:lnTo>
                  <a:lnTo>
                    <a:pt x="0" y="759955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9" name="object 32">
              <a:extLst>
                <a:ext uri="{FF2B5EF4-FFF2-40B4-BE49-F238E27FC236}">
                  <a16:creationId xmlns:a16="http://schemas.microsoft.com/office/drawing/2014/main" id="{FFF79163-BCAB-D11F-16B2-7533733CA102}"/>
                </a:ext>
              </a:extLst>
            </p:cNvPr>
            <p:cNvSpPr/>
            <p:nvPr/>
          </p:nvSpPr>
          <p:spPr>
            <a:xfrm>
              <a:off x="15142031" y="4091550"/>
              <a:ext cx="280670" cy="233679"/>
            </a:xfrm>
            <a:custGeom>
              <a:avLst/>
              <a:gdLst/>
              <a:ahLst/>
              <a:cxnLst/>
              <a:rect l="l" t="t" r="r" b="b"/>
              <a:pathLst>
                <a:path w="280669" h="233679">
                  <a:moveTo>
                    <a:pt x="0" y="233102"/>
                  </a:moveTo>
                  <a:lnTo>
                    <a:pt x="280535" y="233102"/>
                  </a:lnTo>
                  <a:lnTo>
                    <a:pt x="280535" y="0"/>
                  </a:lnTo>
                  <a:lnTo>
                    <a:pt x="0" y="0"/>
                  </a:lnTo>
                  <a:lnTo>
                    <a:pt x="0" y="233102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0" name="object 33">
              <a:extLst>
                <a:ext uri="{FF2B5EF4-FFF2-40B4-BE49-F238E27FC236}">
                  <a16:creationId xmlns:a16="http://schemas.microsoft.com/office/drawing/2014/main" id="{D76866B0-6294-7D87-43D6-DB3372806E69}"/>
                </a:ext>
              </a:extLst>
            </p:cNvPr>
            <p:cNvSpPr/>
            <p:nvPr/>
          </p:nvSpPr>
          <p:spPr>
            <a:xfrm>
              <a:off x="15142031" y="4324653"/>
              <a:ext cx="280670" cy="242570"/>
            </a:xfrm>
            <a:custGeom>
              <a:avLst/>
              <a:gdLst/>
              <a:ahLst/>
              <a:cxnLst/>
              <a:rect l="l" t="t" r="r" b="b"/>
              <a:pathLst>
                <a:path w="280669" h="242570">
                  <a:moveTo>
                    <a:pt x="0" y="242348"/>
                  </a:moveTo>
                  <a:lnTo>
                    <a:pt x="280535" y="242348"/>
                  </a:lnTo>
                  <a:lnTo>
                    <a:pt x="280535" y="0"/>
                  </a:lnTo>
                  <a:lnTo>
                    <a:pt x="0" y="0"/>
                  </a:lnTo>
                  <a:lnTo>
                    <a:pt x="0" y="242348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1" name="object 34">
              <a:extLst>
                <a:ext uri="{FF2B5EF4-FFF2-40B4-BE49-F238E27FC236}">
                  <a16:creationId xmlns:a16="http://schemas.microsoft.com/office/drawing/2014/main" id="{86BAEAA5-A60D-644F-A989-5B0C5798ECD7}"/>
                </a:ext>
              </a:extLst>
            </p:cNvPr>
            <p:cNvSpPr/>
            <p:nvPr/>
          </p:nvSpPr>
          <p:spPr>
            <a:xfrm>
              <a:off x="15533391" y="3215828"/>
              <a:ext cx="280670" cy="835025"/>
            </a:xfrm>
            <a:custGeom>
              <a:avLst/>
              <a:gdLst/>
              <a:ahLst/>
              <a:cxnLst/>
              <a:rect l="l" t="t" r="r" b="b"/>
              <a:pathLst>
                <a:path w="280669" h="835025">
                  <a:moveTo>
                    <a:pt x="0" y="834602"/>
                  </a:moveTo>
                  <a:lnTo>
                    <a:pt x="280525" y="834602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834602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2" name="object 35">
              <a:extLst>
                <a:ext uri="{FF2B5EF4-FFF2-40B4-BE49-F238E27FC236}">
                  <a16:creationId xmlns:a16="http://schemas.microsoft.com/office/drawing/2014/main" id="{36487686-DB04-8959-62BE-6AE1091E738F}"/>
                </a:ext>
              </a:extLst>
            </p:cNvPr>
            <p:cNvSpPr/>
            <p:nvPr/>
          </p:nvSpPr>
          <p:spPr>
            <a:xfrm>
              <a:off x="15533391" y="4050431"/>
              <a:ext cx="280670" cy="243840"/>
            </a:xfrm>
            <a:custGeom>
              <a:avLst/>
              <a:gdLst/>
              <a:ahLst/>
              <a:cxnLst/>
              <a:rect l="l" t="t" r="r" b="b"/>
              <a:pathLst>
                <a:path w="280669" h="243839">
                  <a:moveTo>
                    <a:pt x="0" y="243563"/>
                  </a:moveTo>
                  <a:lnTo>
                    <a:pt x="280525" y="243563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43563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3" name="object 36">
              <a:extLst>
                <a:ext uri="{FF2B5EF4-FFF2-40B4-BE49-F238E27FC236}">
                  <a16:creationId xmlns:a16="http://schemas.microsoft.com/office/drawing/2014/main" id="{B5240C52-5C9E-23A9-323C-56C7913A4099}"/>
                </a:ext>
              </a:extLst>
            </p:cNvPr>
            <p:cNvSpPr/>
            <p:nvPr/>
          </p:nvSpPr>
          <p:spPr>
            <a:xfrm>
              <a:off x="15533391" y="4293995"/>
              <a:ext cx="280670" cy="215265"/>
            </a:xfrm>
            <a:custGeom>
              <a:avLst/>
              <a:gdLst/>
              <a:ahLst/>
              <a:cxnLst/>
              <a:rect l="l" t="t" r="r" b="b"/>
              <a:pathLst>
                <a:path w="280669" h="215264">
                  <a:moveTo>
                    <a:pt x="0" y="214988"/>
                  </a:moveTo>
                  <a:lnTo>
                    <a:pt x="280525" y="214988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14988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4" name="object 37">
              <a:extLst>
                <a:ext uri="{FF2B5EF4-FFF2-40B4-BE49-F238E27FC236}">
                  <a16:creationId xmlns:a16="http://schemas.microsoft.com/office/drawing/2014/main" id="{0B342B02-4FFF-FA63-5C50-5CAEB6A85156}"/>
                </a:ext>
              </a:extLst>
            </p:cNvPr>
            <p:cNvSpPr/>
            <p:nvPr/>
          </p:nvSpPr>
          <p:spPr>
            <a:xfrm>
              <a:off x="15924720" y="3403509"/>
              <a:ext cx="280670" cy="669290"/>
            </a:xfrm>
            <a:custGeom>
              <a:avLst/>
              <a:gdLst/>
              <a:ahLst/>
              <a:cxnLst/>
              <a:rect l="l" t="t" r="r" b="b"/>
              <a:pathLst>
                <a:path w="280669" h="669289">
                  <a:moveTo>
                    <a:pt x="0" y="669068"/>
                  </a:moveTo>
                  <a:lnTo>
                    <a:pt x="280525" y="669068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669068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5" name="object 38">
              <a:extLst>
                <a:ext uri="{FF2B5EF4-FFF2-40B4-BE49-F238E27FC236}">
                  <a16:creationId xmlns:a16="http://schemas.microsoft.com/office/drawing/2014/main" id="{90854E23-D2A8-1BCB-3A3B-89F263ECE9F1}"/>
                </a:ext>
              </a:extLst>
            </p:cNvPr>
            <p:cNvSpPr/>
            <p:nvPr/>
          </p:nvSpPr>
          <p:spPr>
            <a:xfrm>
              <a:off x="15924720" y="4072577"/>
              <a:ext cx="280670" cy="238125"/>
            </a:xfrm>
            <a:custGeom>
              <a:avLst/>
              <a:gdLst/>
              <a:ahLst/>
              <a:cxnLst/>
              <a:rect l="l" t="t" r="r" b="b"/>
              <a:pathLst>
                <a:path w="280669" h="238125">
                  <a:moveTo>
                    <a:pt x="0" y="237929"/>
                  </a:moveTo>
                  <a:lnTo>
                    <a:pt x="280525" y="237929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37929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6" name="object 39">
              <a:extLst>
                <a:ext uri="{FF2B5EF4-FFF2-40B4-BE49-F238E27FC236}">
                  <a16:creationId xmlns:a16="http://schemas.microsoft.com/office/drawing/2014/main" id="{6D45FC28-46AB-8617-BE8C-4C980AE932AD}"/>
                </a:ext>
              </a:extLst>
            </p:cNvPr>
            <p:cNvSpPr/>
            <p:nvPr/>
          </p:nvSpPr>
          <p:spPr>
            <a:xfrm>
              <a:off x="15924720" y="4310507"/>
              <a:ext cx="280670" cy="234950"/>
            </a:xfrm>
            <a:custGeom>
              <a:avLst/>
              <a:gdLst/>
              <a:ahLst/>
              <a:cxnLst/>
              <a:rect l="l" t="t" r="r" b="b"/>
              <a:pathLst>
                <a:path w="280669" h="234950">
                  <a:moveTo>
                    <a:pt x="0" y="234453"/>
                  </a:moveTo>
                  <a:lnTo>
                    <a:pt x="280525" y="234453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34453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7" name="object 40">
              <a:extLst>
                <a:ext uri="{FF2B5EF4-FFF2-40B4-BE49-F238E27FC236}">
                  <a16:creationId xmlns:a16="http://schemas.microsoft.com/office/drawing/2014/main" id="{2647D4DA-AD08-CEFC-6265-38AEF11A5BA5}"/>
                </a:ext>
              </a:extLst>
            </p:cNvPr>
            <p:cNvSpPr/>
            <p:nvPr/>
          </p:nvSpPr>
          <p:spPr>
            <a:xfrm>
              <a:off x="16316058" y="3472721"/>
              <a:ext cx="280670" cy="654050"/>
            </a:xfrm>
            <a:custGeom>
              <a:avLst/>
              <a:gdLst/>
              <a:ahLst/>
              <a:cxnLst/>
              <a:rect l="l" t="t" r="r" b="b"/>
              <a:pathLst>
                <a:path w="280669" h="654050">
                  <a:moveTo>
                    <a:pt x="0" y="653676"/>
                  </a:moveTo>
                  <a:lnTo>
                    <a:pt x="280525" y="653676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653676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8" name="object 41">
              <a:extLst>
                <a:ext uri="{FF2B5EF4-FFF2-40B4-BE49-F238E27FC236}">
                  <a16:creationId xmlns:a16="http://schemas.microsoft.com/office/drawing/2014/main" id="{F954B3BB-88D2-AFD9-2D6D-1461574BADBE}"/>
                </a:ext>
              </a:extLst>
            </p:cNvPr>
            <p:cNvSpPr/>
            <p:nvPr/>
          </p:nvSpPr>
          <p:spPr>
            <a:xfrm>
              <a:off x="16316058" y="4126398"/>
              <a:ext cx="280670" cy="224790"/>
            </a:xfrm>
            <a:custGeom>
              <a:avLst/>
              <a:gdLst/>
              <a:ahLst/>
              <a:cxnLst/>
              <a:rect l="l" t="t" r="r" b="b"/>
              <a:pathLst>
                <a:path w="280669" h="224789">
                  <a:moveTo>
                    <a:pt x="0" y="224234"/>
                  </a:moveTo>
                  <a:lnTo>
                    <a:pt x="280525" y="224234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24234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9" name="object 42">
              <a:extLst>
                <a:ext uri="{FF2B5EF4-FFF2-40B4-BE49-F238E27FC236}">
                  <a16:creationId xmlns:a16="http://schemas.microsoft.com/office/drawing/2014/main" id="{6A62BC30-3413-EC51-7931-CDD21E934FD2}"/>
                </a:ext>
              </a:extLst>
            </p:cNvPr>
            <p:cNvSpPr/>
            <p:nvPr/>
          </p:nvSpPr>
          <p:spPr>
            <a:xfrm>
              <a:off x="16316058" y="4350632"/>
              <a:ext cx="280670" cy="216535"/>
            </a:xfrm>
            <a:custGeom>
              <a:avLst/>
              <a:gdLst/>
              <a:ahLst/>
              <a:cxnLst/>
              <a:rect l="l" t="t" r="r" b="b"/>
              <a:pathLst>
                <a:path w="280669" h="216535">
                  <a:moveTo>
                    <a:pt x="0" y="216370"/>
                  </a:moveTo>
                  <a:lnTo>
                    <a:pt x="280525" y="216370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16370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0" name="object 43">
              <a:extLst>
                <a:ext uri="{FF2B5EF4-FFF2-40B4-BE49-F238E27FC236}">
                  <a16:creationId xmlns:a16="http://schemas.microsoft.com/office/drawing/2014/main" id="{50B73DFA-2775-1D61-C8DC-16244A0BC396}"/>
                </a:ext>
              </a:extLst>
            </p:cNvPr>
            <p:cNvSpPr/>
            <p:nvPr/>
          </p:nvSpPr>
          <p:spPr>
            <a:xfrm>
              <a:off x="16707397" y="3403509"/>
              <a:ext cx="280670" cy="688340"/>
            </a:xfrm>
            <a:custGeom>
              <a:avLst/>
              <a:gdLst/>
              <a:ahLst/>
              <a:cxnLst/>
              <a:rect l="l" t="t" r="r" b="b"/>
              <a:pathLst>
                <a:path w="280669" h="688339">
                  <a:moveTo>
                    <a:pt x="0" y="688041"/>
                  </a:moveTo>
                  <a:lnTo>
                    <a:pt x="280525" y="688041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688041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1" name="object 44">
              <a:extLst>
                <a:ext uri="{FF2B5EF4-FFF2-40B4-BE49-F238E27FC236}">
                  <a16:creationId xmlns:a16="http://schemas.microsoft.com/office/drawing/2014/main" id="{ACC36B72-0F36-958C-3629-0FCB697B8B02}"/>
                </a:ext>
              </a:extLst>
            </p:cNvPr>
            <p:cNvSpPr/>
            <p:nvPr/>
          </p:nvSpPr>
          <p:spPr>
            <a:xfrm>
              <a:off x="16707397" y="4091550"/>
              <a:ext cx="280670" cy="233679"/>
            </a:xfrm>
            <a:custGeom>
              <a:avLst/>
              <a:gdLst/>
              <a:ahLst/>
              <a:cxnLst/>
              <a:rect l="l" t="t" r="r" b="b"/>
              <a:pathLst>
                <a:path w="280669" h="233679">
                  <a:moveTo>
                    <a:pt x="0" y="233102"/>
                  </a:moveTo>
                  <a:lnTo>
                    <a:pt x="280525" y="233102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33102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2" name="object 45">
              <a:extLst>
                <a:ext uri="{FF2B5EF4-FFF2-40B4-BE49-F238E27FC236}">
                  <a16:creationId xmlns:a16="http://schemas.microsoft.com/office/drawing/2014/main" id="{6D482ABE-2505-BD1D-2021-1EB1AABC265E}"/>
                </a:ext>
              </a:extLst>
            </p:cNvPr>
            <p:cNvSpPr/>
            <p:nvPr/>
          </p:nvSpPr>
          <p:spPr>
            <a:xfrm>
              <a:off x="16707397" y="4324653"/>
              <a:ext cx="280670" cy="203200"/>
            </a:xfrm>
            <a:custGeom>
              <a:avLst/>
              <a:gdLst/>
              <a:ahLst/>
              <a:cxnLst/>
              <a:rect l="l" t="t" r="r" b="b"/>
              <a:pathLst>
                <a:path w="280669" h="203200">
                  <a:moveTo>
                    <a:pt x="0" y="202925"/>
                  </a:moveTo>
                  <a:lnTo>
                    <a:pt x="280525" y="202925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02925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3" name="object 46">
              <a:extLst>
                <a:ext uri="{FF2B5EF4-FFF2-40B4-BE49-F238E27FC236}">
                  <a16:creationId xmlns:a16="http://schemas.microsoft.com/office/drawing/2014/main" id="{C8F857B7-1ACD-C7E0-78F0-DB49966F37E8}"/>
                </a:ext>
              </a:extLst>
            </p:cNvPr>
            <p:cNvSpPr/>
            <p:nvPr/>
          </p:nvSpPr>
          <p:spPr>
            <a:xfrm>
              <a:off x="17098736" y="3135339"/>
              <a:ext cx="280670" cy="937260"/>
            </a:xfrm>
            <a:custGeom>
              <a:avLst/>
              <a:gdLst/>
              <a:ahLst/>
              <a:cxnLst/>
              <a:rect l="l" t="t" r="r" b="b"/>
              <a:pathLst>
                <a:path w="280669" h="937260">
                  <a:moveTo>
                    <a:pt x="0" y="937238"/>
                  </a:moveTo>
                  <a:lnTo>
                    <a:pt x="280525" y="937238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937238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4" name="object 47">
              <a:extLst>
                <a:ext uri="{FF2B5EF4-FFF2-40B4-BE49-F238E27FC236}">
                  <a16:creationId xmlns:a16="http://schemas.microsoft.com/office/drawing/2014/main" id="{0E1F6EA8-79F0-FF00-A91C-3EDAD4ECB3CC}"/>
                </a:ext>
              </a:extLst>
            </p:cNvPr>
            <p:cNvSpPr/>
            <p:nvPr/>
          </p:nvSpPr>
          <p:spPr>
            <a:xfrm>
              <a:off x="17098736" y="4072577"/>
              <a:ext cx="280670" cy="238125"/>
            </a:xfrm>
            <a:custGeom>
              <a:avLst/>
              <a:gdLst/>
              <a:ahLst/>
              <a:cxnLst/>
              <a:rect l="l" t="t" r="r" b="b"/>
              <a:pathLst>
                <a:path w="280669" h="238125">
                  <a:moveTo>
                    <a:pt x="0" y="237929"/>
                  </a:moveTo>
                  <a:lnTo>
                    <a:pt x="280525" y="237929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37929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5" name="object 48">
              <a:extLst>
                <a:ext uri="{FF2B5EF4-FFF2-40B4-BE49-F238E27FC236}">
                  <a16:creationId xmlns:a16="http://schemas.microsoft.com/office/drawing/2014/main" id="{2DE135EE-D812-0E93-42F7-67732E07BDCE}"/>
                </a:ext>
              </a:extLst>
            </p:cNvPr>
            <p:cNvSpPr/>
            <p:nvPr/>
          </p:nvSpPr>
          <p:spPr>
            <a:xfrm>
              <a:off x="17098736" y="4310507"/>
              <a:ext cx="280670" cy="198755"/>
            </a:xfrm>
            <a:custGeom>
              <a:avLst/>
              <a:gdLst/>
              <a:ahLst/>
              <a:cxnLst/>
              <a:rect l="l" t="t" r="r" b="b"/>
              <a:pathLst>
                <a:path w="280669" h="198754">
                  <a:moveTo>
                    <a:pt x="0" y="198475"/>
                  </a:moveTo>
                  <a:lnTo>
                    <a:pt x="280525" y="198475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198475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6" name="object 49">
              <a:extLst>
                <a:ext uri="{FF2B5EF4-FFF2-40B4-BE49-F238E27FC236}">
                  <a16:creationId xmlns:a16="http://schemas.microsoft.com/office/drawing/2014/main" id="{49C533A4-B774-63F8-661F-4E42D583A5C2}"/>
                </a:ext>
              </a:extLst>
            </p:cNvPr>
            <p:cNvSpPr/>
            <p:nvPr/>
          </p:nvSpPr>
          <p:spPr>
            <a:xfrm>
              <a:off x="17490085" y="2998547"/>
              <a:ext cx="280670" cy="1038225"/>
            </a:xfrm>
            <a:custGeom>
              <a:avLst/>
              <a:gdLst/>
              <a:ahLst/>
              <a:cxnLst/>
              <a:rect l="l" t="t" r="r" b="b"/>
              <a:pathLst>
                <a:path w="280669" h="1038225">
                  <a:moveTo>
                    <a:pt x="0" y="1037884"/>
                  </a:moveTo>
                  <a:lnTo>
                    <a:pt x="280525" y="1037884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1037884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7" name="object 50">
              <a:extLst>
                <a:ext uri="{FF2B5EF4-FFF2-40B4-BE49-F238E27FC236}">
                  <a16:creationId xmlns:a16="http://schemas.microsoft.com/office/drawing/2014/main" id="{FFC13329-0CBB-6F47-B04E-A07F5B7053B8}"/>
                </a:ext>
              </a:extLst>
            </p:cNvPr>
            <p:cNvSpPr/>
            <p:nvPr/>
          </p:nvSpPr>
          <p:spPr>
            <a:xfrm>
              <a:off x="17490085" y="4036432"/>
              <a:ext cx="280670" cy="247650"/>
            </a:xfrm>
            <a:custGeom>
              <a:avLst/>
              <a:gdLst/>
              <a:ahLst/>
              <a:cxnLst/>
              <a:rect l="l" t="t" r="r" b="b"/>
              <a:pathLst>
                <a:path w="280669" h="247650">
                  <a:moveTo>
                    <a:pt x="0" y="247123"/>
                  </a:moveTo>
                  <a:lnTo>
                    <a:pt x="280525" y="247123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247123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8" name="object 51">
              <a:extLst>
                <a:ext uri="{FF2B5EF4-FFF2-40B4-BE49-F238E27FC236}">
                  <a16:creationId xmlns:a16="http://schemas.microsoft.com/office/drawing/2014/main" id="{8C57932E-1A70-3E7C-1715-5B4BBEB67472}"/>
                </a:ext>
              </a:extLst>
            </p:cNvPr>
            <p:cNvSpPr/>
            <p:nvPr/>
          </p:nvSpPr>
          <p:spPr>
            <a:xfrm>
              <a:off x="17490085" y="4283555"/>
              <a:ext cx="280670" cy="187960"/>
            </a:xfrm>
            <a:custGeom>
              <a:avLst/>
              <a:gdLst/>
              <a:ahLst/>
              <a:cxnLst/>
              <a:rect l="l" t="t" r="r" b="b"/>
              <a:pathLst>
                <a:path w="280669" h="187960">
                  <a:moveTo>
                    <a:pt x="0" y="187680"/>
                  </a:moveTo>
                  <a:lnTo>
                    <a:pt x="280525" y="187680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187680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9" name="object 52">
              <a:extLst>
                <a:ext uri="{FF2B5EF4-FFF2-40B4-BE49-F238E27FC236}">
                  <a16:creationId xmlns:a16="http://schemas.microsoft.com/office/drawing/2014/main" id="{18ED1884-49AC-751C-E1FB-D09297F79F3C}"/>
                </a:ext>
              </a:extLst>
            </p:cNvPr>
            <p:cNvSpPr/>
            <p:nvPr/>
          </p:nvSpPr>
          <p:spPr>
            <a:xfrm>
              <a:off x="17881414" y="3215828"/>
              <a:ext cx="280670" cy="915669"/>
            </a:xfrm>
            <a:custGeom>
              <a:avLst/>
              <a:gdLst/>
              <a:ahLst/>
              <a:cxnLst/>
              <a:rect l="l" t="t" r="r" b="b"/>
              <a:pathLst>
                <a:path w="280669" h="915670">
                  <a:moveTo>
                    <a:pt x="0" y="915668"/>
                  </a:moveTo>
                  <a:lnTo>
                    <a:pt x="280525" y="915668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915668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0" name="object 53">
              <a:extLst>
                <a:ext uri="{FF2B5EF4-FFF2-40B4-BE49-F238E27FC236}">
                  <a16:creationId xmlns:a16="http://schemas.microsoft.com/office/drawing/2014/main" id="{B4A928D6-21D3-E08B-24CB-CDC0224EF611}"/>
                </a:ext>
              </a:extLst>
            </p:cNvPr>
            <p:cNvSpPr/>
            <p:nvPr/>
          </p:nvSpPr>
          <p:spPr>
            <a:xfrm>
              <a:off x="17881414" y="4131497"/>
              <a:ext cx="280670" cy="189865"/>
            </a:xfrm>
            <a:custGeom>
              <a:avLst/>
              <a:gdLst/>
              <a:ahLst/>
              <a:cxnLst/>
              <a:rect l="l" t="t" r="r" b="b"/>
              <a:pathLst>
                <a:path w="280669" h="189864">
                  <a:moveTo>
                    <a:pt x="0" y="189711"/>
                  </a:moveTo>
                  <a:lnTo>
                    <a:pt x="280525" y="189711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189711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1" name="object 54">
              <a:extLst>
                <a:ext uri="{FF2B5EF4-FFF2-40B4-BE49-F238E27FC236}">
                  <a16:creationId xmlns:a16="http://schemas.microsoft.com/office/drawing/2014/main" id="{1E355EF5-8FF8-4210-3FA4-BF632A5B0130}"/>
                </a:ext>
              </a:extLst>
            </p:cNvPr>
            <p:cNvSpPr/>
            <p:nvPr/>
          </p:nvSpPr>
          <p:spPr>
            <a:xfrm>
              <a:off x="17881414" y="4321208"/>
              <a:ext cx="280670" cy="150495"/>
            </a:xfrm>
            <a:custGeom>
              <a:avLst/>
              <a:gdLst/>
              <a:ahLst/>
              <a:cxnLst/>
              <a:rect l="l" t="t" r="r" b="b"/>
              <a:pathLst>
                <a:path w="280669" h="150495">
                  <a:moveTo>
                    <a:pt x="0" y="150026"/>
                  </a:moveTo>
                  <a:lnTo>
                    <a:pt x="280525" y="150026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150026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2" name="object 55">
              <a:extLst>
                <a:ext uri="{FF2B5EF4-FFF2-40B4-BE49-F238E27FC236}">
                  <a16:creationId xmlns:a16="http://schemas.microsoft.com/office/drawing/2014/main" id="{D52AD109-EE6D-100E-CAA0-6359F6F413BB}"/>
                </a:ext>
              </a:extLst>
            </p:cNvPr>
            <p:cNvSpPr/>
            <p:nvPr/>
          </p:nvSpPr>
          <p:spPr>
            <a:xfrm>
              <a:off x="18272763" y="3765225"/>
              <a:ext cx="280670" cy="583565"/>
            </a:xfrm>
            <a:custGeom>
              <a:avLst/>
              <a:gdLst/>
              <a:ahLst/>
              <a:cxnLst/>
              <a:rect l="l" t="t" r="r" b="b"/>
              <a:pathLst>
                <a:path w="280669" h="583564">
                  <a:moveTo>
                    <a:pt x="0" y="583270"/>
                  </a:moveTo>
                  <a:lnTo>
                    <a:pt x="280515" y="583270"/>
                  </a:lnTo>
                  <a:lnTo>
                    <a:pt x="280515" y="0"/>
                  </a:lnTo>
                  <a:lnTo>
                    <a:pt x="0" y="0"/>
                  </a:lnTo>
                  <a:lnTo>
                    <a:pt x="0" y="583270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3" name="object 56">
              <a:extLst>
                <a:ext uri="{FF2B5EF4-FFF2-40B4-BE49-F238E27FC236}">
                  <a16:creationId xmlns:a16="http://schemas.microsoft.com/office/drawing/2014/main" id="{B958CD4B-D6FC-41D1-E633-8BCDB732742D}"/>
                </a:ext>
              </a:extLst>
            </p:cNvPr>
            <p:cNvSpPr/>
            <p:nvPr/>
          </p:nvSpPr>
          <p:spPr>
            <a:xfrm>
              <a:off x="18272763" y="4348496"/>
              <a:ext cx="280670" cy="102235"/>
            </a:xfrm>
            <a:custGeom>
              <a:avLst/>
              <a:gdLst/>
              <a:ahLst/>
              <a:cxnLst/>
              <a:rect l="l" t="t" r="r" b="b"/>
              <a:pathLst>
                <a:path w="280669" h="102235">
                  <a:moveTo>
                    <a:pt x="0" y="101682"/>
                  </a:moveTo>
                  <a:lnTo>
                    <a:pt x="280515" y="101682"/>
                  </a:lnTo>
                  <a:lnTo>
                    <a:pt x="280515" y="0"/>
                  </a:lnTo>
                  <a:lnTo>
                    <a:pt x="0" y="0"/>
                  </a:lnTo>
                  <a:lnTo>
                    <a:pt x="0" y="101682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4" name="object 57">
              <a:extLst>
                <a:ext uri="{FF2B5EF4-FFF2-40B4-BE49-F238E27FC236}">
                  <a16:creationId xmlns:a16="http://schemas.microsoft.com/office/drawing/2014/main" id="{68FF4BA5-DF46-8D61-1B5F-6362562F156D}"/>
                </a:ext>
              </a:extLst>
            </p:cNvPr>
            <p:cNvSpPr/>
            <p:nvPr/>
          </p:nvSpPr>
          <p:spPr>
            <a:xfrm>
              <a:off x="18272763" y="4450178"/>
              <a:ext cx="280670" cy="95250"/>
            </a:xfrm>
            <a:custGeom>
              <a:avLst/>
              <a:gdLst/>
              <a:ahLst/>
              <a:cxnLst/>
              <a:rect l="l" t="t" r="r" b="b"/>
              <a:pathLst>
                <a:path w="280669" h="95250">
                  <a:moveTo>
                    <a:pt x="0" y="94782"/>
                  </a:moveTo>
                  <a:lnTo>
                    <a:pt x="280515" y="94782"/>
                  </a:lnTo>
                  <a:lnTo>
                    <a:pt x="280515" y="0"/>
                  </a:lnTo>
                  <a:lnTo>
                    <a:pt x="0" y="0"/>
                  </a:lnTo>
                  <a:lnTo>
                    <a:pt x="0" y="94782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5" name="object 58">
              <a:extLst>
                <a:ext uri="{FF2B5EF4-FFF2-40B4-BE49-F238E27FC236}">
                  <a16:creationId xmlns:a16="http://schemas.microsoft.com/office/drawing/2014/main" id="{34E50F1B-407A-C66A-B3B3-F51813576107}"/>
                </a:ext>
              </a:extLst>
            </p:cNvPr>
            <p:cNvSpPr/>
            <p:nvPr/>
          </p:nvSpPr>
          <p:spPr>
            <a:xfrm>
              <a:off x="18664102" y="3647616"/>
              <a:ext cx="280670" cy="636270"/>
            </a:xfrm>
            <a:custGeom>
              <a:avLst/>
              <a:gdLst/>
              <a:ahLst/>
              <a:cxnLst/>
              <a:rect l="l" t="t" r="r" b="b"/>
              <a:pathLst>
                <a:path w="280669" h="636270">
                  <a:moveTo>
                    <a:pt x="0" y="635938"/>
                  </a:moveTo>
                  <a:lnTo>
                    <a:pt x="280525" y="635938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635938"/>
                  </a:lnTo>
                  <a:close/>
                </a:path>
              </a:pathLst>
            </a:custGeom>
            <a:solidFill>
              <a:srgbClr val="004E4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6" name="object 59">
              <a:extLst>
                <a:ext uri="{FF2B5EF4-FFF2-40B4-BE49-F238E27FC236}">
                  <a16:creationId xmlns:a16="http://schemas.microsoft.com/office/drawing/2014/main" id="{42B4F203-3ED5-AED5-B252-DF07BA1E4694}"/>
                </a:ext>
              </a:extLst>
            </p:cNvPr>
            <p:cNvSpPr/>
            <p:nvPr/>
          </p:nvSpPr>
          <p:spPr>
            <a:xfrm>
              <a:off x="18664102" y="4283555"/>
              <a:ext cx="280670" cy="112395"/>
            </a:xfrm>
            <a:custGeom>
              <a:avLst/>
              <a:gdLst/>
              <a:ahLst/>
              <a:cxnLst/>
              <a:rect l="l" t="t" r="r" b="b"/>
              <a:pathLst>
                <a:path w="280669" h="112395">
                  <a:moveTo>
                    <a:pt x="0" y="111776"/>
                  </a:moveTo>
                  <a:lnTo>
                    <a:pt x="280525" y="111776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111776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7" name="object 60">
              <a:extLst>
                <a:ext uri="{FF2B5EF4-FFF2-40B4-BE49-F238E27FC236}">
                  <a16:creationId xmlns:a16="http://schemas.microsoft.com/office/drawing/2014/main" id="{A696A0CF-00E0-A101-EB5E-E5BC170BF255}"/>
                </a:ext>
              </a:extLst>
            </p:cNvPr>
            <p:cNvSpPr/>
            <p:nvPr/>
          </p:nvSpPr>
          <p:spPr>
            <a:xfrm>
              <a:off x="18664102" y="4395332"/>
              <a:ext cx="280670" cy="149860"/>
            </a:xfrm>
            <a:custGeom>
              <a:avLst/>
              <a:gdLst/>
              <a:ahLst/>
              <a:cxnLst/>
              <a:rect l="l" t="t" r="r" b="b"/>
              <a:pathLst>
                <a:path w="280669" h="149860">
                  <a:moveTo>
                    <a:pt x="0" y="149628"/>
                  </a:moveTo>
                  <a:lnTo>
                    <a:pt x="280525" y="149628"/>
                  </a:lnTo>
                  <a:lnTo>
                    <a:pt x="280525" y="0"/>
                  </a:lnTo>
                  <a:lnTo>
                    <a:pt x="0" y="0"/>
                  </a:lnTo>
                  <a:lnTo>
                    <a:pt x="0" y="149628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8" name="object 61">
              <a:extLst>
                <a:ext uri="{FF2B5EF4-FFF2-40B4-BE49-F238E27FC236}">
                  <a16:creationId xmlns:a16="http://schemas.microsoft.com/office/drawing/2014/main" id="{36BE4F47-F5C5-8504-0F3B-04C9C7D45351}"/>
                </a:ext>
              </a:extLst>
            </p:cNvPr>
            <p:cNvSpPr/>
            <p:nvPr/>
          </p:nvSpPr>
          <p:spPr>
            <a:xfrm>
              <a:off x="14750695" y="4471244"/>
              <a:ext cx="4194175" cy="781685"/>
            </a:xfrm>
            <a:custGeom>
              <a:avLst/>
              <a:gdLst/>
              <a:ahLst/>
              <a:cxnLst/>
              <a:rect l="l" t="t" r="r" b="b"/>
              <a:pathLst>
                <a:path w="4194175" h="781685">
                  <a:moveTo>
                    <a:pt x="280530" y="130098"/>
                  </a:moveTo>
                  <a:lnTo>
                    <a:pt x="0" y="130098"/>
                  </a:lnTo>
                  <a:lnTo>
                    <a:pt x="0" y="781494"/>
                  </a:lnTo>
                  <a:lnTo>
                    <a:pt x="280530" y="781494"/>
                  </a:lnTo>
                  <a:lnTo>
                    <a:pt x="280530" y="130098"/>
                  </a:lnTo>
                  <a:close/>
                </a:path>
                <a:path w="4194175" h="781685">
                  <a:moveTo>
                    <a:pt x="671868" y="95758"/>
                  </a:moveTo>
                  <a:lnTo>
                    <a:pt x="391325" y="95758"/>
                  </a:lnTo>
                  <a:lnTo>
                    <a:pt x="391325" y="781494"/>
                  </a:lnTo>
                  <a:lnTo>
                    <a:pt x="671868" y="781494"/>
                  </a:lnTo>
                  <a:lnTo>
                    <a:pt x="671868" y="95758"/>
                  </a:lnTo>
                  <a:close/>
                </a:path>
                <a:path w="4194175" h="781685">
                  <a:moveTo>
                    <a:pt x="1063218" y="37744"/>
                  </a:moveTo>
                  <a:lnTo>
                    <a:pt x="782688" y="37744"/>
                  </a:lnTo>
                  <a:lnTo>
                    <a:pt x="782688" y="781494"/>
                  </a:lnTo>
                  <a:lnTo>
                    <a:pt x="1063218" y="781494"/>
                  </a:lnTo>
                  <a:lnTo>
                    <a:pt x="1063218" y="37744"/>
                  </a:lnTo>
                  <a:close/>
                </a:path>
                <a:path w="4194175" h="781685">
                  <a:moveTo>
                    <a:pt x="1454543" y="73723"/>
                  </a:moveTo>
                  <a:lnTo>
                    <a:pt x="1174013" y="73723"/>
                  </a:lnTo>
                  <a:lnTo>
                    <a:pt x="1174013" y="781494"/>
                  </a:lnTo>
                  <a:lnTo>
                    <a:pt x="1454543" y="781494"/>
                  </a:lnTo>
                  <a:lnTo>
                    <a:pt x="1454543" y="73723"/>
                  </a:lnTo>
                  <a:close/>
                </a:path>
                <a:path w="4194175" h="781685">
                  <a:moveTo>
                    <a:pt x="1845881" y="95758"/>
                  </a:moveTo>
                  <a:lnTo>
                    <a:pt x="1565363" y="95758"/>
                  </a:lnTo>
                  <a:lnTo>
                    <a:pt x="1565363" y="781494"/>
                  </a:lnTo>
                  <a:lnTo>
                    <a:pt x="1845881" y="781494"/>
                  </a:lnTo>
                  <a:lnTo>
                    <a:pt x="1845881" y="95758"/>
                  </a:lnTo>
                  <a:close/>
                </a:path>
                <a:path w="4194175" h="781685">
                  <a:moveTo>
                    <a:pt x="2237219" y="56337"/>
                  </a:moveTo>
                  <a:lnTo>
                    <a:pt x="1956701" y="56337"/>
                  </a:lnTo>
                  <a:lnTo>
                    <a:pt x="1956701" y="781494"/>
                  </a:lnTo>
                  <a:lnTo>
                    <a:pt x="2237219" y="781494"/>
                  </a:lnTo>
                  <a:lnTo>
                    <a:pt x="2237219" y="56337"/>
                  </a:lnTo>
                  <a:close/>
                </a:path>
                <a:path w="4194175" h="781685">
                  <a:moveTo>
                    <a:pt x="2628557" y="37744"/>
                  </a:moveTo>
                  <a:lnTo>
                    <a:pt x="2348039" y="37744"/>
                  </a:lnTo>
                  <a:lnTo>
                    <a:pt x="2348039" y="781494"/>
                  </a:lnTo>
                  <a:lnTo>
                    <a:pt x="2628557" y="781494"/>
                  </a:lnTo>
                  <a:lnTo>
                    <a:pt x="2628557" y="37744"/>
                  </a:lnTo>
                  <a:close/>
                </a:path>
                <a:path w="4194175" h="781685">
                  <a:moveTo>
                    <a:pt x="3019907" y="0"/>
                  </a:moveTo>
                  <a:lnTo>
                    <a:pt x="2739390" y="0"/>
                  </a:lnTo>
                  <a:lnTo>
                    <a:pt x="2739390" y="781494"/>
                  </a:lnTo>
                  <a:lnTo>
                    <a:pt x="3019907" y="781494"/>
                  </a:lnTo>
                  <a:lnTo>
                    <a:pt x="3019907" y="0"/>
                  </a:lnTo>
                  <a:close/>
                </a:path>
                <a:path w="4194175" h="781685">
                  <a:moveTo>
                    <a:pt x="3411232" y="0"/>
                  </a:moveTo>
                  <a:lnTo>
                    <a:pt x="3130715" y="0"/>
                  </a:lnTo>
                  <a:lnTo>
                    <a:pt x="3130715" y="781494"/>
                  </a:lnTo>
                  <a:lnTo>
                    <a:pt x="3411232" y="781494"/>
                  </a:lnTo>
                  <a:lnTo>
                    <a:pt x="3411232" y="0"/>
                  </a:lnTo>
                  <a:close/>
                </a:path>
                <a:path w="4194175" h="781685">
                  <a:moveTo>
                    <a:pt x="3802583" y="73723"/>
                  </a:moveTo>
                  <a:lnTo>
                    <a:pt x="3522065" y="73723"/>
                  </a:lnTo>
                  <a:lnTo>
                    <a:pt x="3522065" y="781494"/>
                  </a:lnTo>
                  <a:lnTo>
                    <a:pt x="3802583" y="781494"/>
                  </a:lnTo>
                  <a:lnTo>
                    <a:pt x="3802583" y="73723"/>
                  </a:lnTo>
                  <a:close/>
                </a:path>
                <a:path w="4194175" h="781685">
                  <a:moveTo>
                    <a:pt x="4193921" y="73723"/>
                  </a:moveTo>
                  <a:lnTo>
                    <a:pt x="3913403" y="73723"/>
                  </a:lnTo>
                  <a:lnTo>
                    <a:pt x="3913403" y="781494"/>
                  </a:lnTo>
                  <a:lnTo>
                    <a:pt x="4193921" y="781494"/>
                  </a:lnTo>
                  <a:lnTo>
                    <a:pt x="4193921" y="73723"/>
                  </a:lnTo>
                  <a:close/>
                </a:path>
              </a:pathLst>
            </a:custGeom>
            <a:solidFill>
              <a:srgbClr val="D1E0D7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9" name="object 62">
              <a:extLst>
                <a:ext uri="{FF2B5EF4-FFF2-40B4-BE49-F238E27FC236}">
                  <a16:creationId xmlns:a16="http://schemas.microsoft.com/office/drawing/2014/main" id="{D549D0E7-9C68-153E-56F5-89F82F9AB558}"/>
                </a:ext>
              </a:extLst>
            </p:cNvPr>
            <p:cNvSpPr/>
            <p:nvPr/>
          </p:nvSpPr>
          <p:spPr>
            <a:xfrm>
              <a:off x="14750700" y="3654115"/>
              <a:ext cx="4194175" cy="379730"/>
            </a:xfrm>
            <a:custGeom>
              <a:avLst/>
              <a:gdLst/>
              <a:ahLst/>
              <a:cxnLst/>
              <a:rect l="l" t="t" r="r" b="b"/>
              <a:pathLst>
                <a:path w="4194175" h="379729">
                  <a:moveTo>
                    <a:pt x="0" y="58634"/>
                  </a:moveTo>
                  <a:lnTo>
                    <a:pt x="464383" y="1736"/>
                  </a:lnTo>
                  <a:lnTo>
                    <a:pt x="496576" y="0"/>
                  </a:lnTo>
                  <a:lnTo>
                    <a:pt x="528288" y="2556"/>
                  </a:lnTo>
                  <a:lnTo>
                    <a:pt x="558487" y="9250"/>
                  </a:lnTo>
                  <a:lnTo>
                    <a:pt x="586139" y="19923"/>
                  </a:lnTo>
                  <a:lnTo>
                    <a:pt x="873031" y="158893"/>
                  </a:lnTo>
                  <a:lnTo>
                    <a:pt x="898434" y="168881"/>
                  </a:lnTo>
                  <a:lnTo>
                    <a:pt x="926121" y="175495"/>
                  </a:lnTo>
                  <a:lnTo>
                    <a:pt x="955280" y="178598"/>
                  </a:lnTo>
                  <a:lnTo>
                    <a:pt x="985100" y="178055"/>
                  </a:lnTo>
                  <a:lnTo>
                    <a:pt x="3174887" y="1254"/>
                  </a:lnTo>
                  <a:lnTo>
                    <a:pt x="3218358" y="1704"/>
                  </a:lnTo>
                  <a:lnTo>
                    <a:pt x="3259141" y="9695"/>
                  </a:lnTo>
                  <a:lnTo>
                    <a:pt x="3294914" y="24535"/>
                  </a:lnTo>
                  <a:lnTo>
                    <a:pt x="3323354" y="45535"/>
                  </a:lnTo>
                  <a:lnTo>
                    <a:pt x="3613963" y="334270"/>
                  </a:lnTo>
                  <a:lnTo>
                    <a:pt x="3640321" y="354087"/>
                  </a:lnTo>
                  <a:lnTo>
                    <a:pt x="3673303" y="368584"/>
                  </a:lnTo>
                  <a:lnTo>
                    <a:pt x="3711029" y="377147"/>
                  </a:lnTo>
                  <a:lnTo>
                    <a:pt x="3751623" y="379159"/>
                  </a:lnTo>
                  <a:lnTo>
                    <a:pt x="4193924" y="363557"/>
                  </a:lnTo>
                </a:path>
              </a:pathLst>
            </a:custGeom>
            <a:ln w="10470">
              <a:solidFill>
                <a:srgbClr val="789F90"/>
              </a:solidFill>
            </a:ln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50" name="object 63">
              <a:extLst>
                <a:ext uri="{FF2B5EF4-FFF2-40B4-BE49-F238E27FC236}">
                  <a16:creationId xmlns:a16="http://schemas.microsoft.com/office/drawing/2014/main" id="{AC9CB921-84B6-E87E-72E1-8844DB127BD7}"/>
                </a:ext>
              </a:extLst>
            </p:cNvPr>
            <p:cNvSpPr/>
            <p:nvPr/>
          </p:nvSpPr>
          <p:spPr>
            <a:xfrm>
              <a:off x="14749791" y="4097116"/>
              <a:ext cx="4194810" cy="299720"/>
            </a:xfrm>
            <a:custGeom>
              <a:avLst/>
              <a:gdLst/>
              <a:ahLst/>
              <a:cxnLst/>
              <a:rect l="l" t="t" r="r" b="b"/>
              <a:pathLst>
                <a:path w="4194809" h="299720">
                  <a:moveTo>
                    <a:pt x="0" y="243186"/>
                  </a:moveTo>
                  <a:lnTo>
                    <a:pt x="3187861" y="0"/>
                  </a:lnTo>
                  <a:lnTo>
                    <a:pt x="3226720" y="197"/>
                  </a:lnTo>
                  <a:lnTo>
                    <a:pt x="3263710" y="6478"/>
                  </a:lnTo>
                  <a:lnTo>
                    <a:pt x="3297125" y="18402"/>
                  </a:lnTo>
                  <a:lnTo>
                    <a:pt x="3325260" y="35527"/>
                  </a:lnTo>
                  <a:lnTo>
                    <a:pt x="3614779" y="263049"/>
                  </a:lnTo>
                  <a:lnTo>
                    <a:pt x="3640416" y="278981"/>
                  </a:lnTo>
                  <a:lnTo>
                    <a:pt x="3670702" y="290570"/>
                  </a:lnTo>
                  <a:lnTo>
                    <a:pt x="3704329" y="297439"/>
                  </a:lnTo>
                  <a:lnTo>
                    <a:pt x="3739990" y="299205"/>
                  </a:lnTo>
                  <a:lnTo>
                    <a:pt x="4194531" y="287802"/>
                  </a:lnTo>
                </a:path>
              </a:pathLst>
            </a:custGeom>
            <a:ln w="1172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51" name="object 64">
              <a:extLst>
                <a:ext uri="{FF2B5EF4-FFF2-40B4-BE49-F238E27FC236}">
                  <a16:creationId xmlns:a16="http://schemas.microsoft.com/office/drawing/2014/main" id="{5DBBC1F4-2908-05E2-ADA3-94BE9888306D}"/>
                </a:ext>
              </a:extLst>
            </p:cNvPr>
            <p:cNvSpPr/>
            <p:nvPr/>
          </p:nvSpPr>
          <p:spPr>
            <a:xfrm>
              <a:off x="13880095" y="5252726"/>
              <a:ext cx="5328285" cy="0"/>
            </a:xfrm>
            <a:custGeom>
              <a:avLst/>
              <a:gdLst/>
              <a:ahLst/>
              <a:cxnLst/>
              <a:rect l="l" t="t" r="r" b="b"/>
              <a:pathLst>
                <a:path w="5328284">
                  <a:moveTo>
                    <a:pt x="0" y="0"/>
                  </a:moveTo>
                  <a:lnTo>
                    <a:pt x="5327816" y="0"/>
                  </a:lnTo>
                </a:path>
              </a:pathLst>
            </a:custGeom>
            <a:ln w="10470">
              <a:solidFill>
                <a:srgbClr val="616161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152" name="object 65">
            <a:extLst>
              <a:ext uri="{FF2B5EF4-FFF2-40B4-BE49-F238E27FC236}">
                <a16:creationId xmlns:a16="http://schemas.microsoft.com/office/drawing/2014/main" id="{7E721468-8220-B48B-8C3C-B87748566C03}"/>
              </a:ext>
            </a:extLst>
          </p:cNvPr>
          <p:cNvSpPr/>
          <p:nvPr/>
        </p:nvSpPr>
        <p:spPr>
          <a:xfrm>
            <a:off x="8254848" y="3746214"/>
            <a:ext cx="3556071" cy="2413200"/>
          </a:xfrm>
          <a:custGeom>
            <a:avLst/>
            <a:gdLst/>
            <a:ahLst/>
            <a:cxnLst/>
            <a:rect l="l" t="t" r="r" b="b"/>
            <a:pathLst>
              <a:path w="5864225" h="3979545">
                <a:moveTo>
                  <a:pt x="5863706" y="0"/>
                </a:moveTo>
                <a:lnTo>
                  <a:pt x="0" y="0"/>
                </a:lnTo>
                <a:lnTo>
                  <a:pt x="0" y="3978936"/>
                </a:lnTo>
                <a:lnTo>
                  <a:pt x="5863706" y="3978936"/>
                </a:lnTo>
                <a:lnTo>
                  <a:pt x="5863706" y="0"/>
                </a:lnTo>
                <a:close/>
              </a:path>
            </a:pathLst>
          </a:custGeom>
          <a:solidFill>
            <a:srgbClr val="004E4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3" name="object 66">
            <a:extLst>
              <a:ext uri="{FF2B5EF4-FFF2-40B4-BE49-F238E27FC236}">
                <a16:creationId xmlns:a16="http://schemas.microsoft.com/office/drawing/2014/main" id="{F128D054-4886-F0E6-D46E-1453DFE5332F}"/>
              </a:ext>
            </a:extLst>
          </p:cNvPr>
          <p:cNvSpPr txBox="1"/>
          <p:nvPr/>
        </p:nvSpPr>
        <p:spPr>
          <a:xfrm>
            <a:off x="8254848" y="3746215"/>
            <a:ext cx="3556071" cy="1849898"/>
          </a:xfrm>
          <a:prstGeom prst="rect">
            <a:avLst/>
          </a:prstGeom>
        </p:spPr>
        <p:txBody>
          <a:bodyPr vert="horz" wrap="square" lIns="0" tIns="45053" rIns="0" bIns="0" rtlCol="0">
            <a:spAutoFit/>
          </a:bodyPr>
          <a:lstStyle/>
          <a:p>
            <a:pPr>
              <a:spcBef>
                <a:spcPts val="355"/>
              </a:spcBef>
            </a:pPr>
            <a:endParaRPr sz="879">
              <a:latin typeface="Times New Roman"/>
              <a:cs typeface="Times New Roman"/>
            </a:endParaRPr>
          </a:p>
          <a:p>
            <a:pPr marL="148635"/>
            <a:r>
              <a:rPr sz="879" dirty="0">
                <a:solidFill>
                  <a:srgbClr val="FFFFFF"/>
                </a:solidFill>
                <a:latin typeface="Sora Medium"/>
                <a:cs typeface="Sora Medium"/>
              </a:rPr>
              <a:t>Distribution</a:t>
            </a:r>
            <a:r>
              <a:rPr sz="879" spc="27" dirty="0">
                <a:solidFill>
                  <a:srgbClr val="FFFFFF"/>
                </a:solidFill>
                <a:latin typeface="Sora Medium"/>
                <a:cs typeface="Sora Medium"/>
              </a:rPr>
              <a:t> </a:t>
            </a:r>
            <a:r>
              <a:rPr sz="879" dirty="0">
                <a:solidFill>
                  <a:srgbClr val="FFFFFF"/>
                </a:solidFill>
                <a:latin typeface="Sora Medium"/>
                <a:cs typeface="Sora Medium"/>
              </a:rPr>
              <a:t>of</a:t>
            </a:r>
            <a:r>
              <a:rPr sz="879" spc="27" dirty="0">
                <a:solidFill>
                  <a:srgbClr val="FFFFFF"/>
                </a:solidFill>
                <a:latin typeface="Sora Medium"/>
                <a:cs typeface="Sora Medium"/>
              </a:rPr>
              <a:t> </a:t>
            </a:r>
            <a:r>
              <a:rPr sz="879" spc="-6" dirty="0">
                <a:solidFill>
                  <a:srgbClr val="FFFFFF"/>
                </a:solidFill>
                <a:latin typeface="Sora Medium"/>
                <a:cs typeface="Sora Medium"/>
              </a:rPr>
              <a:t>shares</a:t>
            </a:r>
            <a:endParaRPr sz="879">
              <a:latin typeface="Sora Medium"/>
              <a:cs typeface="Sora Medium"/>
            </a:endParaRPr>
          </a:p>
          <a:p>
            <a:pPr>
              <a:spcBef>
                <a:spcPts val="69"/>
              </a:spcBef>
            </a:pPr>
            <a:endParaRPr sz="879">
              <a:latin typeface="Sora Medium"/>
              <a:cs typeface="Sora Medium"/>
            </a:endParaRPr>
          </a:p>
          <a:p>
            <a:pPr marL="148635"/>
            <a:r>
              <a:rPr sz="424" dirty="0">
                <a:solidFill>
                  <a:srgbClr val="FFFFFF"/>
                </a:solidFill>
                <a:latin typeface="Sora Medium"/>
                <a:cs typeface="Sora Medium"/>
              </a:rPr>
              <a:t>Results</a:t>
            </a:r>
            <a:r>
              <a:rPr sz="424" spc="27" dirty="0">
                <a:solidFill>
                  <a:srgbClr val="FFFFFF"/>
                </a:solidFill>
                <a:latin typeface="Sora Medium"/>
                <a:cs typeface="Sora Medium"/>
              </a:rPr>
              <a:t> </a:t>
            </a:r>
            <a:r>
              <a:rPr sz="424" dirty="0">
                <a:solidFill>
                  <a:srgbClr val="FFFFFF"/>
                </a:solidFill>
                <a:latin typeface="Sora Medium"/>
                <a:cs typeface="Sora Medium"/>
              </a:rPr>
              <a:t>organized</a:t>
            </a:r>
            <a:r>
              <a:rPr sz="424" spc="27" dirty="0">
                <a:solidFill>
                  <a:srgbClr val="FFFFFF"/>
                </a:solidFill>
                <a:latin typeface="Sora Medium"/>
                <a:cs typeface="Sora Medium"/>
              </a:rPr>
              <a:t> </a:t>
            </a:r>
            <a:r>
              <a:rPr sz="424" dirty="0">
                <a:solidFill>
                  <a:srgbClr val="FFFFFF"/>
                </a:solidFill>
                <a:latin typeface="Sora Medium"/>
                <a:cs typeface="Sora Medium"/>
              </a:rPr>
              <a:t>over</a:t>
            </a:r>
            <a:r>
              <a:rPr sz="424" spc="27" dirty="0">
                <a:solidFill>
                  <a:srgbClr val="FFFFFF"/>
                </a:solidFill>
                <a:latin typeface="Sora Medium"/>
                <a:cs typeface="Sora Medium"/>
              </a:rPr>
              <a:t> </a:t>
            </a:r>
            <a:r>
              <a:rPr sz="424" dirty="0">
                <a:solidFill>
                  <a:srgbClr val="FFFFFF"/>
                </a:solidFill>
                <a:latin typeface="Sora Medium"/>
                <a:cs typeface="Sora Medium"/>
              </a:rPr>
              <a:t>a</a:t>
            </a:r>
            <a:r>
              <a:rPr sz="424" spc="27" dirty="0">
                <a:solidFill>
                  <a:srgbClr val="FFFFFF"/>
                </a:solidFill>
                <a:latin typeface="Sora Medium"/>
                <a:cs typeface="Sora Medium"/>
              </a:rPr>
              <a:t> </a:t>
            </a:r>
            <a:r>
              <a:rPr sz="424" dirty="0">
                <a:solidFill>
                  <a:srgbClr val="FFFFFF"/>
                </a:solidFill>
                <a:latin typeface="Sora Medium"/>
                <a:cs typeface="Sora Medium"/>
              </a:rPr>
              <a:t>a</a:t>
            </a:r>
            <a:r>
              <a:rPr sz="424" spc="27" dirty="0">
                <a:solidFill>
                  <a:srgbClr val="FFFFFF"/>
                </a:solidFill>
                <a:latin typeface="Sora Medium"/>
                <a:cs typeface="Sora Medium"/>
              </a:rPr>
              <a:t> </a:t>
            </a:r>
            <a:r>
              <a:rPr sz="424" dirty="0">
                <a:solidFill>
                  <a:srgbClr val="FFFFFF"/>
                </a:solidFill>
                <a:latin typeface="Sora Medium"/>
                <a:cs typeface="Sora Medium"/>
              </a:rPr>
              <a:t>6-year</a:t>
            </a:r>
            <a:r>
              <a:rPr sz="424" spc="27" dirty="0">
                <a:solidFill>
                  <a:srgbClr val="FFFFFF"/>
                </a:solidFill>
                <a:latin typeface="Sora Medium"/>
                <a:cs typeface="Sora Medium"/>
              </a:rPr>
              <a:t> </a:t>
            </a:r>
            <a:r>
              <a:rPr sz="424" spc="-6" dirty="0">
                <a:solidFill>
                  <a:srgbClr val="FFFFFF"/>
                </a:solidFill>
                <a:latin typeface="Sora Medium"/>
                <a:cs typeface="Sora Medium"/>
              </a:rPr>
              <a:t>period</a:t>
            </a:r>
            <a:endParaRPr sz="424">
              <a:latin typeface="Sora Medium"/>
              <a:cs typeface="Sora Medium"/>
            </a:endParaRPr>
          </a:p>
          <a:p>
            <a:pPr>
              <a:lnSpc>
                <a:spcPct val="100000"/>
              </a:lnSpc>
            </a:pPr>
            <a:endParaRPr sz="424">
              <a:latin typeface="Sora Medium"/>
              <a:cs typeface="Sora Medium"/>
            </a:endParaRPr>
          </a:p>
          <a:p>
            <a:pPr>
              <a:lnSpc>
                <a:spcPct val="100000"/>
              </a:lnSpc>
            </a:pPr>
            <a:endParaRPr sz="424">
              <a:latin typeface="Sora Medium"/>
              <a:cs typeface="Sora Medium"/>
            </a:endParaRPr>
          </a:p>
          <a:p>
            <a:pPr>
              <a:lnSpc>
                <a:spcPct val="100000"/>
              </a:lnSpc>
            </a:pPr>
            <a:endParaRPr sz="424">
              <a:latin typeface="Sora Medium"/>
              <a:cs typeface="Sora Medium"/>
            </a:endParaRPr>
          </a:p>
          <a:p>
            <a:pPr>
              <a:lnSpc>
                <a:spcPct val="100000"/>
              </a:lnSpc>
            </a:pPr>
            <a:endParaRPr sz="424">
              <a:latin typeface="Sora Medium"/>
              <a:cs typeface="Sora Medium"/>
            </a:endParaRPr>
          </a:p>
          <a:p>
            <a:pPr>
              <a:lnSpc>
                <a:spcPct val="100000"/>
              </a:lnSpc>
            </a:pPr>
            <a:endParaRPr sz="424">
              <a:latin typeface="Sora Medium"/>
              <a:cs typeface="Sora Medium"/>
            </a:endParaRPr>
          </a:p>
          <a:p>
            <a:pPr>
              <a:spcBef>
                <a:spcPts val="39"/>
              </a:spcBef>
            </a:pPr>
            <a:endParaRPr sz="424">
              <a:latin typeface="Sora Medium"/>
              <a:cs typeface="Sora Medium"/>
            </a:endParaRPr>
          </a:p>
          <a:p>
            <a:pPr marR="299195" algn="r"/>
            <a:r>
              <a:rPr sz="334" spc="-12" dirty="0">
                <a:solidFill>
                  <a:srgbClr val="FFFFFF"/>
                </a:solidFill>
                <a:latin typeface="Sora"/>
                <a:cs typeface="Sora"/>
              </a:rPr>
              <a:t>2023</a:t>
            </a:r>
            <a:endParaRPr sz="334">
              <a:latin typeface="Sora"/>
              <a:cs typeface="Sora"/>
            </a:endParaRPr>
          </a:p>
          <a:p>
            <a:pPr>
              <a:spcBef>
                <a:spcPts val="309"/>
              </a:spcBef>
            </a:pPr>
            <a:endParaRPr sz="334">
              <a:latin typeface="Sora"/>
              <a:cs typeface="Sora"/>
            </a:endParaRPr>
          </a:p>
          <a:p>
            <a:pPr marL="1704293" algn="ctr"/>
            <a:r>
              <a:rPr sz="334" spc="-12" dirty="0">
                <a:solidFill>
                  <a:srgbClr val="FFFFFF"/>
                </a:solidFill>
                <a:latin typeface="Sora"/>
                <a:cs typeface="Sora"/>
              </a:rPr>
              <a:t>2022</a:t>
            </a:r>
            <a:endParaRPr sz="334">
              <a:latin typeface="Sora"/>
              <a:cs typeface="Sora"/>
            </a:endParaRPr>
          </a:p>
          <a:p>
            <a:pPr marL="576056" algn="ctr">
              <a:spcBef>
                <a:spcPts val="30"/>
              </a:spcBef>
            </a:pPr>
            <a:r>
              <a:rPr sz="334" spc="-12" dirty="0">
                <a:solidFill>
                  <a:srgbClr val="FFFFFF"/>
                </a:solidFill>
                <a:latin typeface="Sora"/>
                <a:cs typeface="Sora"/>
              </a:rPr>
              <a:t>2021</a:t>
            </a:r>
            <a:endParaRPr sz="334">
              <a:latin typeface="Sora"/>
              <a:cs typeface="Sora"/>
            </a:endParaRPr>
          </a:p>
          <a:p>
            <a:pPr marR="530233" algn="ctr">
              <a:spcBef>
                <a:spcPts val="243"/>
              </a:spcBef>
            </a:pPr>
            <a:r>
              <a:rPr sz="334" spc="-12" dirty="0">
                <a:solidFill>
                  <a:srgbClr val="FFFFFF"/>
                </a:solidFill>
                <a:latin typeface="Sora"/>
                <a:cs typeface="Sora"/>
              </a:rPr>
              <a:t>2020</a:t>
            </a:r>
            <a:endParaRPr sz="334">
              <a:latin typeface="Sora"/>
              <a:cs typeface="Sora"/>
            </a:endParaRPr>
          </a:p>
          <a:p>
            <a:pPr marL="892963">
              <a:spcBef>
                <a:spcPts val="412"/>
              </a:spcBef>
            </a:pPr>
            <a:r>
              <a:rPr sz="334" spc="-12" dirty="0">
                <a:solidFill>
                  <a:srgbClr val="FFFFFF"/>
                </a:solidFill>
                <a:latin typeface="Sora"/>
                <a:cs typeface="Sora"/>
              </a:rPr>
              <a:t>2019</a:t>
            </a:r>
            <a:endParaRPr sz="334">
              <a:latin typeface="Sora"/>
              <a:cs typeface="Sora"/>
            </a:endParaRPr>
          </a:p>
          <a:p>
            <a:pPr>
              <a:spcBef>
                <a:spcPts val="45"/>
              </a:spcBef>
            </a:pPr>
            <a:endParaRPr sz="334">
              <a:latin typeface="Sora"/>
              <a:cs typeface="Sora"/>
            </a:endParaRPr>
          </a:p>
          <a:p>
            <a:pPr marL="331155"/>
            <a:r>
              <a:rPr sz="334" spc="-12" dirty="0">
                <a:solidFill>
                  <a:srgbClr val="FFFFFF"/>
                </a:solidFill>
                <a:latin typeface="Sora"/>
                <a:cs typeface="Sora"/>
              </a:rPr>
              <a:t>2018</a:t>
            </a:r>
            <a:endParaRPr sz="334">
              <a:latin typeface="Sora"/>
              <a:cs typeface="Sora"/>
            </a:endParaRPr>
          </a:p>
          <a:p>
            <a:pPr>
              <a:lnSpc>
                <a:spcPct val="100000"/>
              </a:lnSpc>
            </a:pPr>
            <a:endParaRPr sz="334">
              <a:latin typeface="Sora"/>
              <a:cs typeface="Sora"/>
            </a:endParaRPr>
          </a:p>
          <a:p>
            <a:pPr>
              <a:lnSpc>
                <a:spcPct val="100000"/>
              </a:lnSpc>
            </a:pPr>
            <a:endParaRPr sz="334">
              <a:latin typeface="Sora"/>
              <a:cs typeface="Sora"/>
            </a:endParaRPr>
          </a:p>
          <a:p>
            <a:pPr>
              <a:lnSpc>
                <a:spcPct val="100000"/>
              </a:lnSpc>
            </a:pPr>
            <a:endParaRPr sz="334">
              <a:latin typeface="Sora"/>
              <a:cs typeface="Sora"/>
            </a:endParaRPr>
          </a:p>
          <a:p>
            <a:pPr>
              <a:lnSpc>
                <a:spcPct val="100000"/>
              </a:lnSpc>
            </a:pPr>
            <a:endParaRPr sz="334">
              <a:latin typeface="Sora"/>
              <a:cs typeface="Sora"/>
            </a:endParaRPr>
          </a:p>
          <a:p>
            <a:pPr>
              <a:lnSpc>
                <a:spcPct val="100000"/>
              </a:lnSpc>
            </a:pPr>
            <a:endParaRPr sz="334">
              <a:latin typeface="Sora"/>
              <a:cs typeface="Sora"/>
            </a:endParaRPr>
          </a:p>
          <a:p>
            <a:pPr>
              <a:lnSpc>
                <a:spcPct val="100000"/>
              </a:lnSpc>
            </a:pPr>
            <a:endParaRPr sz="334">
              <a:latin typeface="Sora"/>
              <a:cs typeface="Sora"/>
            </a:endParaRPr>
          </a:p>
          <a:p>
            <a:pPr>
              <a:spcBef>
                <a:spcPts val="6"/>
              </a:spcBef>
            </a:pPr>
            <a:endParaRPr sz="334">
              <a:latin typeface="Sora"/>
              <a:cs typeface="Sora"/>
            </a:endParaRPr>
          </a:p>
          <a:p>
            <a:pPr marL="139778"/>
            <a:r>
              <a:rPr sz="273" dirty="0">
                <a:solidFill>
                  <a:srgbClr val="FFFFFF"/>
                </a:solidFill>
                <a:latin typeface="Sora"/>
                <a:cs typeface="Sora"/>
              </a:rPr>
              <a:t>For</a:t>
            </a:r>
            <a:r>
              <a:rPr sz="273" spc="6" dirty="0">
                <a:solidFill>
                  <a:srgbClr val="FFFFFF"/>
                </a:solidFill>
                <a:latin typeface="Sora"/>
                <a:cs typeface="Sora"/>
              </a:rPr>
              <a:t> </a:t>
            </a:r>
            <a:r>
              <a:rPr sz="273" dirty="0">
                <a:solidFill>
                  <a:srgbClr val="FFFFFF"/>
                </a:solidFill>
                <a:latin typeface="Sora"/>
                <a:cs typeface="Sora"/>
              </a:rPr>
              <a:t>exact</a:t>
            </a:r>
            <a:r>
              <a:rPr sz="273" spc="9" dirty="0">
                <a:solidFill>
                  <a:srgbClr val="FFFFFF"/>
                </a:solidFill>
                <a:latin typeface="Sora"/>
                <a:cs typeface="Sora"/>
              </a:rPr>
              <a:t> </a:t>
            </a:r>
            <a:r>
              <a:rPr sz="273" dirty="0">
                <a:solidFill>
                  <a:srgbClr val="FFFFFF"/>
                </a:solidFill>
                <a:latin typeface="Sora"/>
                <a:cs typeface="Sora"/>
              </a:rPr>
              <a:t>ﬁgures</a:t>
            </a:r>
            <a:r>
              <a:rPr sz="273" spc="9" dirty="0">
                <a:solidFill>
                  <a:srgbClr val="FFFFFF"/>
                </a:solidFill>
                <a:latin typeface="Sora"/>
                <a:cs typeface="Sora"/>
              </a:rPr>
              <a:t> </a:t>
            </a:r>
            <a:r>
              <a:rPr sz="273" dirty="0">
                <a:solidFill>
                  <a:srgbClr val="FFFFFF"/>
                </a:solidFill>
                <a:latin typeface="Sora"/>
                <a:cs typeface="Sora"/>
              </a:rPr>
              <a:t>see</a:t>
            </a:r>
            <a:r>
              <a:rPr sz="273" spc="9" dirty="0">
                <a:solidFill>
                  <a:srgbClr val="FFFFFF"/>
                </a:solidFill>
                <a:latin typeface="Sora"/>
                <a:cs typeface="Sora"/>
              </a:rPr>
              <a:t> </a:t>
            </a:r>
            <a:r>
              <a:rPr sz="273" dirty="0">
                <a:solidFill>
                  <a:srgbClr val="FFFFFF"/>
                </a:solidFill>
                <a:latin typeface="Sora"/>
                <a:cs typeface="Sora"/>
              </a:rPr>
              <a:t>next</a:t>
            </a:r>
            <a:r>
              <a:rPr sz="273" spc="9" dirty="0">
                <a:solidFill>
                  <a:srgbClr val="FFFFFF"/>
                </a:solidFill>
                <a:latin typeface="Sora"/>
                <a:cs typeface="Sora"/>
              </a:rPr>
              <a:t> </a:t>
            </a:r>
            <a:r>
              <a:rPr sz="273" spc="-6" dirty="0">
                <a:solidFill>
                  <a:srgbClr val="FFFFFF"/>
                </a:solidFill>
                <a:latin typeface="Sora"/>
                <a:cs typeface="Sora"/>
              </a:rPr>
              <a:t>appendix</a:t>
            </a:r>
            <a:endParaRPr sz="273">
              <a:latin typeface="Sora"/>
              <a:cs typeface="Sora"/>
            </a:endParaRPr>
          </a:p>
        </p:txBody>
      </p:sp>
      <p:grpSp>
        <p:nvGrpSpPr>
          <p:cNvPr id="154" name="object 67">
            <a:extLst>
              <a:ext uri="{FF2B5EF4-FFF2-40B4-BE49-F238E27FC236}">
                <a16:creationId xmlns:a16="http://schemas.microsoft.com/office/drawing/2014/main" id="{528A3FD5-2096-D248-A52A-F98FD963EB2F}"/>
              </a:ext>
            </a:extLst>
          </p:cNvPr>
          <p:cNvGrpSpPr/>
          <p:nvPr/>
        </p:nvGrpSpPr>
        <p:grpSpPr>
          <a:xfrm>
            <a:off x="8393706" y="4888163"/>
            <a:ext cx="3289992" cy="827504"/>
            <a:chOff x="13841138" y="8584524"/>
            <a:chExt cx="5425440" cy="1364615"/>
          </a:xfrm>
        </p:grpSpPr>
        <p:sp>
          <p:nvSpPr>
            <p:cNvPr id="155" name="object 68">
              <a:extLst>
                <a:ext uri="{FF2B5EF4-FFF2-40B4-BE49-F238E27FC236}">
                  <a16:creationId xmlns:a16="http://schemas.microsoft.com/office/drawing/2014/main" id="{BE9613CA-A4FF-073E-023B-861210428914}"/>
                </a:ext>
              </a:extLst>
            </p:cNvPr>
            <p:cNvSpPr/>
            <p:nvPr/>
          </p:nvSpPr>
          <p:spPr>
            <a:xfrm>
              <a:off x="18461720" y="8584524"/>
              <a:ext cx="804545" cy="1364615"/>
            </a:xfrm>
            <a:custGeom>
              <a:avLst/>
              <a:gdLst/>
              <a:ahLst/>
              <a:cxnLst/>
              <a:rect l="l" t="t" r="r" b="b"/>
              <a:pathLst>
                <a:path w="804544" h="1364615">
                  <a:moveTo>
                    <a:pt x="804362" y="0"/>
                  </a:moveTo>
                  <a:lnTo>
                    <a:pt x="0" y="0"/>
                  </a:lnTo>
                  <a:lnTo>
                    <a:pt x="0" y="1364586"/>
                  </a:lnTo>
                  <a:lnTo>
                    <a:pt x="804362" y="1364586"/>
                  </a:lnTo>
                  <a:lnTo>
                    <a:pt x="804362" y="0"/>
                  </a:lnTo>
                  <a:close/>
                </a:path>
              </a:pathLst>
            </a:custGeom>
            <a:solidFill>
              <a:schemeClr val="accent4"/>
            </a:solidFill>
          </p:spPr>
          <p:txBody>
            <a:bodyPr wrap="square" lIns="0" tIns="0" rIns="0" bIns="0" rtlCol="0"/>
            <a:lstStyle/>
            <a:p>
              <a:endParaRPr sz="1092" dirty="0"/>
            </a:p>
          </p:txBody>
        </p:sp>
        <p:sp>
          <p:nvSpPr>
            <p:cNvPr id="156" name="object 69">
              <a:extLst>
                <a:ext uri="{FF2B5EF4-FFF2-40B4-BE49-F238E27FC236}">
                  <a16:creationId xmlns:a16="http://schemas.microsoft.com/office/drawing/2014/main" id="{EC1FCB2F-162E-ADF0-48D1-62004CE76F49}"/>
                </a:ext>
              </a:extLst>
            </p:cNvPr>
            <p:cNvSpPr/>
            <p:nvPr/>
          </p:nvSpPr>
          <p:spPr>
            <a:xfrm>
              <a:off x="13841138" y="9436445"/>
              <a:ext cx="804545" cy="513080"/>
            </a:xfrm>
            <a:custGeom>
              <a:avLst/>
              <a:gdLst/>
              <a:ahLst/>
              <a:cxnLst/>
              <a:rect l="l" t="t" r="r" b="b"/>
              <a:pathLst>
                <a:path w="804544" h="513079">
                  <a:moveTo>
                    <a:pt x="804362" y="0"/>
                  </a:moveTo>
                  <a:lnTo>
                    <a:pt x="0" y="0"/>
                  </a:lnTo>
                  <a:lnTo>
                    <a:pt x="0" y="512665"/>
                  </a:lnTo>
                  <a:lnTo>
                    <a:pt x="804362" y="512665"/>
                  </a:lnTo>
                  <a:lnTo>
                    <a:pt x="804362" y="0"/>
                  </a:lnTo>
                  <a:close/>
                </a:path>
              </a:pathLst>
            </a:custGeom>
            <a:solidFill>
              <a:srgbClr val="507F7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57" name="object 70">
              <a:extLst>
                <a:ext uri="{FF2B5EF4-FFF2-40B4-BE49-F238E27FC236}">
                  <a16:creationId xmlns:a16="http://schemas.microsoft.com/office/drawing/2014/main" id="{39CD46F2-9351-1F6B-5163-D52892F9494D}"/>
                </a:ext>
              </a:extLst>
            </p:cNvPr>
            <p:cNvSpPr/>
            <p:nvPr/>
          </p:nvSpPr>
          <p:spPr>
            <a:xfrm>
              <a:off x="14765246" y="9236409"/>
              <a:ext cx="804545" cy="713105"/>
            </a:xfrm>
            <a:custGeom>
              <a:avLst/>
              <a:gdLst/>
              <a:ahLst/>
              <a:cxnLst/>
              <a:rect l="l" t="t" r="r" b="b"/>
              <a:pathLst>
                <a:path w="804544" h="713104">
                  <a:moveTo>
                    <a:pt x="804362" y="0"/>
                  </a:moveTo>
                  <a:lnTo>
                    <a:pt x="0" y="0"/>
                  </a:lnTo>
                  <a:lnTo>
                    <a:pt x="0" y="712700"/>
                  </a:lnTo>
                  <a:lnTo>
                    <a:pt x="804362" y="712700"/>
                  </a:lnTo>
                  <a:lnTo>
                    <a:pt x="804362" y="0"/>
                  </a:lnTo>
                  <a:close/>
                </a:path>
              </a:pathLst>
            </a:custGeom>
            <a:solidFill>
              <a:srgbClr val="789F9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58" name="object 71">
              <a:extLst>
                <a:ext uri="{FF2B5EF4-FFF2-40B4-BE49-F238E27FC236}">
                  <a16:creationId xmlns:a16="http://schemas.microsoft.com/office/drawing/2014/main" id="{8ED1F750-F756-A598-0D34-9C2DC105D2FA}"/>
                </a:ext>
              </a:extLst>
            </p:cNvPr>
            <p:cNvSpPr/>
            <p:nvPr/>
          </p:nvSpPr>
          <p:spPr>
            <a:xfrm>
              <a:off x="15689364" y="9071524"/>
              <a:ext cx="804545" cy="878205"/>
            </a:xfrm>
            <a:custGeom>
              <a:avLst/>
              <a:gdLst/>
              <a:ahLst/>
              <a:cxnLst/>
              <a:rect l="l" t="t" r="r" b="b"/>
              <a:pathLst>
                <a:path w="804544" h="878204">
                  <a:moveTo>
                    <a:pt x="804362" y="0"/>
                  </a:moveTo>
                  <a:lnTo>
                    <a:pt x="0" y="0"/>
                  </a:lnTo>
                  <a:lnTo>
                    <a:pt x="0" y="877585"/>
                  </a:lnTo>
                  <a:lnTo>
                    <a:pt x="804362" y="877585"/>
                  </a:lnTo>
                  <a:lnTo>
                    <a:pt x="804362" y="0"/>
                  </a:lnTo>
                  <a:close/>
                </a:path>
              </a:pathLst>
            </a:custGeom>
            <a:solidFill>
              <a:srgbClr val="9AB9AD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59" name="object 72">
              <a:extLst>
                <a:ext uri="{FF2B5EF4-FFF2-40B4-BE49-F238E27FC236}">
                  <a16:creationId xmlns:a16="http://schemas.microsoft.com/office/drawing/2014/main" id="{ED90A36D-2813-9085-A5B9-4921D6C929B5}"/>
                </a:ext>
              </a:extLst>
            </p:cNvPr>
            <p:cNvSpPr/>
            <p:nvPr/>
          </p:nvSpPr>
          <p:spPr>
            <a:xfrm>
              <a:off x="16613483" y="8923780"/>
              <a:ext cx="804545" cy="1025525"/>
            </a:xfrm>
            <a:custGeom>
              <a:avLst/>
              <a:gdLst/>
              <a:ahLst/>
              <a:cxnLst/>
              <a:rect l="l" t="t" r="r" b="b"/>
              <a:pathLst>
                <a:path w="804544" h="1025525">
                  <a:moveTo>
                    <a:pt x="804362" y="0"/>
                  </a:moveTo>
                  <a:lnTo>
                    <a:pt x="0" y="0"/>
                  </a:lnTo>
                  <a:lnTo>
                    <a:pt x="0" y="1025330"/>
                  </a:lnTo>
                  <a:lnTo>
                    <a:pt x="804362" y="1025330"/>
                  </a:lnTo>
                  <a:lnTo>
                    <a:pt x="804362" y="0"/>
                  </a:lnTo>
                  <a:close/>
                </a:path>
              </a:pathLst>
            </a:custGeom>
            <a:solidFill>
              <a:srgbClr val="D1E0D7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60" name="object 73">
              <a:extLst>
                <a:ext uri="{FF2B5EF4-FFF2-40B4-BE49-F238E27FC236}">
                  <a16:creationId xmlns:a16="http://schemas.microsoft.com/office/drawing/2014/main" id="{B25A5A83-AC14-0FA2-3A13-F1E602A956D0}"/>
                </a:ext>
              </a:extLst>
            </p:cNvPr>
            <p:cNvSpPr/>
            <p:nvPr/>
          </p:nvSpPr>
          <p:spPr>
            <a:xfrm>
              <a:off x="17537601" y="8831427"/>
              <a:ext cx="804545" cy="1118235"/>
            </a:xfrm>
            <a:custGeom>
              <a:avLst/>
              <a:gdLst/>
              <a:ahLst/>
              <a:cxnLst/>
              <a:rect l="l" t="t" r="r" b="b"/>
              <a:pathLst>
                <a:path w="804544" h="1118234">
                  <a:moveTo>
                    <a:pt x="804362" y="0"/>
                  </a:moveTo>
                  <a:lnTo>
                    <a:pt x="0" y="0"/>
                  </a:lnTo>
                  <a:lnTo>
                    <a:pt x="0" y="1117683"/>
                  </a:lnTo>
                  <a:lnTo>
                    <a:pt x="804362" y="1117683"/>
                  </a:lnTo>
                  <a:lnTo>
                    <a:pt x="8043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6894781-13EB-66B7-1E10-1D83C973F479}"/>
              </a:ext>
            </a:extLst>
          </p:cNvPr>
          <p:cNvGrpSpPr/>
          <p:nvPr/>
        </p:nvGrpSpPr>
        <p:grpSpPr>
          <a:xfrm>
            <a:off x="4318125" y="961483"/>
            <a:ext cx="3557067" cy="2407389"/>
            <a:chOff x="4318125" y="961483"/>
            <a:chExt cx="3557067" cy="2407389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4BF765E-BC8A-154F-0BE1-A8E67DB06271}"/>
                </a:ext>
              </a:extLst>
            </p:cNvPr>
            <p:cNvGrpSpPr/>
            <p:nvPr/>
          </p:nvGrpSpPr>
          <p:grpSpPr>
            <a:xfrm>
              <a:off x="4318125" y="961483"/>
              <a:ext cx="3557067" cy="2407389"/>
              <a:chOff x="4318125" y="961483"/>
              <a:chExt cx="3557067" cy="2407389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4C12B281-ED2E-6803-E8B7-2DE1C7BC9E6E}"/>
                  </a:ext>
                </a:extLst>
              </p:cNvPr>
              <p:cNvGrpSpPr/>
              <p:nvPr/>
            </p:nvGrpSpPr>
            <p:grpSpPr>
              <a:xfrm>
                <a:off x="4318125" y="961483"/>
                <a:ext cx="3394480" cy="2404098"/>
                <a:chOff x="4601257" y="3132717"/>
                <a:chExt cx="3929479" cy="2572756"/>
              </a:xfrm>
            </p:grpSpPr>
            <p:sp>
              <p:nvSpPr>
                <p:cNvPr id="171" name="Rectangle: Rounded Corners 170">
                  <a:extLst>
                    <a:ext uri="{FF2B5EF4-FFF2-40B4-BE49-F238E27FC236}">
                      <a16:creationId xmlns:a16="http://schemas.microsoft.com/office/drawing/2014/main" id="{977C725F-3191-9D79-1535-B426AE16059C}"/>
                    </a:ext>
                  </a:extLst>
                </p:cNvPr>
                <p:cNvSpPr/>
                <p:nvPr/>
              </p:nvSpPr>
              <p:spPr>
                <a:xfrm>
                  <a:off x="4601257" y="3181474"/>
                  <a:ext cx="3900691" cy="2514356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2" name="Rectangle: Rounded Corners 171">
                  <a:extLst>
                    <a:ext uri="{FF2B5EF4-FFF2-40B4-BE49-F238E27FC236}">
                      <a16:creationId xmlns:a16="http://schemas.microsoft.com/office/drawing/2014/main" id="{E7878020-3D87-16A0-F9C7-786D4606BC04}"/>
                    </a:ext>
                  </a:extLst>
                </p:cNvPr>
                <p:cNvSpPr/>
                <p:nvPr/>
              </p:nvSpPr>
              <p:spPr>
                <a:xfrm>
                  <a:off x="4604253" y="4037198"/>
                  <a:ext cx="3041048" cy="733912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800" dirty="0">
                      <a:solidFill>
                        <a:schemeClr val="tx2"/>
                      </a:solidFill>
                    </a:rPr>
                    <a:t>Light Teal</a:t>
                  </a:r>
                </a:p>
              </p:txBody>
            </p:sp>
            <p:sp>
              <p:nvSpPr>
                <p:cNvPr id="173" name="Rectangle: Rounded Corners 172">
                  <a:extLst>
                    <a:ext uri="{FF2B5EF4-FFF2-40B4-BE49-F238E27FC236}">
                      <a16:creationId xmlns:a16="http://schemas.microsoft.com/office/drawing/2014/main" id="{59055CEA-0CBC-6E30-909E-E75C5F728760}"/>
                    </a:ext>
                  </a:extLst>
                </p:cNvPr>
                <p:cNvSpPr/>
                <p:nvPr/>
              </p:nvSpPr>
              <p:spPr>
                <a:xfrm>
                  <a:off x="4601379" y="3134980"/>
                  <a:ext cx="3044022" cy="931125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800" dirty="0"/>
                    <a:t>Dark Teal</a:t>
                  </a:r>
                </a:p>
              </p:txBody>
            </p:sp>
            <p:grpSp>
              <p:nvGrpSpPr>
                <p:cNvPr id="174" name="Group 173">
                  <a:extLst>
                    <a:ext uri="{FF2B5EF4-FFF2-40B4-BE49-F238E27FC236}">
                      <a16:creationId xmlns:a16="http://schemas.microsoft.com/office/drawing/2014/main" id="{54F31299-24B2-CBDF-E875-683B233288AE}"/>
                    </a:ext>
                  </a:extLst>
                </p:cNvPr>
                <p:cNvGrpSpPr/>
                <p:nvPr/>
              </p:nvGrpSpPr>
              <p:grpSpPr>
                <a:xfrm>
                  <a:off x="7544707" y="3132717"/>
                  <a:ext cx="986029" cy="2572756"/>
                  <a:chOff x="7544707" y="3132735"/>
                  <a:chExt cx="986029" cy="2564465"/>
                </a:xfrm>
              </p:grpSpPr>
              <p:grpSp>
                <p:nvGrpSpPr>
                  <p:cNvPr id="175" name="Group 174">
                    <a:extLst>
                      <a:ext uri="{FF2B5EF4-FFF2-40B4-BE49-F238E27FC236}">
                        <a16:creationId xmlns:a16="http://schemas.microsoft.com/office/drawing/2014/main" id="{55E706E9-6578-798B-EACD-A36ABC94B344}"/>
                      </a:ext>
                    </a:extLst>
                  </p:cNvPr>
                  <p:cNvGrpSpPr/>
                  <p:nvPr/>
                </p:nvGrpSpPr>
                <p:grpSpPr>
                  <a:xfrm>
                    <a:off x="7544707" y="3132735"/>
                    <a:ext cx="986029" cy="1168258"/>
                    <a:chOff x="8456784" y="-1680910"/>
                    <a:chExt cx="3226708" cy="3823042"/>
                  </a:xfrm>
                </p:grpSpPr>
                <p:sp>
                  <p:nvSpPr>
                    <p:cNvPr id="183" name="Rectangle: Rounded Corners 182">
                      <a:extLst>
                        <a:ext uri="{FF2B5EF4-FFF2-40B4-BE49-F238E27FC236}">
                          <a16:creationId xmlns:a16="http://schemas.microsoft.com/office/drawing/2014/main" id="{167D03C7-E7A0-B0F0-E35F-3F06267A07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-1680910"/>
                      <a:ext cx="3226708" cy="778573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rgbClr val="13322B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600" dirty="0"/>
                        <a:t>Teal tint 1</a:t>
                      </a:r>
                    </a:p>
                  </p:txBody>
                </p:sp>
                <p:sp>
                  <p:nvSpPr>
                    <p:cNvPr id="184" name="Rectangle: Rounded Corners 183">
                      <a:extLst>
                        <a:ext uri="{FF2B5EF4-FFF2-40B4-BE49-F238E27FC236}">
                          <a16:creationId xmlns:a16="http://schemas.microsoft.com/office/drawing/2014/main" id="{8E19AA6D-3B24-6554-7B4F-3F86833C05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-902336"/>
                      <a:ext cx="3226708" cy="762000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rgbClr val="285C4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600" dirty="0"/>
                        <a:t>Teal tint 2</a:t>
                      </a:r>
                    </a:p>
                  </p:txBody>
                </p:sp>
                <p:sp>
                  <p:nvSpPr>
                    <p:cNvPr id="185" name="Rectangle: Rounded Corners 184">
                      <a:extLst>
                        <a:ext uri="{FF2B5EF4-FFF2-40B4-BE49-F238E27FC236}">
                          <a16:creationId xmlns:a16="http://schemas.microsoft.com/office/drawing/2014/main" id="{2D7B6A2A-9E78-FC84-ED03-E38B03D016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-140335"/>
                      <a:ext cx="3226708" cy="761999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rgbClr val="507F70"/>
                    </a:solidFill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600" dirty="0"/>
                        <a:t>Teal tint 3</a:t>
                      </a:r>
                    </a:p>
                  </p:txBody>
                </p:sp>
                <p:sp>
                  <p:nvSpPr>
                    <p:cNvPr id="186" name="Rectangle: Rounded Corners 185">
                      <a:extLst>
                        <a:ext uri="{FF2B5EF4-FFF2-40B4-BE49-F238E27FC236}">
                          <a16:creationId xmlns:a16="http://schemas.microsoft.com/office/drawing/2014/main" id="{62F45E95-D788-ADB0-FB1B-44D0B831B2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621664"/>
                      <a:ext cx="3226708" cy="762000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rgbClr val="789F9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600" dirty="0"/>
                        <a:t>Teal tint 4</a:t>
                      </a:r>
                    </a:p>
                  </p:txBody>
                </p:sp>
                <p:sp>
                  <p:nvSpPr>
                    <p:cNvPr id="187" name="Rectangle: Rounded Corners 186">
                      <a:extLst>
                        <a:ext uri="{FF2B5EF4-FFF2-40B4-BE49-F238E27FC236}">
                          <a16:creationId xmlns:a16="http://schemas.microsoft.com/office/drawing/2014/main" id="{72D7AC06-A4AC-9CDE-9A27-CB79A8101E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1380130"/>
                      <a:ext cx="3226708" cy="762002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rgbClr val="9AB9A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600" dirty="0"/>
                        <a:t>Teal tint 5</a:t>
                      </a:r>
                    </a:p>
                  </p:txBody>
                </p:sp>
              </p:grpSp>
              <p:grpSp>
                <p:nvGrpSpPr>
                  <p:cNvPr id="176" name="Group 175">
                    <a:extLst>
                      <a:ext uri="{FF2B5EF4-FFF2-40B4-BE49-F238E27FC236}">
                        <a16:creationId xmlns:a16="http://schemas.microsoft.com/office/drawing/2014/main" id="{ABA2EFBE-A972-64C5-6795-239D424D4DB0}"/>
                      </a:ext>
                    </a:extLst>
                  </p:cNvPr>
                  <p:cNvGrpSpPr/>
                  <p:nvPr/>
                </p:nvGrpSpPr>
                <p:grpSpPr>
                  <a:xfrm>
                    <a:off x="7544707" y="4300644"/>
                    <a:ext cx="986029" cy="1396556"/>
                    <a:chOff x="8456784" y="-1664336"/>
                    <a:chExt cx="3226708" cy="4570132"/>
                  </a:xfrm>
                </p:grpSpPr>
                <p:sp>
                  <p:nvSpPr>
                    <p:cNvPr id="177" name="Rectangle: Rounded Corners 176">
                      <a:extLst>
                        <a:ext uri="{FF2B5EF4-FFF2-40B4-BE49-F238E27FC236}">
                          <a16:creationId xmlns:a16="http://schemas.microsoft.com/office/drawing/2014/main" id="{804E3644-6604-5D7E-6A72-78CF80254F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-1664336"/>
                      <a:ext cx="3226708" cy="762000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chemeClr val="tx1">
                        <a:lumMod val="85000"/>
                        <a:lumOff val="1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 dirty="0"/>
                    </a:p>
                  </p:txBody>
                </p:sp>
                <p:sp>
                  <p:nvSpPr>
                    <p:cNvPr id="178" name="Rectangle: Rounded Corners 177">
                      <a:extLst>
                        <a:ext uri="{FF2B5EF4-FFF2-40B4-BE49-F238E27FC236}">
                          <a16:creationId xmlns:a16="http://schemas.microsoft.com/office/drawing/2014/main" id="{DB911098-F18D-E0BB-FE76-E80CAF177A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-902336"/>
                      <a:ext cx="3226708" cy="762000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  <p:sp>
                  <p:nvSpPr>
                    <p:cNvPr id="179" name="Rectangle: Rounded Corners 178">
                      <a:extLst>
                        <a:ext uri="{FF2B5EF4-FFF2-40B4-BE49-F238E27FC236}">
                          <a16:creationId xmlns:a16="http://schemas.microsoft.com/office/drawing/2014/main" id="{920E3B21-C2A2-361C-8F93-3DA39ACDA3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-140336"/>
                      <a:ext cx="3226708" cy="762000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chemeClr val="bg1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  <p:sp>
                  <p:nvSpPr>
                    <p:cNvPr id="180" name="Rectangle: Rounded Corners 179">
                      <a:extLst>
                        <a:ext uri="{FF2B5EF4-FFF2-40B4-BE49-F238E27FC236}">
                          <a16:creationId xmlns:a16="http://schemas.microsoft.com/office/drawing/2014/main" id="{5733AC55-B3FD-D2D1-831A-1F882CE04D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621664"/>
                      <a:ext cx="3226708" cy="762000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  <p:sp>
                  <p:nvSpPr>
                    <p:cNvPr id="181" name="Rectangle: Rounded Corners 180">
                      <a:extLst>
                        <a:ext uri="{FF2B5EF4-FFF2-40B4-BE49-F238E27FC236}">
                          <a16:creationId xmlns:a16="http://schemas.microsoft.com/office/drawing/2014/main" id="{BDDA498C-80A1-0711-3ECD-F9E5751298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1380130"/>
                      <a:ext cx="3226708" cy="762002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  <p:sp>
                  <p:nvSpPr>
                    <p:cNvPr id="182" name="Rectangle: Rounded Corners 181">
                      <a:extLst>
                        <a:ext uri="{FF2B5EF4-FFF2-40B4-BE49-F238E27FC236}">
                          <a16:creationId xmlns:a16="http://schemas.microsoft.com/office/drawing/2014/main" id="{C66F0D7E-60A9-CA27-80BF-9B82DB95FE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56784" y="2143794"/>
                      <a:ext cx="3226708" cy="762002"/>
                    </a:xfrm>
                    <a:prstGeom prst="roundRect">
                      <a:avLst>
                        <a:gd name="adj" fmla="val 0"/>
                      </a:avLst>
                    </a:prstGeom>
                    <a:solidFill>
                      <a:schemeClr val="bg1">
                        <a:lumMod val="9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</p:grpSp>
            </p:grpSp>
          </p:grp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27313093-84DA-9741-6ACA-70C4B1D269E3}"/>
                  </a:ext>
                </a:extLst>
              </p:cNvPr>
              <p:cNvGrpSpPr/>
              <p:nvPr/>
            </p:nvGrpSpPr>
            <p:grpSpPr>
              <a:xfrm>
                <a:off x="7712709" y="964773"/>
                <a:ext cx="162483" cy="2404099"/>
                <a:chOff x="7565609" y="961482"/>
                <a:chExt cx="136788" cy="1313612"/>
              </a:xfrm>
            </p:grpSpPr>
            <p:sp>
              <p:nvSpPr>
                <p:cNvPr id="188" name="Rectangle 187">
                  <a:extLst>
                    <a:ext uri="{FF2B5EF4-FFF2-40B4-BE49-F238E27FC236}">
                      <a16:creationId xmlns:a16="http://schemas.microsoft.com/office/drawing/2014/main" id="{95A25A71-E3D3-C5F0-84A3-E777EB3E8019}"/>
                    </a:ext>
                  </a:extLst>
                </p:cNvPr>
                <p:cNvSpPr/>
                <p:nvPr/>
              </p:nvSpPr>
              <p:spPr>
                <a:xfrm>
                  <a:off x="7565609" y="961482"/>
                  <a:ext cx="136788" cy="658615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9" name="Rectangle 188">
                  <a:extLst>
                    <a:ext uri="{FF2B5EF4-FFF2-40B4-BE49-F238E27FC236}">
                      <a16:creationId xmlns:a16="http://schemas.microsoft.com/office/drawing/2014/main" id="{B3F1DF3B-F5E2-9F03-607A-BA9156461FE5}"/>
                    </a:ext>
                  </a:extLst>
                </p:cNvPr>
                <p:cNvSpPr/>
                <p:nvPr/>
              </p:nvSpPr>
              <p:spPr>
                <a:xfrm>
                  <a:off x="7565609" y="1616479"/>
                  <a:ext cx="136788" cy="658615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FAB2E57-8B58-252A-BBE7-BD9CD0B5FE4D}"/>
                </a:ext>
              </a:extLst>
            </p:cNvPr>
            <p:cNvSpPr txBox="1"/>
            <p:nvPr/>
          </p:nvSpPr>
          <p:spPr>
            <a:xfrm>
              <a:off x="4318125" y="2802398"/>
              <a:ext cx="254259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/>
                <a:t>Whi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488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Title 175">
            <a:extLst>
              <a:ext uri="{FF2B5EF4-FFF2-40B4-BE49-F238E27FC236}">
                <a16:creationId xmlns:a16="http://schemas.microsoft.com/office/drawing/2014/main" id="{8F5313F3-C4EC-7D5C-C09A-442E45DF11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</p:spPr>
        <p:txBody>
          <a:bodyPr/>
          <a:lstStyle/>
          <a:p>
            <a:r>
              <a:rPr lang="en-US" dirty="0"/>
              <a:t>Examples</a:t>
            </a:r>
          </a:p>
        </p:txBody>
      </p:sp>
      <p:sp>
        <p:nvSpPr>
          <p:cNvPr id="178" name="Footer Placeholder 177">
            <a:extLst>
              <a:ext uri="{FF2B5EF4-FFF2-40B4-BE49-F238E27FC236}">
                <a16:creationId xmlns:a16="http://schemas.microsoft.com/office/drawing/2014/main" id="{1DCF44B8-E21C-F68C-EAF9-D278AF59D1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179" name="Slide Number Placeholder 178">
            <a:extLst>
              <a:ext uri="{FF2B5EF4-FFF2-40B4-BE49-F238E27FC236}">
                <a16:creationId xmlns:a16="http://schemas.microsoft.com/office/drawing/2014/main" id="{3AC37253-E7AE-DA87-CE0F-5826EAC19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39</a:t>
            </a:fld>
            <a:endParaRPr lang="en-US" dirty="0"/>
          </a:p>
        </p:txBody>
      </p:sp>
      <p:graphicFrame>
        <p:nvGraphicFramePr>
          <p:cNvPr id="163" name="Chart Placeholder 7">
            <a:extLst>
              <a:ext uri="{FF2B5EF4-FFF2-40B4-BE49-F238E27FC236}">
                <a16:creationId xmlns:a16="http://schemas.microsoft.com/office/drawing/2014/main" id="{C09F5525-E36A-E6A3-15A5-73ABBD7F08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3141270"/>
              </p:ext>
            </p:extLst>
          </p:nvPr>
        </p:nvGraphicFramePr>
        <p:xfrm>
          <a:off x="609600" y="1011766"/>
          <a:ext cx="5127279" cy="4614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64" name="Chart 163">
                <a:extLst>
                  <a:ext uri="{FF2B5EF4-FFF2-40B4-BE49-F238E27FC236}">
                    <a16:creationId xmlns:a16="http://schemas.microsoft.com/office/drawing/2014/main" id="{1929BFB6-0D8F-DFFC-7E5C-950721B1F42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47936470"/>
                  </p:ext>
                </p:extLst>
              </p:nvPr>
            </p:nvGraphicFramePr>
            <p:xfrm>
              <a:off x="6296024" y="1011766"/>
              <a:ext cx="5591175" cy="473960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164" name="Chart 163">
                <a:extLst>
                  <a:ext uri="{FF2B5EF4-FFF2-40B4-BE49-F238E27FC236}">
                    <a16:creationId xmlns:a16="http://schemas.microsoft.com/office/drawing/2014/main" id="{1929BFB6-0D8F-DFFC-7E5C-950721B1F42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296024" y="1011766"/>
                <a:ext cx="5591175" cy="4739602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31795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ACFB9-3DC4-99FE-A9C8-FD38B5895B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3228" y="4336538"/>
            <a:ext cx="7004288" cy="1213361"/>
          </a:xfrm>
        </p:spPr>
        <p:txBody>
          <a:bodyPr>
            <a:normAutofit/>
          </a:bodyPr>
          <a:lstStyle/>
          <a:p>
            <a:r>
              <a:rPr lang="en-US" sz="8000" dirty="0"/>
              <a:t>Thank you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07E8BE6-5417-AA7D-6F19-08C8F7A5A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D723503-9441-3C43-00E3-1C888B8E4B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94814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Title 175">
            <a:extLst>
              <a:ext uri="{FF2B5EF4-FFF2-40B4-BE49-F238E27FC236}">
                <a16:creationId xmlns:a16="http://schemas.microsoft.com/office/drawing/2014/main" id="{8F5313F3-C4EC-7D5C-C09A-442E45DF11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</p:spPr>
        <p:txBody>
          <a:bodyPr/>
          <a:lstStyle/>
          <a:p>
            <a:r>
              <a:rPr lang="en-US" dirty="0"/>
              <a:t>Examples</a:t>
            </a:r>
          </a:p>
        </p:txBody>
      </p:sp>
      <p:sp>
        <p:nvSpPr>
          <p:cNvPr id="178" name="Footer Placeholder 177">
            <a:extLst>
              <a:ext uri="{FF2B5EF4-FFF2-40B4-BE49-F238E27FC236}">
                <a16:creationId xmlns:a16="http://schemas.microsoft.com/office/drawing/2014/main" id="{1DCF44B8-E21C-F68C-EAF9-D278AF59D1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179" name="Slide Number Placeholder 178">
            <a:extLst>
              <a:ext uri="{FF2B5EF4-FFF2-40B4-BE49-F238E27FC236}">
                <a16:creationId xmlns:a16="http://schemas.microsoft.com/office/drawing/2014/main" id="{3AC37253-E7AE-DA87-CE0F-5826EAC19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40</a:t>
            </a:fld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F7FEC3F-9A38-8A3E-C5A7-76C1846344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8512625"/>
              </p:ext>
            </p:extLst>
          </p:nvPr>
        </p:nvGraphicFramePr>
        <p:xfrm>
          <a:off x="4106482" y="1219200"/>
          <a:ext cx="3979035" cy="3740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AC7CBDB-6B66-A6F2-6B35-1FACC93CFC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3563365"/>
              </p:ext>
            </p:extLst>
          </p:nvPr>
        </p:nvGraphicFramePr>
        <p:xfrm>
          <a:off x="7962143" y="1219199"/>
          <a:ext cx="3979036" cy="3740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D6A281C5-CE5D-28F8-0330-B743D93EE4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9968853"/>
              </p:ext>
            </p:extLst>
          </p:nvPr>
        </p:nvGraphicFramePr>
        <p:xfrm>
          <a:off x="321624" y="989011"/>
          <a:ext cx="3979035" cy="4200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559907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Title 175">
            <a:extLst>
              <a:ext uri="{FF2B5EF4-FFF2-40B4-BE49-F238E27FC236}">
                <a16:creationId xmlns:a16="http://schemas.microsoft.com/office/drawing/2014/main" id="{8F5313F3-C4EC-7D5C-C09A-442E45DF11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685800"/>
          </a:xfrm>
        </p:spPr>
        <p:txBody>
          <a:bodyPr/>
          <a:lstStyle/>
          <a:p>
            <a:r>
              <a:rPr lang="en-US" dirty="0"/>
              <a:t>Examples</a:t>
            </a:r>
          </a:p>
        </p:txBody>
      </p:sp>
      <p:sp>
        <p:nvSpPr>
          <p:cNvPr id="178" name="Footer Placeholder 177">
            <a:extLst>
              <a:ext uri="{FF2B5EF4-FFF2-40B4-BE49-F238E27FC236}">
                <a16:creationId xmlns:a16="http://schemas.microsoft.com/office/drawing/2014/main" id="{1DCF44B8-E21C-F68C-EAF9-D278AF59D1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179" name="Slide Number Placeholder 178">
            <a:extLst>
              <a:ext uri="{FF2B5EF4-FFF2-40B4-BE49-F238E27FC236}">
                <a16:creationId xmlns:a16="http://schemas.microsoft.com/office/drawing/2014/main" id="{3AC37253-E7AE-DA87-CE0F-5826EAC19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41</a:t>
            </a:fld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8B6C171-7541-D0BA-27FE-ECB3428535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9703891"/>
              </p:ext>
            </p:extLst>
          </p:nvPr>
        </p:nvGraphicFramePr>
        <p:xfrm>
          <a:off x="533400" y="1256434"/>
          <a:ext cx="5305426" cy="4586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1D2623F-9620-82F6-2742-BB21F8DA3F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938542"/>
              </p:ext>
            </p:extLst>
          </p:nvPr>
        </p:nvGraphicFramePr>
        <p:xfrm>
          <a:off x="6191250" y="809625"/>
          <a:ext cx="5629275" cy="4791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978624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E175FCF-87F0-42D0-8732-6B8BA3460E6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1828800"/>
            <a:ext cx="4180883" cy="441960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/>
              <a:t>We use our outline icons in dark teal on white or white icons on dark teal. Dark teal icons may also be used on a light teal background.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9F47B5-A981-4DE7-8957-88E1C7BF1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onograph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B32164-14A5-4CCA-920F-A60608EF87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utline icons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BC0CD0D-51A5-481A-B9FB-5BB6A905C6C4}"/>
              </a:ext>
            </a:extLst>
          </p:cNvPr>
          <p:cNvSpPr/>
          <p:nvPr/>
        </p:nvSpPr>
        <p:spPr>
          <a:xfrm>
            <a:off x="6451340" y="503603"/>
            <a:ext cx="4298849" cy="2021521"/>
          </a:xfrm>
          <a:custGeom>
            <a:avLst/>
            <a:gdLst>
              <a:gd name="connsiteX0" fmla="*/ 0 w 4659935"/>
              <a:gd name="connsiteY0" fmla="*/ 0 h 2105291"/>
              <a:gd name="connsiteX1" fmla="*/ 4659935 w 4659935"/>
              <a:gd name="connsiteY1" fmla="*/ 0 h 2105291"/>
              <a:gd name="connsiteX2" fmla="*/ 4659935 w 4659935"/>
              <a:gd name="connsiteY2" fmla="*/ 2105292 h 2105291"/>
              <a:gd name="connsiteX3" fmla="*/ 0 w 4659935"/>
              <a:gd name="connsiteY3" fmla="*/ 2105292 h 2105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9935" h="2105291">
                <a:moveTo>
                  <a:pt x="0" y="0"/>
                </a:moveTo>
                <a:lnTo>
                  <a:pt x="4659935" y="0"/>
                </a:lnTo>
                <a:lnTo>
                  <a:pt x="4659935" y="2105292"/>
                </a:lnTo>
                <a:lnTo>
                  <a:pt x="0" y="2105292"/>
                </a:lnTo>
                <a:close/>
              </a:path>
            </a:pathLst>
          </a:custGeom>
          <a:solidFill>
            <a:srgbClr val="FFFFFF"/>
          </a:solidFill>
          <a:ln w="0" cap="flat">
            <a:solidFill>
              <a:schemeClr val="bg1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6C65729-2B6E-4232-B99F-1FE6BCDAA296}"/>
              </a:ext>
            </a:extLst>
          </p:cNvPr>
          <p:cNvSpPr/>
          <p:nvPr/>
        </p:nvSpPr>
        <p:spPr>
          <a:xfrm>
            <a:off x="6451339" y="2456225"/>
            <a:ext cx="4306183" cy="1945471"/>
          </a:xfrm>
          <a:custGeom>
            <a:avLst/>
            <a:gdLst>
              <a:gd name="connsiteX0" fmla="*/ 0 w 4659935"/>
              <a:gd name="connsiteY0" fmla="*/ 0 h 2105291"/>
              <a:gd name="connsiteX1" fmla="*/ 4659935 w 4659935"/>
              <a:gd name="connsiteY1" fmla="*/ 0 h 2105291"/>
              <a:gd name="connsiteX2" fmla="*/ 4659935 w 4659935"/>
              <a:gd name="connsiteY2" fmla="*/ 2105292 h 2105291"/>
              <a:gd name="connsiteX3" fmla="*/ 0 w 4659935"/>
              <a:gd name="connsiteY3" fmla="*/ 2105292 h 2105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9935" h="2105291">
                <a:moveTo>
                  <a:pt x="0" y="0"/>
                </a:moveTo>
                <a:lnTo>
                  <a:pt x="4659935" y="0"/>
                </a:lnTo>
                <a:lnTo>
                  <a:pt x="4659935" y="2105292"/>
                </a:lnTo>
                <a:lnTo>
                  <a:pt x="0" y="2105292"/>
                </a:lnTo>
                <a:close/>
              </a:path>
            </a:pathLst>
          </a:custGeom>
          <a:solidFill>
            <a:srgbClr val="D1E0D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2E914B2-5D49-44A5-BCBC-ECCB6A9BAA41}"/>
              </a:ext>
            </a:extLst>
          </p:cNvPr>
          <p:cNvSpPr/>
          <p:nvPr/>
        </p:nvSpPr>
        <p:spPr>
          <a:xfrm>
            <a:off x="6451339" y="4408925"/>
            <a:ext cx="4306183" cy="1945471"/>
          </a:xfrm>
          <a:custGeom>
            <a:avLst/>
            <a:gdLst>
              <a:gd name="connsiteX0" fmla="*/ 0 w 4659935"/>
              <a:gd name="connsiteY0" fmla="*/ 0 h 2105291"/>
              <a:gd name="connsiteX1" fmla="*/ 4659935 w 4659935"/>
              <a:gd name="connsiteY1" fmla="*/ 0 h 2105291"/>
              <a:gd name="connsiteX2" fmla="*/ 4659935 w 4659935"/>
              <a:gd name="connsiteY2" fmla="*/ 2105292 h 2105291"/>
              <a:gd name="connsiteX3" fmla="*/ 0 w 4659935"/>
              <a:gd name="connsiteY3" fmla="*/ 2105292 h 2105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9935" h="2105291">
                <a:moveTo>
                  <a:pt x="0" y="0"/>
                </a:moveTo>
                <a:lnTo>
                  <a:pt x="4659935" y="0"/>
                </a:lnTo>
                <a:lnTo>
                  <a:pt x="4659935" y="2105292"/>
                </a:lnTo>
                <a:lnTo>
                  <a:pt x="0" y="2105292"/>
                </a:lnTo>
                <a:close/>
              </a:path>
            </a:pathLst>
          </a:custGeom>
          <a:solidFill>
            <a:srgbClr val="004E4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19" name="Graphic 114">
            <a:extLst>
              <a:ext uri="{FF2B5EF4-FFF2-40B4-BE49-F238E27FC236}">
                <a16:creationId xmlns:a16="http://schemas.microsoft.com/office/drawing/2014/main" id="{F32110FD-1C86-431B-A092-C9D74A8364D2}"/>
              </a:ext>
            </a:extLst>
          </p:cNvPr>
          <p:cNvGrpSpPr/>
          <p:nvPr/>
        </p:nvGrpSpPr>
        <p:grpSpPr>
          <a:xfrm>
            <a:off x="6779498" y="1638646"/>
            <a:ext cx="563538" cy="563615"/>
            <a:chOff x="6779498" y="1638646"/>
            <a:chExt cx="563538" cy="563615"/>
          </a:xfrm>
          <a:solidFill>
            <a:schemeClr val="tx2"/>
          </a:solidFill>
        </p:grpSpPr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C51FF20-5482-40AD-B7F9-0ACBEAC09E4E}"/>
                </a:ext>
              </a:extLst>
            </p:cNvPr>
            <p:cNvSpPr/>
            <p:nvPr/>
          </p:nvSpPr>
          <p:spPr>
            <a:xfrm>
              <a:off x="6779498" y="1920454"/>
              <a:ext cx="140826" cy="281730"/>
            </a:xfrm>
            <a:custGeom>
              <a:avLst/>
              <a:gdLst>
                <a:gd name="connsiteX0" fmla="*/ 129117 w 140826"/>
                <a:gd name="connsiteY0" fmla="*/ 0 h 281730"/>
                <a:gd name="connsiteX1" fmla="*/ 11710 w 140826"/>
                <a:gd name="connsiteY1" fmla="*/ 0 h 281730"/>
                <a:gd name="connsiteX2" fmla="*/ 0 w 140826"/>
                <a:gd name="connsiteY2" fmla="*/ 11710 h 281730"/>
                <a:gd name="connsiteX3" fmla="*/ 0 w 140826"/>
                <a:gd name="connsiteY3" fmla="*/ 270021 h 281730"/>
                <a:gd name="connsiteX4" fmla="*/ 11710 w 140826"/>
                <a:gd name="connsiteY4" fmla="*/ 281731 h 281730"/>
                <a:gd name="connsiteX5" fmla="*/ 129117 w 140826"/>
                <a:gd name="connsiteY5" fmla="*/ 281731 h 281730"/>
                <a:gd name="connsiteX6" fmla="*/ 140827 w 140826"/>
                <a:gd name="connsiteY6" fmla="*/ 270021 h 281730"/>
                <a:gd name="connsiteX7" fmla="*/ 140827 w 140826"/>
                <a:gd name="connsiteY7" fmla="*/ 11710 h 281730"/>
                <a:gd name="connsiteX8" fmla="*/ 129117 w 140826"/>
                <a:gd name="connsiteY8" fmla="*/ 0 h 281730"/>
                <a:gd name="connsiteX9" fmla="*/ 117407 w 140826"/>
                <a:gd name="connsiteY9" fmla="*/ 258311 h 281730"/>
                <a:gd name="connsiteX10" fmla="*/ 23497 w 140826"/>
                <a:gd name="connsiteY10" fmla="*/ 258311 h 281730"/>
                <a:gd name="connsiteX11" fmla="*/ 23497 w 140826"/>
                <a:gd name="connsiteY11" fmla="*/ 23497 h 281730"/>
                <a:gd name="connsiteX12" fmla="*/ 117407 w 140826"/>
                <a:gd name="connsiteY12" fmla="*/ 23497 h 281730"/>
                <a:gd name="connsiteX13" fmla="*/ 117407 w 140826"/>
                <a:gd name="connsiteY13" fmla="*/ 258311 h 28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281730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270021"/>
                  </a:lnTo>
                  <a:cubicBezTo>
                    <a:pt x="0" y="276492"/>
                    <a:pt x="5239" y="281731"/>
                    <a:pt x="11710" y="281731"/>
                  </a:cubicBezTo>
                  <a:lnTo>
                    <a:pt x="129117" y="281731"/>
                  </a:lnTo>
                  <a:cubicBezTo>
                    <a:pt x="135588" y="281731"/>
                    <a:pt x="140827" y="276492"/>
                    <a:pt x="140827" y="270021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258311"/>
                  </a:moveTo>
                  <a:lnTo>
                    <a:pt x="23497" y="258311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258311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C88385A3-CC34-4724-85B3-0F6A5C8DBA51}"/>
                </a:ext>
              </a:extLst>
            </p:cNvPr>
            <p:cNvSpPr/>
            <p:nvPr/>
          </p:nvSpPr>
          <p:spPr>
            <a:xfrm>
              <a:off x="6990892" y="1791337"/>
              <a:ext cx="140826" cy="410924"/>
            </a:xfrm>
            <a:custGeom>
              <a:avLst/>
              <a:gdLst>
                <a:gd name="connsiteX0" fmla="*/ 129117 w 140826"/>
                <a:gd name="connsiteY0" fmla="*/ 0 h 410924"/>
                <a:gd name="connsiteX1" fmla="*/ 11710 w 140826"/>
                <a:gd name="connsiteY1" fmla="*/ 0 h 410924"/>
                <a:gd name="connsiteX2" fmla="*/ 0 w 140826"/>
                <a:gd name="connsiteY2" fmla="*/ 11710 h 410924"/>
                <a:gd name="connsiteX3" fmla="*/ 0 w 140826"/>
                <a:gd name="connsiteY3" fmla="*/ 399215 h 410924"/>
                <a:gd name="connsiteX4" fmla="*/ 11710 w 140826"/>
                <a:gd name="connsiteY4" fmla="*/ 410925 h 410924"/>
                <a:gd name="connsiteX5" fmla="*/ 129117 w 140826"/>
                <a:gd name="connsiteY5" fmla="*/ 410925 h 410924"/>
                <a:gd name="connsiteX6" fmla="*/ 140827 w 140826"/>
                <a:gd name="connsiteY6" fmla="*/ 399215 h 410924"/>
                <a:gd name="connsiteX7" fmla="*/ 140827 w 140826"/>
                <a:gd name="connsiteY7" fmla="*/ 11710 h 410924"/>
                <a:gd name="connsiteX8" fmla="*/ 129117 w 140826"/>
                <a:gd name="connsiteY8" fmla="*/ 0 h 410924"/>
                <a:gd name="connsiteX9" fmla="*/ 117407 w 140826"/>
                <a:gd name="connsiteY9" fmla="*/ 387505 h 410924"/>
                <a:gd name="connsiteX10" fmla="*/ 23497 w 140826"/>
                <a:gd name="connsiteY10" fmla="*/ 387505 h 410924"/>
                <a:gd name="connsiteX11" fmla="*/ 23497 w 140826"/>
                <a:gd name="connsiteY11" fmla="*/ 23497 h 410924"/>
                <a:gd name="connsiteX12" fmla="*/ 117407 w 140826"/>
                <a:gd name="connsiteY12" fmla="*/ 23497 h 410924"/>
                <a:gd name="connsiteX13" fmla="*/ 117407 w 140826"/>
                <a:gd name="connsiteY13" fmla="*/ 387505 h 410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410924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399215"/>
                  </a:lnTo>
                  <a:cubicBezTo>
                    <a:pt x="0" y="405686"/>
                    <a:pt x="5239" y="410925"/>
                    <a:pt x="11710" y="410925"/>
                  </a:cubicBezTo>
                  <a:lnTo>
                    <a:pt x="129117" y="410925"/>
                  </a:lnTo>
                  <a:cubicBezTo>
                    <a:pt x="135588" y="410925"/>
                    <a:pt x="140827" y="405686"/>
                    <a:pt x="140827" y="399215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387505"/>
                  </a:moveTo>
                  <a:lnTo>
                    <a:pt x="23497" y="387505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387505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8A607187-FEA8-4569-8DCB-059B6508933D}"/>
                </a:ext>
              </a:extLst>
            </p:cNvPr>
            <p:cNvSpPr/>
            <p:nvPr/>
          </p:nvSpPr>
          <p:spPr>
            <a:xfrm>
              <a:off x="7202209" y="1638646"/>
              <a:ext cx="140826" cy="563538"/>
            </a:xfrm>
            <a:custGeom>
              <a:avLst/>
              <a:gdLst>
                <a:gd name="connsiteX0" fmla="*/ 129117 w 140826"/>
                <a:gd name="connsiteY0" fmla="*/ 0 h 563538"/>
                <a:gd name="connsiteX1" fmla="*/ 11710 w 140826"/>
                <a:gd name="connsiteY1" fmla="*/ 0 h 563538"/>
                <a:gd name="connsiteX2" fmla="*/ 0 w 140826"/>
                <a:gd name="connsiteY2" fmla="*/ 11710 h 563538"/>
                <a:gd name="connsiteX3" fmla="*/ 0 w 140826"/>
                <a:gd name="connsiteY3" fmla="*/ 551829 h 563538"/>
                <a:gd name="connsiteX4" fmla="*/ 11710 w 140826"/>
                <a:gd name="connsiteY4" fmla="*/ 563539 h 563538"/>
                <a:gd name="connsiteX5" fmla="*/ 129117 w 140826"/>
                <a:gd name="connsiteY5" fmla="*/ 563539 h 563538"/>
                <a:gd name="connsiteX6" fmla="*/ 140827 w 140826"/>
                <a:gd name="connsiteY6" fmla="*/ 551829 h 563538"/>
                <a:gd name="connsiteX7" fmla="*/ 140827 w 140826"/>
                <a:gd name="connsiteY7" fmla="*/ 11710 h 563538"/>
                <a:gd name="connsiteX8" fmla="*/ 129117 w 140826"/>
                <a:gd name="connsiteY8" fmla="*/ 0 h 563538"/>
                <a:gd name="connsiteX9" fmla="*/ 117407 w 140826"/>
                <a:gd name="connsiteY9" fmla="*/ 540119 h 563538"/>
                <a:gd name="connsiteX10" fmla="*/ 23497 w 140826"/>
                <a:gd name="connsiteY10" fmla="*/ 540119 h 563538"/>
                <a:gd name="connsiteX11" fmla="*/ 23497 w 140826"/>
                <a:gd name="connsiteY11" fmla="*/ 23497 h 563538"/>
                <a:gd name="connsiteX12" fmla="*/ 117407 w 140826"/>
                <a:gd name="connsiteY12" fmla="*/ 23497 h 563538"/>
                <a:gd name="connsiteX13" fmla="*/ 117407 w 140826"/>
                <a:gd name="connsiteY13" fmla="*/ 540119 h 563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563538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551829"/>
                  </a:lnTo>
                  <a:cubicBezTo>
                    <a:pt x="0" y="558300"/>
                    <a:pt x="5239" y="563539"/>
                    <a:pt x="11710" y="563539"/>
                  </a:cubicBezTo>
                  <a:lnTo>
                    <a:pt x="129117" y="563539"/>
                  </a:lnTo>
                  <a:cubicBezTo>
                    <a:pt x="135588" y="563539"/>
                    <a:pt x="140827" y="558300"/>
                    <a:pt x="140827" y="551829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540119"/>
                  </a:moveTo>
                  <a:lnTo>
                    <a:pt x="23497" y="540119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540119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3" name="Graphic 114">
            <a:extLst>
              <a:ext uri="{FF2B5EF4-FFF2-40B4-BE49-F238E27FC236}">
                <a16:creationId xmlns:a16="http://schemas.microsoft.com/office/drawing/2014/main" id="{E558A6B7-F8EC-44BD-87C8-85C28F7760CD}"/>
              </a:ext>
            </a:extLst>
          </p:cNvPr>
          <p:cNvGrpSpPr/>
          <p:nvPr/>
        </p:nvGrpSpPr>
        <p:grpSpPr>
          <a:xfrm>
            <a:off x="9942170" y="1657521"/>
            <a:ext cx="553710" cy="526020"/>
            <a:chOff x="9942170" y="1657521"/>
            <a:chExt cx="553710" cy="526020"/>
          </a:xfrm>
          <a:solidFill>
            <a:schemeClr val="tx2"/>
          </a:solidFill>
        </p:grpSpPr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4078A0E-267E-4586-846D-C7839DDD7C71}"/>
                </a:ext>
              </a:extLst>
            </p:cNvPr>
            <p:cNvSpPr/>
            <p:nvPr/>
          </p:nvSpPr>
          <p:spPr>
            <a:xfrm>
              <a:off x="10282604" y="1798424"/>
              <a:ext cx="140826" cy="140826"/>
            </a:xfrm>
            <a:custGeom>
              <a:avLst/>
              <a:gdLst>
                <a:gd name="connsiteX0" fmla="*/ 70413 w 140826"/>
                <a:gd name="connsiteY0" fmla="*/ 140827 h 140826"/>
                <a:gd name="connsiteX1" fmla="*/ 140827 w 140826"/>
                <a:gd name="connsiteY1" fmla="*/ 70413 h 140826"/>
                <a:gd name="connsiteX2" fmla="*/ 70413 w 140826"/>
                <a:gd name="connsiteY2" fmla="*/ 0 h 140826"/>
                <a:gd name="connsiteX3" fmla="*/ 0 w 140826"/>
                <a:gd name="connsiteY3" fmla="*/ 70413 h 140826"/>
                <a:gd name="connsiteX4" fmla="*/ 70413 w 140826"/>
                <a:gd name="connsiteY4" fmla="*/ 140827 h 140826"/>
                <a:gd name="connsiteX5" fmla="*/ 70413 w 140826"/>
                <a:gd name="connsiteY5" fmla="*/ 23420 h 140826"/>
                <a:gd name="connsiteX6" fmla="*/ 117407 w 140826"/>
                <a:gd name="connsiteY6" fmla="*/ 70413 h 140826"/>
                <a:gd name="connsiteX7" fmla="*/ 70413 w 140826"/>
                <a:gd name="connsiteY7" fmla="*/ 117407 h 140826"/>
                <a:gd name="connsiteX8" fmla="*/ 23420 w 140826"/>
                <a:gd name="connsiteY8" fmla="*/ 70413 h 140826"/>
                <a:gd name="connsiteX9" fmla="*/ 70413 w 140826"/>
                <a:gd name="connsiteY9" fmla="*/ 23420 h 140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826" h="140826">
                  <a:moveTo>
                    <a:pt x="70413" y="140827"/>
                  </a:moveTo>
                  <a:cubicBezTo>
                    <a:pt x="109241" y="140827"/>
                    <a:pt x="140827" y="109241"/>
                    <a:pt x="140827" y="70413"/>
                  </a:cubicBezTo>
                  <a:cubicBezTo>
                    <a:pt x="140827" y="31586"/>
                    <a:pt x="109241" y="0"/>
                    <a:pt x="70413" y="0"/>
                  </a:cubicBezTo>
                  <a:cubicBezTo>
                    <a:pt x="31586" y="0"/>
                    <a:pt x="0" y="31586"/>
                    <a:pt x="0" y="70413"/>
                  </a:cubicBezTo>
                  <a:cubicBezTo>
                    <a:pt x="0" y="109241"/>
                    <a:pt x="31586" y="140827"/>
                    <a:pt x="70413" y="140827"/>
                  </a:cubicBezTo>
                  <a:close/>
                  <a:moveTo>
                    <a:pt x="70413" y="23420"/>
                  </a:moveTo>
                  <a:cubicBezTo>
                    <a:pt x="96298" y="23420"/>
                    <a:pt x="117407" y="44451"/>
                    <a:pt x="117407" y="70413"/>
                  </a:cubicBezTo>
                  <a:cubicBezTo>
                    <a:pt x="117407" y="96375"/>
                    <a:pt x="96376" y="117407"/>
                    <a:pt x="70413" y="117407"/>
                  </a:cubicBezTo>
                  <a:cubicBezTo>
                    <a:pt x="44451" y="117407"/>
                    <a:pt x="23420" y="96375"/>
                    <a:pt x="23420" y="70413"/>
                  </a:cubicBezTo>
                  <a:cubicBezTo>
                    <a:pt x="23420" y="44451"/>
                    <a:pt x="44451" y="23420"/>
                    <a:pt x="70413" y="2342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20882A6-C91B-4018-8779-CCCBF2B25BEA}"/>
                </a:ext>
              </a:extLst>
            </p:cNvPr>
            <p:cNvSpPr/>
            <p:nvPr/>
          </p:nvSpPr>
          <p:spPr>
            <a:xfrm>
              <a:off x="10094783" y="1657521"/>
              <a:ext cx="140826" cy="140826"/>
            </a:xfrm>
            <a:custGeom>
              <a:avLst/>
              <a:gdLst>
                <a:gd name="connsiteX0" fmla="*/ 70414 w 140826"/>
                <a:gd name="connsiteY0" fmla="*/ 140827 h 140826"/>
                <a:gd name="connsiteX1" fmla="*/ 140827 w 140826"/>
                <a:gd name="connsiteY1" fmla="*/ 70413 h 140826"/>
                <a:gd name="connsiteX2" fmla="*/ 70414 w 140826"/>
                <a:gd name="connsiteY2" fmla="*/ 0 h 140826"/>
                <a:gd name="connsiteX3" fmla="*/ 0 w 140826"/>
                <a:gd name="connsiteY3" fmla="*/ 70413 h 140826"/>
                <a:gd name="connsiteX4" fmla="*/ 70414 w 140826"/>
                <a:gd name="connsiteY4" fmla="*/ 140827 h 140826"/>
                <a:gd name="connsiteX5" fmla="*/ 70414 w 140826"/>
                <a:gd name="connsiteY5" fmla="*/ 23420 h 140826"/>
                <a:gd name="connsiteX6" fmla="*/ 117407 w 140826"/>
                <a:gd name="connsiteY6" fmla="*/ 70413 h 140826"/>
                <a:gd name="connsiteX7" fmla="*/ 70414 w 140826"/>
                <a:gd name="connsiteY7" fmla="*/ 117407 h 140826"/>
                <a:gd name="connsiteX8" fmla="*/ 23420 w 140826"/>
                <a:gd name="connsiteY8" fmla="*/ 70413 h 140826"/>
                <a:gd name="connsiteX9" fmla="*/ 70414 w 140826"/>
                <a:gd name="connsiteY9" fmla="*/ 23420 h 140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826" h="140826">
                  <a:moveTo>
                    <a:pt x="70414" y="140827"/>
                  </a:moveTo>
                  <a:cubicBezTo>
                    <a:pt x="109241" y="140827"/>
                    <a:pt x="140827" y="109241"/>
                    <a:pt x="140827" y="70413"/>
                  </a:cubicBezTo>
                  <a:cubicBezTo>
                    <a:pt x="140827" y="31586"/>
                    <a:pt x="109241" y="0"/>
                    <a:pt x="70414" y="0"/>
                  </a:cubicBezTo>
                  <a:cubicBezTo>
                    <a:pt x="31586" y="0"/>
                    <a:pt x="0" y="31586"/>
                    <a:pt x="0" y="70413"/>
                  </a:cubicBezTo>
                  <a:cubicBezTo>
                    <a:pt x="0" y="109241"/>
                    <a:pt x="31586" y="140827"/>
                    <a:pt x="70414" y="140827"/>
                  </a:cubicBezTo>
                  <a:close/>
                  <a:moveTo>
                    <a:pt x="70414" y="23420"/>
                  </a:moveTo>
                  <a:cubicBezTo>
                    <a:pt x="96298" y="23420"/>
                    <a:pt x="117407" y="44451"/>
                    <a:pt x="117407" y="70413"/>
                  </a:cubicBezTo>
                  <a:cubicBezTo>
                    <a:pt x="117407" y="96376"/>
                    <a:pt x="96376" y="117407"/>
                    <a:pt x="70414" y="117407"/>
                  </a:cubicBezTo>
                  <a:cubicBezTo>
                    <a:pt x="44451" y="117407"/>
                    <a:pt x="23420" y="96376"/>
                    <a:pt x="23420" y="70413"/>
                  </a:cubicBezTo>
                  <a:cubicBezTo>
                    <a:pt x="23420" y="44451"/>
                    <a:pt x="44451" y="23420"/>
                    <a:pt x="70414" y="2342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7A275AD4-2FF8-4F12-AF30-4FC2EEDCD510}"/>
                </a:ext>
              </a:extLst>
            </p:cNvPr>
            <p:cNvSpPr/>
            <p:nvPr/>
          </p:nvSpPr>
          <p:spPr>
            <a:xfrm>
              <a:off x="9942170" y="1904971"/>
              <a:ext cx="553710" cy="278570"/>
            </a:xfrm>
            <a:custGeom>
              <a:avLst/>
              <a:gdLst>
                <a:gd name="connsiteX0" fmla="*/ 541351 w 553710"/>
                <a:gd name="connsiteY0" fmla="*/ 113322 h 278570"/>
                <a:gd name="connsiteX1" fmla="*/ 472710 w 553710"/>
                <a:gd name="connsiteY1" fmla="*/ 93215 h 278570"/>
                <a:gd name="connsiteX2" fmla="*/ 351220 w 553710"/>
                <a:gd name="connsiteY2" fmla="*/ 134739 h 278570"/>
                <a:gd name="connsiteX3" fmla="*/ 255229 w 553710"/>
                <a:gd name="connsiteY3" fmla="*/ 46145 h 278570"/>
                <a:gd name="connsiteX4" fmla="*/ 156157 w 553710"/>
                <a:gd name="connsiteY4" fmla="*/ 46145 h 278570"/>
                <a:gd name="connsiteX5" fmla="*/ 38750 w 553710"/>
                <a:gd name="connsiteY5" fmla="*/ 152 h 278570"/>
                <a:gd name="connsiteX6" fmla="*/ 11479 w 553710"/>
                <a:gd name="connsiteY6" fmla="*/ 9243 h 278570"/>
                <a:gd name="connsiteX7" fmla="*/ 0 w 553710"/>
                <a:gd name="connsiteY7" fmla="*/ 35205 h 278570"/>
                <a:gd name="connsiteX8" fmla="*/ 0 w 553710"/>
                <a:gd name="connsiteY8" fmla="*/ 162165 h 278570"/>
                <a:gd name="connsiteX9" fmla="*/ 20261 w 553710"/>
                <a:gd name="connsiteY9" fmla="*/ 194059 h 278570"/>
                <a:gd name="connsiteX10" fmla="*/ 181889 w 553710"/>
                <a:gd name="connsiteY10" fmla="*/ 269711 h 278570"/>
                <a:gd name="connsiteX11" fmla="*/ 221486 w 553710"/>
                <a:gd name="connsiteY11" fmla="*/ 278571 h 278570"/>
                <a:gd name="connsiteX12" fmla="*/ 253226 w 553710"/>
                <a:gd name="connsiteY12" fmla="*/ 273024 h 278570"/>
                <a:gd name="connsiteX13" fmla="*/ 530258 w 553710"/>
                <a:gd name="connsiteY13" fmla="*/ 173259 h 278570"/>
                <a:gd name="connsiteX14" fmla="*/ 553138 w 553710"/>
                <a:gd name="connsiteY14" fmla="*/ 146141 h 278570"/>
                <a:gd name="connsiteX15" fmla="*/ 541351 w 553710"/>
                <a:gd name="connsiteY15" fmla="*/ 113399 h 278570"/>
                <a:gd name="connsiteX16" fmla="*/ 530027 w 553710"/>
                <a:gd name="connsiteY16" fmla="*/ 141904 h 278570"/>
                <a:gd name="connsiteX17" fmla="*/ 522323 w 553710"/>
                <a:gd name="connsiteY17" fmla="*/ 151071 h 278570"/>
                <a:gd name="connsiteX18" fmla="*/ 245291 w 553710"/>
                <a:gd name="connsiteY18" fmla="*/ 250837 h 278570"/>
                <a:gd name="connsiteX19" fmla="*/ 191904 w 553710"/>
                <a:gd name="connsiteY19" fmla="*/ 248371 h 278570"/>
                <a:gd name="connsiteX20" fmla="*/ 30276 w 553710"/>
                <a:gd name="connsiteY20" fmla="*/ 172719 h 278570"/>
                <a:gd name="connsiteX21" fmla="*/ 23497 w 553710"/>
                <a:gd name="connsiteY21" fmla="*/ 162088 h 278570"/>
                <a:gd name="connsiteX22" fmla="*/ 23497 w 553710"/>
                <a:gd name="connsiteY22" fmla="*/ 35128 h 278570"/>
                <a:gd name="connsiteX23" fmla="*/ 27272 w 553710"/>
                <a:gd name="connsiteY23" fmla="*/ 26500 h 278570"/>
                <a:gd name="connsiteX24" fmla="*/ 35361 w 553710"/>
                <a:gd name="connsiteY24" fmla="*/ 23341 h 278570"/>
                <a:gd name="connsiteX25" fmla="*/ 36516 w 553710"/>
                <a:gd name="connsiteY25" fmla="*/ 23341 h 278570"/>
                <a:gd name="connsiteX26" fmla="*/ 146065 w 553710"/>
                <a:gd name="connsiteY26" fmla="*/ 67484 h 278570"/>
                <a:gd name="connsiteX27" fmla="*/ 152614 w 553710"/>
                <a:gd name="connsiteY27" fmla="*/ 69487 h 278570"/>
                <a:gd name="connsiteX28" fmla="*/ 255229 w 553710"/>
                <a:gd name="connsiteY28" fmla="*/ 69487 h 278570"/>
                <a:gd name="connsiteX29" fmla="*/ 328108 w 553710"/>
                <a:gd name="connsiteY29" fmla="*/ 139978 h 278570"/>
                <a:gd name="connsiteX30" fmla="*/ 152614 w 553710"/>
                <a:gd name="connsiteY30" fmla="*/ 139978 h 278570"/>
                <a:gd name="connsiteX31" fmla="*/ 140904 w 553710"/>
                <a:gd name="connsiteY31" fmla="*/ 151688 h 278570"/>
                <a:gd name="connsiteX32" fmla="*/ 152614 w 553710"/>
                <a:gd name="connsiteY32" fmla="*/ 163398 h 278570"/>
                <a:gd name="connsiteX33" fmla="*/ 340203 w 553710"/>
                <a:gd name="connsiteY33" fmla="*/ 163398 h 278570"/>
                <a:gd name="connsiteX34" fmla="*/ 342745 w 553710"/>
                <a:gd name="connsiteY34" fmla="*/ 163166 h 278570"/>
                <a:gd name="connsiteX35" fmla="*/ 345211 w 553710"/>
                <a:gd name="connsiteY35" fmla="*/ 162396 h 278570"/>
                <a:gd name="connsiteX36" fmla="*/ 476639 w 553710"/>
                <a:gd name="connsiteY36" fmla="*/ 116250 h 278570"/>
                <a:gd name="connsiteX37" fmla="*/ 526252 w 553710"/>
                <a:gd name="connsiteY37" fmla="*/ 131195 h 278570"/>
                <a:gd name="connsiteX38" fmla="*/ 530027 w 553710"/>
                <a:gd name="connsiteY38" fmla="*/ 141827 h 2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3710" h="278570">
                  <a:moveTo>
                    <a:pt x="541351" y="113322"/>
                  </a:moveTo>
                  <a:cubicBezTo>
                    <a:pt x="527869" y="101998"/>
                    <a:pt x="506068" y="87514"/>
                    <a:pt x="472710" y="93215"/>
                  </a:cubicBezTo>
                  <a:cubicBezTo>
                    <a:pt x="444899" y="97915"/>
                    <a:pt x="380726" y="122875"/>
                    <a:pt x="351220" y="134739"/>
                  </a:cubicBezTo>
                  <a:cubicBezTo>
                    <a:pt x="344826" y="81043"/>
                    <a:pt x="307847" y="46145"/>
                    <a:pt x="255229" y="46145"/>
                  </a:cubicBezTo>
                  <a:lnTo>
                    <a:pt x="156157" y="46145"/>
                  </a:lnTo>
                  <a:cubicBezTo>
                    <a:pt x="113632" y="18257"/>
                    <a:pt x="76268" y="3619"/>
                    <a:pt x="38750" y="152"/>
                  </a:cubicBezTo>
                  <a:cubicBezTo>
                    <a:pt x="28736" y="-772"/>
                    <a:pt x="18797" y="2541"/>
                    <a:pt x="11479" y="9243"/>
                  </a:cubicBezTo>
                  <a:cubicBezTo>
                    <a:pt x="4160" y="15868"/>
                    <a:pt x="0" y="25344"/>
                    <a:pt x="0" y="35205"/>
                  </a:cubicBezTo>
                  <a:lnTo>
                    <a:pt x="0" y="162165"/>
                  </a:lnTo>
                  <a:cubicBezTo>
                    <a:pt x="0" y="175801"/>
                    <a:pt x="7935" y="188281"/>
                    <a:pt x="20261" y="194059"/>
                  </a:cubicBezTo>
                  <a:lnTo>
                    <a:pt x="181889" y="269711"/>
                  </a:lnTo>
                  <a:cubicBezTo>
                    <a:pt x="194523" y="275643"/>
                    <a:pt x="207928" y="278571"/>
                    <a:pt x="221486" y="278571"/>
                  </a:cubicBezTo>
                  <a:cubicBezTo>
                    <a:pt x="232195" y="278571"/>
                    <a:pt x="242903" y="276722"/>
                    <a:pt x="253226" y="273024"/>
                  </a:cubicBezTo>
                  <a:lnTo>
                    <a:pt x="530258" y="173259"/>
                  </a:lnTo>
                  <a:cubicBezTo>
                    <a:pt x="542353" y="168944"/>
                    <a:pt x="550904" y="158775"/>
                    <a:pt x="553138" y="146141"/>
                  </a:cubicBezTo>
                  <a:cubicBezTo>
                    <a:pt x="555372" y="133738"/>
                    <a:pt x="550981" y="121488"/>
                    <a:pt x="541351" y="113399"/>
                  </a:cubicBezTo>
                  <a:close/>
                  <a:moveTo>
                    <a:pt x="530027" y="141904"/>
                  </a:moveTo>
                  <a:cubicBezTo>
                    <a:pt x="529256" y="146218"/>
                    <a:pt x="526406" y="149608"/>
                    <a:pt x="522323" y="151071"/>
                  </a:cubicBezTo>
                  <a:lnTo>
                    <a:pt x="245291" y="250837"/>
                  </a:lnTo>
                  <a:cubicBezTo>
                    <a:pt x="227727" y="257154"/>
                    <a:pt x="208775" y="256306"/>
                    <a:pt x="191904" y="248371"/>
                  </a:cubicBezTo>
                  <a:lnTo>
                    <a:pt x="30276" y="172719"/>
                  </a:lnTo>
                  <a:cubicBezTo>
                    <a:pt x="26193" y="170793"/>
                    <a:pt x="23497" y="166633"/>
                    <a:pt x="23497" y="162088"/>
                  </a:cubicBezTo>
                  <a:lnTo>
                    <a:pt x="23497" y="35128"/>
                  </a:lnTo>
                  <a:cubicBezTo>
                    <a:pt x="23497" y="31815"/>
                    <a:pt x="24884" y="28734"/>
                    <a:pt x="27272" y="26500"/>
                  </a:cubicBezTo>
                  <a:cubicBezTo>
                    <a:pt x="29506" y="24497"/>
                    <a:pt x="32356" y="23341"/>
                    <a:pt x="35361" y="23341"/>
                  </a:cubicBezTo>
                  <a:cubicBezTo>
                    <a:pt x="35746" y="23341"/>
                    <a:pt x="36131" y="23341"/>
                    <a:pt x="36516" y="23341"/>
                  </a:cubicBezTo>
                  <a:cubicBezTo>
                    <a:pt x="58164" y="25344"/>
                    <a:pt x="93063" y="32124"/>
                    <a:pt x="146065" y="67484"/>
                  </a:cubicBezTo>
                  <a:cubicBezTo>
                    <a:pt x="147991" y="68794"/>
                    <a:pt x="150226" y="69487"/>
                    <a:pt x="152614" y="69487"/>
                  </a:cubicBezTo>
                  <a:lnTo>
                    <a:pt x="255229" y="69487"/>
                  </a:lnTo>
                  <a:cubicBezTo>
                    <a:pt x="303918" y="69487"/>
                    <a:pt x="324410" y="105233"/>
                    <a:pt x="328108" y="139978"/>
                  </a:cubicBezTo>
                  <a:lnTo>
                    <a:pt x="152614" y="139978"/>
                  </a:lnTo>
                  <a:cubicBezTo>
                    <a:pt x="146143" y="139978"/>
                    <a:pt x="140904" y="145216"/>
                    <a:pt x="140904" y="151688"/>
                  </a:cubicBezTo>
                  <a:cubicBezTo>
                    <a:pt x="140904" y="158159"/>
                    <a:pt x="146143" y="163398"/>
                    <a:pt x="152614" y="163398"/>
                  </a:cubicBezTo>
                  <a:lnTo>
                    <a:pt x="340203" y="163398"/>
                  </a:lnTo>
                  <a:cubicBezTo>
                    <a:pt x="341051" y="163398"/>
                    <a:pt x="341898" y="163398"/>
                    <a:pt x="342745" y="163166"/>
                  </a:cubicBezTo>
                  <a:cubicBezTo>
                    <a:pt x="343593" y="163012"/>
                    <a:pt x="344440" y="162704"/>
                    <a:pt x="345211" y="162396"/>
                  </a:cubicBezTo>
                  <a:cubicBezTo>
                    <a:pt x="350603" y="160162"/>
                    <a:pt x="444128" y="121797"/>
                    <a:pt x="476639" y="116250"/>
                  </a:cubicBezTo>
                  <a:cubicBezTo>
                    <a:pt x="500136" y="112244"/>
                    <a:pt x="515466" y="122105"/>
                    <a:pt x="526252" y="131195"/>
                  </a:cubicBezTo>
                  <a:cubicBezTo>
                    <a:pt x="530720" y="134970"/>
                    <a:pt x="530412" y="139901"/>
                    <a:pt x="530027" y="141827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7" name="Graphic 114">
            <a:extLst>
              <a:ext uri="{FF2B5EF4-FFF2-40B4-BE49-F238E27FC236}">
                <a16:creationId xmlns:a16="http://schemas.microsoft.com/office/drawing/2014/main" id="{22659B22-F38B-4FD7-B9F4-0EA1671AE746}"/>
              </a:ext>
            </a:extLst>
          </p:cNvPr>
          <p:cNvGrpSpPr/>
          <p:nvPr/>
        </p:nvGrpSpPr>
        <p:grpSpPr>
          <a:xfrm>
            <a:off x="6814781" y="776967"/>
            <a:ext cx="493048" cy="563692"/>
            <a:chOff x="6814781" y="776967"/>
            <a:chExt cx="493048" cy="563692"/>
          </a:xfrm>
          <a:solidFill>
            <a:schemeClr val="tx2"/>
          </a:solidFill>
        </p:grpSpPr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010A356E-376F-4970-858D-CD5C1576C597}"/>
                </a:ext>
              </a:extLst>
            </p:cNvPr>
            <p:cNvSpPr/>
            <p:nvPr/>
          </p:nvSpPr>
          <p:spPr>
            <a:xfrm>
              <a:off x="6955608" y="776967"/>
              <a:ext cx="211394" cy="258388"/>
            </a:xfrm>
            <a:custGeom>
              <a:avLst/>
              <a:gdLst>
                <a:gd name="connsiteX0" fmla="*/ 105697 w 211394"/>
                <a:gd name="connsiteY0" fmla="*/ 258388 h 258388"/>
                <a:gd name="connsiteX1" fmla="*/ 211394 w 211394"/>
                <a:gd name="connsiteY1" fmla="*/ 152691 h 258388"/>
                <a:gd name="connsiteX2" fmla="*/ 211394 w 211394"/>
                <a:gd name="connsiteY2" fmla="*/ 105697 h 258388"/>
                <a:gd name="connsiteX3" fmla="*/ 105697 w 211394"/>
                <a:gd name="connsiteY3" fmla="*/ 0 h 258388"/>
                <a:gd name="connsiteX4" fmla="*/ 0 w 211394"/>
                <a:gd name="connsiteY4" fmla="*/ 105697 h 258388"/>
                <a:gd name="connsiteX5" fmla="*/ 0 w 211394"/>
                <a:gd name="connsiteY5" fmla="*/ 152691 h 258388"/>
                <a:gd name="connsiteX6" fmla="*/ 105697 w 211394"/>
                <a:gd name="connsiteY6" fmla="*/ 258388 h 258388"/>
                <a:gd name="connsiteX7" fmla="*/ 23497 w 211394"/>
                <a:gd name="connsiteY7" fmla="*/ 105774 h 258388"/>
                <a:gd name="connsiteX8" fmla="*/ 105697 w 211394"/>
                <a:gd name="connsiteY8" fmla="*/ 23574 h 258388"/>
                <a:gd name="connsiteX9" fmla="*/ 187898 w 211394"/>
                <a:gd name="connsiteY9" fmla="*/ 105774 h 258388"/>
                <a:gd name="connsiteX10" fmla="*/ 187898 w 211394"/>
                <a:gd name="connsiteY10" fmla="*/ 152768 h 258388"/>
                <a:gd name="connsiteX11" fmla="*/ 105697 w 211394"/>
                <a:gd name="connsiteY11" fmla="*/ 234968 h 258388"/>
                <a:gd name="connsiteX12" fmla="*/ 23497 w 211394"/>
                <a:gd name="connsiteY12" fmla="*/ 152768 h 258388"/>
                <a:gd name="connsiteX13" fmla="*/ 23497 w 211394"/>
                <a:gd name="connsiteY13" fmla="*/ 105774 h 25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1394" h="258388">
                  <a:moveTo>
                    <a:pt x="105697" y="258388"/>
                  </a:moveTo>
                  <a:cubicBezTo>
                    <a:pt x="163938" y="258388"/>
                    <a:pt x="211394" y="211009"/>
                    <a:pt x="211394" y="152691"/>
                  </a:cubicBezTo>
                  <a:lnTo>
                    <a:pt x="211394" y="105697"/>
                  </a:lnTo>
                  <a:cubicBezTo>
                    <a:pt x="211394" y="47456"/>
                    <a:pt x="164016" y="0"/>
                    <a:pt x="105697" y="0"/>
                  </a:cubicBezTo>
                  <a:cubicBezTo>
                    <a:pt x="47379" y="0"/>
                    <a:pt x="0" y="47379"/>
                    <a:pt x="0" y="105697"/>
                  </a:cubicBezTo>
                  <a:lnTo>
                    <a:pt x="0" y="152691"/>
                  </a:lnTo>
                  <a:cubicBezTo>
                    <a:pt x="0" y="210932"/>
                    <a:pt x="47379" y="258388"/>
                    <a:pt x="105697" y="258388"/>
                  </a:cubicBezTo>
                  <a:close/>
                  <a:moveTo>
                    <a:pt x="23497" y="105774"/>
                  </a:moveTo>
                  <a:cubicBezTo>
                    <a:pt x="23497" y="60475"/>
                    <a:pt x="60398" y="23574"/>
                    <a:pt x="105697" y="23574"/>
                  </a:cubicBezTo>
                  <a:cubicBezTo>
                    <a:pt x="150996" y="23574"/>
                    <a:pt x="187898" y="60475"/>
                    <a:pt x="187898" y="105774"/>
                  </a:cubicBezTo>
                  <a:lnTo>
                    <a:pt x="187898" y="152768"/>
                  </a:lnTo>
                  <a:cubicBezTo>
                    <a:pt x="187898" y="198067"/>
                    <a:pt x="150996" y="234968"/>
                    <a:pt x="105697" y="234968"/>
                  </a:cubicBezTo>
                  <a:cubicBezTo>
                    <a:pt x="60398" y="234968"/>
                    <a:pt x="23497" y="198067"/>
                    <a:pt x="23497" y="152768"/>
                  </a:cubicBezTo>
                  <a:lnTo>
                    <a:pt x="23497" y="105774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15353DF7-C451-46D2-BA4B-49716955988F}"/>
                </a:ext>
              </a:extLst>
            </p:cNvPr>
            <p:cNvSpPr/>
            <p:nvPr/>
          </p:nvSpPr>
          <p:spPr>
            <a:xfrm>
              <a:off x="6814781" y="1082349"/>
              <a:ext cx="493048" cy="258310"/>
            </a:xfrm>
            <a:custGeom>
              <a:avLst/>
              <a:gdLst>
                <a:gd name="connsiteX0" fmla="*/ 336659 w 493048"/>
                <a:gd name="connsiteY0" fmla="*/ 0 h 258310"/>
                <a:gd name="connsiteX1" fmla="*/ 313394 w 493048"/>
                <a:gd name="connsiteY1" fmla="*/ 12403 h 258310"/>
                <a:gd name="connsiteX2" fmla="*/ 246524 w 493048"/>
                <a:gd name="connsiteY2" fmla="*/ 46917 h 258310"/>
                <a:gd name="connsiteX3" fmla="*/ 179654 w 493048"/>
                <a:gd name="connsiteY3" fmla="*/ 12403 h 258310"/>
                <a:gd name="connsiteX4" fmla="*/ 156389 w 493048"/>
                <a:gd name="connsiteY4" fmla="*/ 0 h 258310"/>
                <a:gd name="connsiteX5" fmla="*/ 156389 w 493048"/>
                <a:gd name="connsiteY5" fmla="*/ 0 h 258310"/>
                <a:gd name="connsiteX6" fmla="*/ 0 w 493048"/>
                <a:gd name="connsiteY6" fmla="*/ 156389 h 258310"/>
                <a:gd name="connsiteX7" fmla="*/ 0 w 493048"/>
                <a:gd name="connsiteY7" fmla="*/ 222411 h 258310"/>
                <a:gd name="connsiteX8" fmla="*/ 35900 w 493048"/>
                <a:gd name="connsiteY8" fmla="*/ 258311 h 258310"/>
                <a:gd name="connsiteX9" fmla="*/ 457148 w 493048"/>
                <a:gd name="connsiteY9" fmla="*/ 258311 h 258310"/>
                <a:gd name="connsiteX10" fmla="*/ 493048 w 493048"/>
                <a:gd name="connsiteY10" fmla="*/ 222411 h 258310"/>
                <a:gd name="connsiteX11" fmla="*/ 493048 w 493048"/>
                <a:gd name="connsiteY11" fmla="*/ 156389 h 258310"/>
                <a:gd name="connsiteX12" fmla="*/ 336582 w 493048"/>
                <a:gd name="connsiteY12" fmla="*/ 0 h 258310"/>
                <a:gd name="connsiteX13" fmla="*/ 469628 w 493048"/>
                <a:gd name="connsiteY13" fmla="*/ 222411 h 258310"/>
                <a:gd name="connsiteX14" fmla="*/ 457148 w 493048"/>
                <a:gd name="connsiteY14" fmla="*/ 234891 h 258310"/>
                <a:gd name="connsiteX15" fmla="*/ 35900 w 493048"/>
                <a:gd name="connsiteY15" fmla="*/ 234891 h 258310"/>
                <a:gd name="connsiteX16" fmla="*/ 23420 w 493048"/>
                <a:gd name="connsiteY16" fmla="*/ 222411 h 258310"/>
                <a:gd name="connsiteX17" fmla="*/ 23420 w 493048"/>
                <a:gd name="connsiteY17" fmla="*/ 156389 h 258310"/>
                <a:gd name="connsiteX18" fmla="*/ 156312 w 493048"/>
                <a:gd name="connsiteY18" fmla="*/ 23497 h 258310"/>
                <a:gd name="connsiteX19" fmla="*/ 156312 w 493048"/>
                <a:gd name="connsiteY19" fmla="*/ 23497 h 258310"/>
                <a:gd name="connsiteX20" fmla="*/ 160395 w 493048"/>
                <a:gd name="connsiteY20" fmla="*/ 26039 h 258310"/>
                <a:gd name="connsiteX21" fmla="*/ 246447 w 493048"/>
                <a:gd name="connsiteY21" fmla="*/ 70490 h 258310"/>
                <a:gd name="connsiteX22" fmla="*/ 332499 w 493048"/>
                <a:gd name="connsiteY22" fmla="*/ 26039 h 258310"/>
                <a:gd name="connsiteX23" fmla="*/ 336659 w 493048"/>
                <a:gd name="connsiteY23" fmla="*/ 23497 h 258310"/>
                <a:gd name="connsiteX24" fmla="*/ 469551 w 493048"/>
                <a:gd name="connsiteY24" fmla="*/ 156389 h 258310"/>
                <a:gd name="connsiteX25" fmla="*/ 469551 w 493048"/>
                <a:gd name="connsiteY25" fmla="*/ 222411 h 25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93048" h="258310">
                  <a:moveTo>
                    <a:pt x="336659" y="0"/>
                  </a:moveTo>
                  <a:cubicBezTo>
                    <a:pt x="327492" y="0"/>
                    <a:pt x="319018" y="4545"/>
                    <a:pt x="313394" y="12403"/>
                  </a:cubicBezTo>
                  <a:cubicBezTo>
                    <a:pt x="298063" y="34051"/>
                    <a:pt x="273102" y="46917"/>
                    <a:pt x="246524" y="46917"/>
                  </a:cubicBezTo>
                  <a:cubicBezTo>
                    <a:pt x="219946" y="46917"/>
                    <a:pt x="194985" y="33974"/>
                    <a:pt x="179654" y="12403"/>
                  </a:cubicBezTo>
                  <a:cubicBezTo>
                    <a:pt x="174031" y="4468"/>
                    <a:pt x="165556" y="0"/>
                    <a:pt x="156389" y="0"/>
                  </a:cubicBezTo>
                  <a:lnTo>
                    <a:pt x="156389" y="0"/>
                  </a:lnTo>
                  <a:cubicBezTo>
                    <a:pt x="70182" y="0"/>
                    <a:pt x="0" y="70182"/>
                    <a:pt x="0" y="156389"/>
                  </a:cubicBezTo>
                  <a:lnTo>
                    <a:pt x="0" y="222411"/>
                  </a:lnTo>
                  <a:cubicBezTo>
                    <a:pt x="0" y="242210"/>
                    <a:pt x="16101" y="258311"/>
                    <a:pt x="35900" y="258311"/>
                  </a:cubicBezTo>
                  <a:lnTo>
                    <a:pt x="457148" y="258311"/>
                  </a:lnTo>
                  <a:cubicBezTo>
                    <a:pt x="476947" y="258311"/>
                    <a:pt x="493048" y="242210"/>
                    <a:pt x="493048" y="222411"/>
                  </a:cubicBezTo>
                  <a:lnTo>
                    <a:pt x="493048" y="156389"/>
                  </a:lnTo>
                  <a:cubicBezTo>
                    <a:pt x="493048" y="70182"/>
                    <a:pt x="422866" y="0"/>
                    <a:pt x="336582" y="0"/>
                  </a:cubicBezTo>
                  <a:close/>
                  <a:moveTo>
                    <a:pt x="469628" y="222411"/>
                  </a:moveTo>
                  <a:cubicBezTo>
                    <a:pt x="469628" y="229267"/>
                    <a:pt x="464004" y="234891"/>
                    <a:pt x="457148" y="234891"/>
                  </a:cubicBezTo>
                  <a:lnTo>
                    <a:pt x="35900" y="234891"/>
                  </a:lnTo>
                  <a:cubicBezTo>
                    <a:pt x="29044" y="234891"/>
                    <a:pt x="23420" y="229267"/>
                    <a:pt x="23420" y="222411"/>
                  </a:cubicBezTo>
                  <a:lnTo>
                    <a:pt x="23420" y="156389"/>
                  </a:lnTo>
                  <a:cubicBezTo>
                    <a:pt x="23420" y="83125"/>
                    <a:pt x="83048" y="23497"/>
                    <a:pt x="156312" y="23497"/>
                  </a:cubicBezTo>
                  <a:lnTo>
                    <a:pt x="156312" y="23497"/>
                  </a:lnTo>
                  <a:cubicBezTo>
                    <a:pt x="158392" y="23497"/>
                    <a:pt x="159855" y="25269"/>
                    <a:pt x="160395" y="26039"/>
                  </a:cubicBezTo>
                  <a:cubicBezTo>
                    <a:pt x="180117" y="53850"/>
                    <a:pt x="212242" y="70490"/>
                    <a:pt x="246447" y="70490"/>
                  </a:cubicBezTo>
                  <a:cubicBezTo>
                    <a:pt x="280652" y="70490"/>
                    <a:pt x="312777" y="53850"/>
                    <a:pt x="332499" y="26039"/>
                  </a:cubicBezTo>
                  <a:cubicBezTo>
                    <a:pt x="333039" y="25269"/>
                    <a:pt x="334502" y="23497"/>
                    <a:pt x="336659" y="23497"/>
                  </a:cubicBezTo>
                  <a:cubicBezTo>
                    <a:pt x="409923" y="23497"/>
                    <a:pt x="469551" y="83125"/>
                    <a:pt x="469551" y="156389"/>
                  </a:cubicBezTo>
                  <a:lnTo>
                    <a:pt x="469551" y="222411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0" name="Graphic 114">
            <a:extLst>
              <a:ext uri="{FF2B5EF4-FFF2-40B4-BE49-F238E27FC236}">
                <a16:creationId xmlns:a16="http://schemas.microsoft.com/office/drawing/2014/main" id="{8EF241B6-094D-4F8F-B68C-D8689DFEB768}"/>
              </a:ext>
            </a:extLst>
          </p:cNvPr>
          <p:cNvGrpSpPr/>
          <p:nvPr/>
        </p:nvGrpSpPr>
        <p:grpSpPr>
          <a:xfrm>
            <a:off x="8990279" y="1638723"/>
            <a:ext cx="352221" cy="563538"/>
            <a:chOff x="8990279" y="1638723"/>
            <a:chExt cx="352221" cy="563538"/>
          </a:xfrm>
          <a:solidFill>
            <a:schemeClr val="tx2"/>
          </a:solidFill>
        </p:grpSpPr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A6F1055B-B010-451C-97A6-67381E7880FC}"/>
                </a:ext>
              </a:extLst>
            </p:cNvPr>
            <p:cNvSpPr/>
            <p:nvPr/>
          </p:nvSpPr>
          <p:spPr>
            <a:xfrm>
              <a:off x="8990279" y="1638723"/>
              <a:ext cx="352221" cy="563538"/>
            </a:xfrm>
            <a:custGeom>
              <a:avLst/>
              <a:gdLst>
                <a:gd name="connsiteX0" fmla="*/ 176110 w 352221"/>
                <a:gd name="connsiteY0" fmla="*/ 211317 h 563538"/>
                <a:gd name="connsiteX1" fmla="*/ 70413 w 352221"/>
                <a:gd name="connsiteY1" fmla="*/ 246601 h 563538"/>
                <a:gd name="connsiteX2" fmla="*/ 70413 w 352221"/>
                <a:gd name="connsiteY2" fmla="*/ 129117 h 563538"/>
                <a:gd name="connsiteX3" fmla="*/ 176110 w 352221"/>
                <a:gd name="connsiteY3" fmla="*/ 23420 h 563538"/>
                <a:gd name="connsiteX4" fmla="*/ 250915 w 352221"/>
                <a:gd name="connsiteY4" fmla="*/ 54235 h 563538"/>
                <a:gd name="connsiteX5" fmla="*/ 281808 w 352221"/>
                <a:gd name="connsiteY5" fmla="*/ 129117 h 563538"/>
                <a:gd name="connsiteX6" fmla="*/ 281808 w 352221"/>
                <a:gd name="connsiteY6" fmla="*/ 152614 h 563538"/>
                <a:gd name="connsiteX7" fmla="*/ 293518 w 352221"/>
                <a:gd name="connsiteY7" fmla="*/ 164324 h 563538"/>
                <a:gd name="connsiteX8" fmla="*/ 305228 w 352221"/>
                <a:gd name="connsiteY8" fmla="*/ 152614 h 563538"/>
                <a:gd name="connsiteX9" fmla="*/ 305228 w 352221"/>
                <a:gd name="connsiteY9" fmla="*/ 129117 h 563538"/>
                <a:gd name="connsiteX10" fmla="*/ 267479 w 352221"/>
                <a:gd name="connsiteY10" fmla="*/ 37672 h 563538"/>
                <a:gd name="connsiteX11" fmla="*/ 176110 w 352221"/>
                <a:gd name="connsiteY11" fmla="*/ 0 h 563538"/>
                <a:gd name="connsiteX12" fmla="*/ 46994 w 352221"/>
                <a:gd name="connsiteY12" fmla="*/ 129117 h 563538"/>
                <a:gd name="connsiteX13" fmla="*/ 46994 w 352221"/>
                <a:gd name="connsiteY13" fmla="*/ 267864 h 563538"/>
                <a:gd name="connsiteX14" fmla="*/ 0 w 352221"/>
                <a:gd name="connsiteY14" fmla="*/ 387428 h 563538"/>
                <a:gd name="connsiteX15" fmla="*/ 176110 w 352221"/>
                <a:gd name="connsiteY15" fmla="*/ 563539 h 563538"/>
                <a:gd name="connsiteX16" fmla="*/ 352221 w 352221"/>
                <a:gd name="connsiteY16" fmla="*/ 387428 h 563538"/>
                <a:gd name="connsiteX17" fmla="*/ 176110 w 352221"/>
                <a:gd name="connsiteY17" fmla="*/ 211317 h 563538"/>
                <a:gd name="connsiteX18" fmla="*/ 176110 w 352221"/>
                <a:gd name="connsiteY18" fmla="*/ 540042 h 563538"/>
                <a:gd name="connsiteX19" fmla="*/ 23497 w 352221"/>
                <a:gd name="connsiteY19" fmla="*/ 387428 h 563538"/>
                <a:gd name="connsiteX20" fmla="*/ 67024 w 352221"/>
                <a:gd name="connsiteY20" fmla="*/ 280883 h 563538"/>
                <a:gd name="connsiteX21" fmla="*/ 67024 w 352221"/>
                <a:gd name="connsiteY21" fmla="*/ 280883 h 563538"/>
                <a:gd name="connsiteX22" fmla="*/ 176110 w 352221"/>
                <a:gd name="connsiteY22" fmla="*/ 234814 h 563538"/>
                <a:gd name="connsiteX23" fmla="*/ 328724 w 352221"/>
                <a:gd name="connsiteY23" fmla="*/ 387428 h 563538"/>
                <a:gd name="connsiteX24" fmla="*/ 176110 w 352221"/>
                <a:gd name="connsiteY24" fmla="*/ 540042 h 563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2221" h="563538">
                  <a:moveTo>
                    <a:pt x="176110" y="211317"/>
                  </a:moveTo>
                  <a:cubicBezTo>
                    <a:pt x="136513" y="211317"/>
                    <a:pt x="99919" y="224491"/>
                    <a:pt x="70413" y="246601"/>
                  </a:cubicBezTo>
                  <a:lnTo>
                    <a:pt x="70413" y="129117"/>
                  </a:lnTo>
                  <a:cubicBezTo>
                    <a:pt x="70413" y="70876"/>
                    <a:pt x="117792" y="23420"/>
                    <a:pt x="176110" y="23420"/>
                  </a:cubicBezTo>
                  <a:cubicBezTo>
                    <a:pt x="204230" y="23420"/>
                    <a:pt x="230808" y="34359"/>
                    <a:pt x="250915" y="54235"/>
                  </a:cubicBezTo>
                  <a:cubicBezTo>
                    <a:pt x="270868" y="74342"/>
                    <a:pt x="281808" y="100998"/>
                    <a:pt x="281808" y="129117"/>
                  </a:cubicBezTo>
                  <a:lnTo>
                    <a:pt x="281808" y="152614"/>
                  </a:lnTo>
                  <a:cubicBezTo>
                    <a:pt x="281808" y="159085"/>
                    <a:pt x="287046" y="164324"/>
                    <a:pt x="293518" y="164324"/>
                  </a:cubicBezTo>
                  <a:cubicBezTo>
                    <a:pt x="299989" y="164324"/>
                    <a:pt x="305228" y="159085"/>
                    <a:pt x="305228" y="152614"/>
                  </a:cubicBezTo>
                  <a:lnTo>
                    <a:pt x="305228" y="129117"/>
                  </a:lnTo>
                  <a:cubicBezTo>
                    <a:pt x="305228" y="94758"/>
                    <a:pt x="291823" y="62324"/>
                    <a:pt x="267479" y="37672"/>
                  </a:cubicBezTo>
                  <a:cubicBezTo>
                    <a:pt x="242903" y="13405"/>
                    <a:pt x="210470" y="0"/>
                    <a:pt x="176110" y="0"/>
                  </a:cubicBezTo>
                  <a:cubicBezTo>
                    <a:pt x="104927" y="0"/>
                    <a:pt x="46994" y="57933"/>
                    <a:pt x="46994" y="129117"/>
                  </a:cubicBezTo>
                  <a:lnTo>
                    <a:pt x="46994" y="267864"/>
                  </a:lnTo>
                  <a:cubicBezTo>
                    <a:pt x="17873" y="299296"/>
                    <a:pt x="0" y="341282"/>
                    <a:pt x="0" y="387428"/>
                  </a:cubicBezTo>
                  <a:cubicBezTo>
                    <a:pt x="0" y="484574"/>
                    <a:pt x="79042" y="563539"/>
                    <a:pt x="176110" y="563539"/>
                  </a:cubicBezTo>
                  <a:cubicBezTo>
                    <a:pt x="273179" y="563539"/>
                    <a:pt x="352221" y="484497"/>
                    <a:pt x="352221" y="387428"/>
                  </a:cubicBezTo>
                  <a:cubicBezTo>
                    <a:pt x="352221" y="290359"/>
                    <a:pt x="273179" y="211317"/>
                    <a:pt x="176110" y="211317"/>
                  </a:cubicBezTo>
                  <a:close/>
                  <a:moveTo>
                    <a:pt x="176110" y="540042"/>
                  </a:moveTo>
                  <a:cubicBezTo>
                    <a:pt x="91907" y="540042"/>
                    <a:pt x="23497" y="471554"/>
                    <a:pt x="23497" y="387428"/>
                  </a:cubicBezTo>
                  <a:cubicBezTo>
                    <a:pt x="23497" y="345981"/>
                    <a:pt x="40137" y="308463"/>
                    <a:pt x="67024" y="280883"/>
                  </a:cubicBezTo>
                  <a:cubicBezTo>
                    <a:pt x="67024" y="280883"/>
                    <a:pt x="67024" y="280883"/>
                    <a:pt x="67024" y="280883"/>
                  </a:cubicBezTo>
                  <a:cubicBezTo>
                    <a:pt x="94758" y="252533"/>
                    <a:pt x="133354" y="234814"/>
                    <a:pt x="176110" y="234814"/>
                  </a:cubicBezTo>
                  <a:cubicBezTo>
                    <a:pt x="260314" y="234814"/>
                    <a:pt x="328724" y="303302"/>
                    <a:pt x="328724" y="387428"/>
                  </a:cubicBezTo>
                  <a:cubicBezTo>
                    <a:pt x="328724" y="471554"/>
                    <a:pt x="260237" y="540042"/>
                    <a:pt x="176110" y="540042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6E24E8B-837E-497B-887E-C14BE3FF0550}"/>
                </a:ext>
              </a:extLst>
            </p:cNvPr>
            <p:cNvSpPr/>
            <p:nvPr/>
          </p:nvSpPr>
          <p:spPr>
            <a:xfrm>
              <a:off x="9119396" y="1955661"/>
              <a:ext cx="93833" cy="142906"/>
            </a:xfrm>
            <a:custGeom>
              <a:avLst/>
              <a:gdLst>
                <a:gd name="connsiteX0" fmla="*/ 46993 w 93833"/>
                <a:gd name="connsiteY0" fmla="*/ 0 h 142906"/>
                <a:gd name="connsiteX1" fmla="*/ 0 w 93833"/>
                <a:gd name="connsiteY1" fmla="*/ 46994 h 142906"/>
                <a:gd name="connsiteX2" fmla="*/ 35207 w 93833"/>
                <a:gd name="connsiteY2" fmla="*/ 92447 h 142906"/>
                <a:gd name="connsiteX3" fmla="*/ 35207 w 93833"/>
                <a:gd name="connsiteY3" fmla="*/ 131197 h 142906"/>
                <a:gd name="connsiteX4" fmla="*/ 46917 w 93833"/>
                <a:gd name="connsiteY4" fmla="*/ 142907 h 142906"/>
                <a:gd name="connsiteX5" fmla="*/ 58626 w 93833"/>
                <a:gd name="connsiteY5" fmla="*/ 131197 h 142906"/>
                <a:gd name="connsiteX6" fmla="*/ 58626 w 93833"/>
                <a:gd name="connsiteY6" fmla="*/ 92447 h 142906"/>
                <a:gd name="connsiteX7" fmla="*/ 93833 w 93833"/>
                <a:gd name="connsiteY7" fmla="*/ 46994 h 142906"/>
                <a:gd name="connsiteX8" fmla="*/ 46839 w 93833"/>
                <a:gd name="connsiteY8" fmla="*/ 0 h 142906"/>
                <a:gd name="connsiteX9" fmla="*/ 46993 w 93833"/>
                <a:gd name="connsiteY9" fmla="*/ 70413 h 142906"/>
                <a:gd name="connsiteX10" fmla="*/ 23497 w 93833"/>
                <a:gd name="connsiteY10" fmla="*/ 46917 h 142906"/>
                <a:gd name="connsiteX11" fmla="*/ 46993 w 93833"/>
                <a:gd name="connsiteY11" fmla="*/ 23420 h 142906"/>
                <a:gd name="connsiteX12" fmla="*/ 70490 w 93833"/>
                <a:gd name="connsiteY12" fmla="*/ 46917 h 142906"/>
                <a:gd name="connsiteX13" fmla="*/ 46993 w 93833"/>
                <a:gd name="connsiteY13" fmla="*/ 70413 h 14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833" h="142906">
                  <a:moveTo>
                    <a:pt x="46993" y="0"/>
                  </a:moveTo>
                  <a:cubicBezTo>
                    <a:pt x="21109" y="0"/>
                    <a:pt x="0" y="21032"/>
                    <a:pt x="0" y="46994"/>
                  </a:cubicBezTo>
                  <a:cubicBezTo>
                    <a:pt x="0" y="68796"/>
                    <a:pt x="15022" y="87208"/>
                    <a:pt x="35207" y="92447"/>
                  </a:cubicBezTo>
                  <a:lnTo>
                    <a:pt x="35207" y="131197"/>
                  </a:lnTo>
                  <a:cubicBezTo>
                    <a:pt x="35207" y="137668"/>
                    <a:pt x="40445" y="142907"/>
                    <a:pt x="46917" y="142907"/>
                  </a:cubicBezTo>
                  <a:cubicBezTo>
                    <a:pt x="53388" y="142907"/>
                    <a:pt x="58626" y="137668"/>
                    <a:pt x="58626" y="131197"/>
                  </a:cubicBezTo>
                  <a:lnTo>
                    <a:pt x="58626" y="92447"/>
                  </a:lnTo>
                  <a:cubicBezTo>
                    <a:pt x="78810" y="87208"/>
                    <a:pt x="93833" y="68873"/>
                    <a:pt x="93833" y="46994"/>
                  </a:cubicBezTo>
                  <a:cubicBezTo>
                    <a:pt x="93833" y="21109"/>
                    <a:pt x="72801" y="0"/>
                    <a:pt x="46839" y="0"/>
                  </a:cubicBezTo>
                  <a:close/>
                  <a:moveTo>
                    <a:pt x="46993" y="70413"/>
                  </a:moveTo>
                  <a:cubicBezTo>
                    <a:pt x="34051" y="70413"/>
                    <a:pt x="23497" y="59859"/>
                    <a:pt x="23497" y="46917"/>
                  </a:cubicBezTo>
                  <a:cubicBezTo>
                    <a:pt x="23497" y="33974"/>
                    <a:pt x="34051" y="23420"/>
                    <a:pt x="46993" y="23420"/>
                  </a:cubicBezTo>
                  <a:cubicBezTo>
                    <a:pt x="59936" y="23420"/>
                    <a:pt x="70490" y="33974"/>
                    <a:pt x="70490" y="46917"/>
                  </a:cubicBezTo>
                  <a:cubicBezTo>
                    <a:pt x="70490" y="59859"/>
                    <a:pt x="59936" y="70413"/>
                    <a:pt x="46993" y="70413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3" name="Graphic 114">
            <a:extLst>
              <a:ext uri="{FF2B5EF4-FFF2-40B4-BE49-F238E27FC236}">
                <a16:creationId xmlns:a16="http://schemas.microsoft.com/office/drawing/2014/main" id="{F6277378-F97A-40FF-89BD-47BABDC824A7}"/>
              </a:ext>
            </a:extLst>
          </p:cNvPr>
          <p:cNvGrpSpPr/>
          <p:nvPr/>
        </p:nvGrpSpPr>
        <p:grpSpPr>
          <a:xfrm>
            <a:off x="7832078" y="777045"/>
            <a:ext cx="563615" cy="563615"/>
            <a:chOff x="7832078" y="777045"/>
            <a:chExt cx="563615" cy="563615"/>
          </a:xfrm>
          <a:solidFill>
            <a:schemeClr val="tx2"/>
          </a:solidFill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D2ADA23A-1619-42C8-A954-0716D2502D82}"/>
                </a:ext>
              </a:extLst>
            </p:cNvPr>
            <p:cNvSpPr/>
            <p:nvPr/>
          </p:nvSpPr>
          <p:spPr>
            <a:xfrm>
              <a:off x="7832078" y="777045"/>
              <a:ext cx="563615" cy="563615"/>
            </a:xfrm>
            <a:custGeom>
              <a:avLst/>
              <a:gdLst>
                <a:gd name="connsiteX0" fmla="*/ 554679 w 563615"/>
                <a:gd name="connsiteY0" fmla="*/ 235199 h 563615"/>
                <a:gd name="connsiteX1" fmla="*/ 482956 w 563615"/>
                <a:gd name="connsiteY1" fmla="*/ 217326 h 563615"/>
                <a:gd name="connsiteX2" fmla="*/ 469628 w 563615"/>
                <a:gd name="connsiteY2" fmla="*/ 185201 h 563615"/>
                <a:gd name="connsiteX3" fmla="*/ 507762 w 563615"/>
                <a:gd name="connsiteY3" fmla="*/ 121798 h 563615"/>
                <a:gd name="connsiteX4" fmla="*/ 505991 w 563615"/>
                <a:gd name="connsiteY4" fmla="*/ 107469 h 563615"/>
                <a:gd name="connsiteX5" fmla="*/ 456146 w 563615"/>
                <a:gd name="connsiteY5" fmla="*/ 57625 h 563615"/>
                <a:gd name="connsiteX6" fmla="*/ 441817 w 563615"/>
                <a:gd name="connsiteY6" fmla="*/ 55853 h 563615"/>
                <a:gd name="connsiteX7" fmla="*/ 378414 w 563615"/>
                <a:gd name="connsiteY7" fmla="*/ 93987 h 563615"/>
                <a:gd name="connsiteX8" fmla="*/ 346289 w 563615"/>
                <a:gd name="connsiteY8" fmla="*/ 80660 h 563615"/>
                <a:gd name="connsiteX9" fmla="*/ 328416 w 563615"/>
                <a:gd name="connsiteY9" fmla="*/ 8936 h 563615"/>
                <a:gd name="connsiteX10" fmla="*/ 317014 w 563615"/>
                <a:gd name="connsiteY10" fmla="*/ 0 h 563615"/>
                <a:gd name="connsiteX11" fmla="*/ 246601 w 563615"/>
                <a:gd name="connsiteY11" fmla="*/ 0 h 563615"/>
                <a:gd name="connsiteX12" fmla="*/ 235199 w 563615"/>
                <a:gd name="connsiteY12" fmla="*/ 8936 h 563615"/>
                <a:gd name="connsiteX13" fmla="*/ 217326 w 563615"/>
                <a:gd name="connsiteY13" fmla="*/ 80660 h 563615"/>
                <a:gd name="connsiteX14" fmla="*/ 185201 w 563615"/>
                <a:gd name="connsiteY14" fmla="*/ 93987 h 563615"/>
                <a:gd name="connsiteX15" fmla="*/ 121798 w 563615"/>
                <a:gd name="connsiteY15" fmla="*/ 55853 h 563615"/>
                <a:gd name="connsiteX16" fmla="*/ 107469 w 563615"/>
                <a:gd name="connsiteY16" fmla="*/ 57625 h 563615"/>
                <a:gd name="connsiteX17" fmla="*/ 57625 w 563615"/>
                <a:gd name="connsiteY17" fmla="*/ 107469 h 563615"/>
                <a:gd name="connsiteX18" fmla="*/ 55853 w 563615"/>
                <a:gd name="connsiteY18" fmla="*/ 121798 h 563615"/>
                <a:gd name="connsiteX19" fmla="*/ 93987 w 563615"/>
                <a:gd name="connsiteY19" fmla="*/ 185201 h 563615"/>
                <a:gd name="connsiteX20" fmla="*/ 80660 w 563615"/>
                <a:gd name="connsiteY20" fmla="*/ 217326 h 563615"/>
                <a:gd name="connsiteX21" fmla="*/ 8936 w 563615"/>
                <a:gd name="connsiteY21" fmla="*/ 235199 h 563615"/>
                <a:gd name="connsiteX22" fmla="*/ 0 w 563615"/>
                <a:gd name="connsiteY22" fmla="*/ 246601 h 563615"/>
                <a:gd name="connsiteX23" fmla="*/ 0 w 563615"/>
                <a:gd name="connsiteY23" fmla="*/ 317015 h 563615"/>
                <a:gd name="connsiteX24" fmla="*/ 8936 w 563615"/>
                <a:gd name="connsiteY24" fmla="*/ 328416 h 563615"/>
                <a:gd name="connsiteX25" fmla="*/ 80660 w 563615"/>
                <a:gd name="connsiteY25" fmla="*/ 346289 h 563615"/>
                <a:gd name="connsiteX26" fmla="*/ 93987 w 563615"/>
                <a:gd name="connsiteY26" fmla="*/ 378414 h 563615"/>
                <a:gd name="connsiteX27" fmla="*/ 55853 w 563615"/>
                <a:gd name="connsiteY27" fmla="*/ 441817 h 563615"/>
                <a:gd name="connsiteX28" fmla="*/ 57625 w 563615"/>
                <a:gd name="connsiteY28" fmla="*/ 456147 h 563615"/>
                <a:gd name="connsiteX29" fmla="*/ 107469 w 563615"/>
                <a:gd name="connsiteY29" fmla="*/ 505991 h 563615"/>
                <a:gd name="connsiteX30" fmla="*/ 121798 w 563615"/>
                <a:gd name="connsiteY30" fmla="*/ 507763 h 563615"/>
                <a:gd name="connsiteX31" fmla="*/ 185201 w 563615"/>
                <a:gd name="connsiteY31" fmla="*/ 469628 h 563615"/>
                <a:gd name="connsiteX32" fmla="*/ 217326 w 563615"/>
                <a:gd name="connsiteY32" fmla="*/ 482956 h 563615"/>
                <a:gd name="connsiteX33" fmla="*/ 235199 w 563615"/>
                <a:gd name="connsiteY33" fmla="*/ 554679 h 563615"/>
                <a:gd name="connsiteX34" fmla="*/ 246601 w 563615"/>
                <a:gd name="connsiteY34" fmla="*/ 563616 h 563615"/>
                <a:gd name="connsiteX35" fmla="*/ 317014 w 563615"/>
                <a:gd name="connsiteY35" fmla="*/ 563616 h 563615"/>
                <a:gd name="connsiteX36" fmla="*/ 328416 w 563615"/>
                <a:gd name="connsiteY36" fmla="*/ 554679 h 563615"/>
                <a:gd name="connsiteX37" fmla="*/ 346289 w 563615"/>
                <a:gd name="connsiteY37" fmla="*/ 482956 h 563615"/>
                <a:gd name="connsiteX38" fmla="*/ 378414 w 563615"/>
                <a:gd name="connsiteY38" fmla="*/ 469628 h 563615"/>
                <a:gd name="connsiteX39" fmla="*/ 441817 w 563615"/>
                <a:gd name="connsiteY39" fmla="*/ 507763 h 563615"/>
                <a:gd name="connsiteX40" fmla="*/ 456146 w 563615"/>
                <a:gd name="connsiteY40" fmla="*/ 505991 h 563615"/>
                <a:gd name="connsiteX41" fmla="*/ 505991 w 563615"/>
                <a:gd name="connsiteY41" fmla="*/ 456147 h 563615"/>
                <a:gd name="connsiteX42" fmla="*/ 507762 w 563615"/>
                <a:gd name="connsiteY42" fmla="*/ 441817 h 563615"/>
                <a:gd name="connsiteX43" fmla="*/ 469628 w 563615"/>
                <a:gd name="connsiteY43" fmla="*/ 378414 h 563615"/>
                <a:gd name="connsiteX44" fmla="*/ 482956 w 563615"/>
                <a:gd name="connsiteY44" fmla="*/ 346289 h 563615"/>
                <a:gd name="connsiteX45" fmla="*/ 554679 w 563615"/>
                <a:gd name="connsiteY45" fmla="*/ 328416 h 563615"/>
                <a:gd name="connsiteX46" fmla="*/ 563615 w 563615"/>
                <a:gd name="connsiteY46" fmla="*/ 317015 h 563615"/>
                <a:gd name="connsiteX47" fmla="*/ 563615 w 563615"/>
                <a:gd name="connsiteY47" fmla="*/ 246601 h 563615"/>
                <a:gd name="connsiteX48" fmla="*/ 554679 w 563615"/>
                <a:gd name="connsiteY48" fmla="*/ 235199 h 563615"/>
                <a:gd name="connsiteX49" fmla="*/ 540119 w 563615"/>
                <a:gd name="connsiteY49" fmla="*/ 307847 h 563615"/>
                <a:gd name="connsiteX50" fmla="*/ 470784 w 563615"/>
                <a:gd name="connsiteY50" fmla="*/ 325104 h 563615"/>
                <a:gd name="connsiteX51" fmla="*/ 462310 w 563615"/>
                <a:gd name="connsiteY51" fmla="*/ 333347 h 563615"/>
                <a:gd name="connsiteX52" fmla="*/ 445823 w 563615"/>
                <a:gd name="connsiteY52" fmla="*/ 372945 h 563615"/>
                <a:gd name="connsiteX53" fmla="*/ 446208 w 563615"/>
                <a:gd name="connsiteY53" fmla="*/ 385194 h 563615"/>
                <a:gd name="connsiteX54" fmla="*/ 446594 w 563615"/>
                <a:gd name="connsiteY54" fmla="*/ 385733 h 563615"/>
                <a:gd name="connsiteX55" fmla="*/ 482802 w 563615"/>
                <a:gd name="connsiteY55" fmla="*/ 446054 h 563615"/>
                <a:gd name="connsiteX56" fmla="*/ 445977 w 563615"/>
                <a:gd name="connsiteY56" fmla="*/ 482879 h 563615"/>
                <a:gd name="connsiteX57" fmla="*/ 386041 w 563615"/>
                <a:gd name="connsiteY57" fmla="*/ 446825 h 563615"/>
                <a:gd name="connsiteX58" fmla="*/ 385117 w 563615"/>
                <a:gd name="connsiteY58" fmla="*/ 446209 h 563615"/>
                <a:gd name="connsiteX59" fmla="*/ 372868 w 563615"/>
                <a:gd name="connsiteY59" fmla="*/ 445823 h 563615"/>
                <a:gd name="connsiteX60" fmla="*/ 333270 w 563615"/>
                <a:gd name="connsiteY60" fmla="*/ 462310 h 563615"/>
                <a:gd name="connsiteX61" fmla="*/ 325027 w 563615"/>
                <a:gd name="connsiteY61" fmla="*/ 470784 h 563615"/>
                <a:gd name="connsiteX62" fmla="*/ 307770 w 563615"/>
                <a:gd name="connsiteY62" fmla="*/ 540119 h 563615"/>
                <a:gd name="connsiteX63" fmla="*/ 255692 w 563615"/>
                <a:gd name="connsiteY63" fmla="*/ 540119 h 563615"/>
                <a:gd name="connsiteX64" fmla="*/ 238435 w 563615"/>
                <a:gd name="connsiteY64" fmla="*/ 470784 h 563615"/>
                <a:gd name="connsiteX65" fmla="*/ 230192 w 563615"/>
                <a:gd name="connsiteY65" fmla="*/ 462310 h 563615"/>
                <a:gd name="connsiteX66" fmla="*/ 190594 w 563615"/>
                <a:gd name="connsiteY66" fmla="*/ 445823 h 563615"/>
                <a:gd name="connsiteX67" fmla="*/ 178345 w 563615"/>
                <a:gd name="connsiteY67" fmla="*/ 446209 h 563615"/>
                <a:gd name="connsiteX68" fmla="*/ 177805 w 563615"/>
                <a:gd name="connsiteY68" fmla="*/ 446594 h 563615"/>
                <a:gd name="connsiteX69" fmla="*/ 117484 w 563615"/>
                <a:gd name="connsiteY69" fmla="*/ 482802 h 563615"/>
                <a:gd name="connsiteX70" fmla="*/ 80660 w 563615"/>
                <a:gd name="connsiteY70" fmla="*/ 445977 h 563615"/>
                <a:gd name="connsiteX71" fmla="*/ 116714 w 563615"/>
                <a:gd name="connsiteY71" fmla="*/ 386041 h 563615"/>
                <a:gd name="connsiteX72" fmla="*/ 117330 w 563615"/>
                <a:gd name="connsiteY72" fmla="*/ 385117 h 563615"/>
                <a:gd name="connsiteX73" fmla="*/ 117715 w 563615"/>
                <a:gd name="connsiteY73" fmla="*/ 372868 h 563615"/>
                <a:gd name="connsiteX74" fmla="*/ 101229 w 563615"/>
                <a:gd name="connsiteY74" fmla="*/ 333270 h 563615"/>
                <a:gd name="connsiteX75" fmla="*/ 92755 w 563615"/>
                <a:gd name="connsiteY75" fmla="*/ 325027 h 563615"/>
                <a:gd name="connsiteX76" fmla="*/ 23420 w 563615"/>
                <a:gd name="connsiteY76" fmla="*/ 307770 h 563615"/>
                <a:gd name="connsiteX77" fmla="*/ 23420 w 563615"/>
                <a:gd name="connsiteY77" fmla="*/ 255692 h 563615"/>
                <a:gd name="connsiteX78" fmla="*/ 92755 w 563615"/>
                <a:gd name="connsiteY78" fmla="*/ 238435 h 563615"/>
                <a:gd name="connsiteX79" fmla="*/ 101229 w 563615"/>
                <a:gd name="connsiteY79" fmla="*/ 230192 h 563615"/>
                <a:gd name="connsiteX80" fmla="*/ 117715 w 563615"/>
                <a:gd name="connsiteY80" fmla="*/ 190594 h 563615"/>
                <a:gd name="connsiteX81" fmla="*/ 117330 w 563615"/>
                <a:gd name="connsiteY81" fmla="*/ 178345 h 563615"/>
                <a:gd name="connsiteX82" fmla="*/ 116714 w 563615"/>
                <a:gd name="connsiteY82" fmla="*/ 177420 h 563615"/>
                <a:gd name="connsiteX83" fmla="*/ 80660 w 563615"/>
                <a:gd name="connsiteY83" fmla="*/ 117484 h 563615"/>
                <a:gd name="connsiteX84" fmla="*/ 117484 w 563615"/>
                <a:gd name="connsiteY84" fmla="*/ 80660 h 563615"/>
                <a:gd name="connsiteX85" fmla="*/ 177420 w 563615"/>
                <a:gd name="connsiteY85" fmla="*/ 116714 h 563615"/>
                <a:gd name="connsiteX86" fmla="*/ 178345 w 563615"/>
                <a:gd name="connsiteY86" fmla="*/ 117330 h 563615"/>
                <a:gd name="connsiteX87" fmla="*/ 190594 w 563615"/>
                <a:gd name="connsiteY87" fmla="*/ 117715 h 563615"/>
                <a:gd name="connsiteX88" fmla="*/ 230192 w 563615"/>
                <a:gd name="connsiteY88" fmla="*/ 101229 h 563615"/>
                <a:gd name="connsiteX89" fmla="*/ 238435 w 563615"/>
                <a:gd name="connsiteY89" fmla="*/ 92755 h 563615"/>
                <a:gd name="connsiteX90" fmla="*/ 255692 w 563615"/>
                <a:gd name="connsiteY90" fmla="*/ 23420 h 563615"/>
                <a:gd name="connsiteX91" fmla="*/ 307770 w 563615"/>
                <a:gd name="connsiteY91" fmla="*/ 23420 h 563615"/>
                <a:gd name="connsiteX92" fmla="*/ 325027 w 563615"/>
                <a:gd name="connsiteY92" fmla="*/ 92755 h 563615"/>
                <a:gd name="connsiteX93" fmla="*/ 333270 w 563615"/>
                <a:gd name="connsiteY93" fmla="*/ 101229 h 563615"/>
                <a:gd name="connsiteX94" fmla="*/ 372868 w 563615"/>
                <a:gd name="connsiteY94" fmla="*/ 117715 h 563615"/>
                <a:gd name="connsiteX95" fmla="*/ 385117 w 563615"/>
                <a:gd name="connsiteY95" fmla="*/ 117330 h 563615"/>
                <a:gd name="connsiteX96" fmla="*/ 385656 w 563615"/>
                <a:gd name="connsiteY96" fmla="*/ 116945 h 563615"/>
                <a:gd name="connsiteX97" fmla="*/ 445977 w 563615"/>
                <a:gd name="connsiteY97" fmla="*/ 80737 h 563615"/>
                <a:gd name="connsiteX98" fmla="*/ 482802 w 563615"/>
                <a:gd name="connsiteY98" fmla="*/ 117561 h 563615"/>
                <a:gd name="connsiteX99" fmla="*/ 446748 w 563615"/>
                <a:gd name="connsiteY99" fmla="*/ 177497 h 563615"/>
                <a:gd name="connsiteX100" fmla="*/ 446131 w 563615"/>
                <a:gd name="connsiteY100" fmla="*/ 178422 h 563615"/>
                <a:gd name="connsiteX101" fmla="*/ 445746 w 563615"/>
                <a:gd name="connsiteY101" fmla="*/ 190671 h 563615"/>
                <a:gd name="connsiteX102" fmla="*/ 462233 w 563615"/>
                <a:gd name="connsiteY102" fmla="*/ 230269 h 563615"/>
                <a:gd name="connsiteX103" fmla="*/ 470707 w 563615"/>
                <a:gd name="connsiteY103" fmla="*/ 238512 h 563615"/>
                <a:gd name="connsiteX104" fmla="*/ 540042 w 563615"/>
                <a:gd name="connsiteY104" fmla="*/ 255769 h 563615"/>
                <a:gd name="connsiteX105" fmla="*/ 540042 w 563615"/>
                <a:gd name="connsiteY105" fmla="*/ 307847 h 56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563615" h="563615">
                  <a:moveTo>
                    <a:pt x="554679" y="235199"/>
                  </a:moveTo>
                  <a:lnTo>
                    <a:pt x="482956" y="217326"/>
                  </a:lnTo>
                  <a:cubicBezTo>
                    <a:pt x="479412" y="206156"/>
                    <a:pt x="474944" y="195370"/>
                    <a:pt x="469628" y="185201"/>
                  </a:cubicBezTo>
                  <a:lnTo>
                    <a:pt x="507762" y="121798"/>
                  </a:lnTo>
                  <a:cubicBezTo>
                    <a:pt x="510536" y="117176"/>
                    <a:pt x="509842" y="111244"/>
                    <a:pt x="505991" y="107469"/>
                  </a:cubicBezTo>
                  <a:lnTo>
                    <a:pt x="456146" y="57625"/>
                  </a:lnTo>
                  <a:cubicBezTo>
                    <a:pt x="452372" y="53850"/>
                    <a:pt x="446440" y="53080"/>
                    <a:pt x="441817" y="55853"/>
                  </a:cubicBezTo>
                  <a:lnTo>
                    <a:pt x="378414" y="93987"/>
                  </a:lnTo>
                  <a:cubicBezTo>
                    <a:pt x="368245" y="88672"/>
                    <a:pt x="357460" y="84203"/>
                    <a:pt x="346289" y="80660"/>
                  </a:cubicBezTo>
                  <a:lnTo>
                    <a:pt x="328416" y="8936"/>
                  </a:lnTo>
                  <a:cubicBezTo>
                    <a:pt x="327107" y="3698"/>
                    <a:pt x="322407" y="0"/>
                    <a:pt x="317014" y="0"/>
                  </a:cubicBezTo>
                  <a:lnTo>
                    <a:pt x="246601" y="0"/>
                  </a:lnTo>
                  <a:cubicBezTo>
                    <a:pt x="241208" y="0"/>
                    <a:pt x="236509" y="3698"/>
                    <a:pt x="235199" y="8936"/>
                  </a:cubicBezTo>
                  <a:lnTo>
                    <a:pt x="217326" y="80660"/>
                  </a:lnTo>
                  <a:cubicBezTo>
                    <a:pt x="206156" y="84203"/>
                    <a:pt x="195370" y="88672"/>
                    <a:pt x="185201" y="93987"/>
                  </a:cubicBezTo>
                  <a:lnTo>
                    <a:pt x="121798" y="55853"/>
                  </a:lnTo>
                  <a:cubicBezTo>
                    <a:pt x="117176" y="53080"/>
                    <a:pt x="111244" y="53773"/>
                    <a:pt x="107469" y="57625"/>
                  </a:cubicBezTo>
                  <a:lnTo>
                    <a:pt x="57625" y="107469"/>
                  </a:lnTo>
                  <a:cubicBezTo>
                    <a:pt x="53773" y="111244"/>
                    <a:pt x="53080" y="117176"/>
                    <a:pt x="55853" y="121798"/>
                  </a:cubicBezTo>
                  <a:lnTo>
                    <a:pt x="93987" y="185201"/>
                  </a:lnTo>
                  <a:cubicBezTo>
                    <a:pt x="88672" y="195370"/>
                    <a:pt x="84203" y="206156"/>
                    <a:pt x="80660" y="217326"/>
                  </a:cubicBezTo>
                  <a:lnTo>
                    <a:pt x="8936" y="235199"/>
                  </a:lnTo>
                  <a:cubicBezTo>
                    <a:pt x="3698" y="236509"/>
                    <a:pt x="0" y="241208"/>
                    <a:pt x="0" y="246601"/>
                  </a:cubicBezTo>
                  <a:lnTo>
                    <a:pt x="0" y="317015"/>
                  </a:lnTo>
                  <a:cubicBezTo>
                    <a:pt x="0" y="322407"/>
                    <a:pt x="3698" y="327107"/>
                    <a:pt x="8936" y="328416"/>
                  </a:cubicBezTo>
                  <a:lnTo>
                    <a:pt x="80660" y="346289"/>
                  </a:lnTo>
                  <a:cubicBezTo>
                    <a:pt x="84203" y="357460"/>
                    <a:pt x="88672" y="368245"/>
                    <a:pt x="93987" y="378414"/>
                  </a:cubicBezTo>
                  <a:lnTo>
                    <a:pt x="55853" y="441817"/>
                  </a:lnTo>
                  <a:cubicBezTo>
                    <a:pt x="53080" y="446440"/>
                    <a:pt x="53773" y="452372"/>
                    <a:pt x="57625" y="456147"/>
                  </a:cubicBezTo>
                  <a:lnTo>
                    <a:pt x="107469" y="505991"/>
                  </a:lnTo>
                  <a:cubicBezTo>
                    <a:pt x="111321" y="509843"/>
                    <a:pt x="117176" y="510536"/>
                    <a:pt x="121798" y="507763"/>
                  </a:cubicBezTo>
                  <a:lnTo>
                    <a:pt x="185201" y="469628"/>
                  </a:lnTo>
                  <a:cubicBezTo>
                    <a:pt x="195370" y="474944"/>
                    <a:pt x="206156" y="479412"/>
                    <a:pt x="217326" y="482956"/>
                  </a:cubicBezTo>
                  <a:lnTo>
                    <a:pt x="235199" y="554679"/>
                  </a:lnTo>
                  <a:cubicBezTo>
                    <a:pt x="236509" y="559918"/>
                    <a:pt x="241208" y="563616"/>
                    <a:pt x="246601" y="563616"/>
                  </a:cubicBezTo>
                  <a:lnTo>
                    <a:pt x="317014" y="563616"/>
                  </a:lnTo>
                  <a:cubicBezTo>
                    <a:pt x="322407" y="563616"/>
                    <a:pt x="327107" y="559918"/>
                    <a:pt x="328416" y="554679"/>
                  </a:cubicBezTo>
                  <a:lnTo>
                    <a:pt x="346289" y="482956"/>
                  </a:lnTo>
                  <a:cubicBezTo>
                    <a:pt x="357460" y="479412"/>
                    <a:pt x="368245" y="474944"/>
                    <a:pt x="378414" y="469628"/>
                  </a:cubicBezTo>
                  <a:lnTo>
                    <a:pt x="441817" y="507763"/>
                  </a:lnTo>
                  <a:cubicBezTo>
                    <a:pt x="446440" y="510536"/>
                    <a:pt x="452372" y="509843"/>
                    <a:pt x="456146" y="505991"/>
                  </a:cubicBezTo>
                  <a:lnTo>
                    <a:pt x="505991" y="456147"/>
                  </a:lnTo>
                  <a:cubicBezTo>
                    <a:pt x="509842" y="452372"/>
                    <a:pt x="510536" y="446440"/>
                    <a:pt x="507762" y="441817"/>
                  </a:cubicBezTo>
                  <a:lnTo>
                    <a:pt x="469628" y="378414"/>
                  </a:lnTo>
                  <a:cubicBezTo>
                    <a:pt x="474944" y="368245"/>
                    <a:pt x="479412" y="357460"/>
                    <a:pt x="482956" y="346289"/>
                  </a:cubicBezTo>
                  <a:lnTo>
                    <a:pt x="554679" y="328416"/>
                  </a:lnTo>
                  <a:cubicBezTo>
                    <a:pt x="559918" y="327107"/>
                    <a:pt x="563615" y="322407"/>
                    <a:pt x="563615" y="317015"/>
                  </a:cubicBezTo>
                  <a:lnTo>
                    <a:pt x="563615" y="246601"/>
                  </a:lnTo>
                  <a:cubicBezTo>
                    <a:pt x="563615" y="241208"/>
                    <a:pt x="559918" y="236509"/>
                    <a:pt x="554679" y="235199"/>
                  </a:cubicBezTo>
                  <a:close/>
                  <a:moveTo>
                    <a:pt x="540119" y="307847"/>
                  </a:moveTo>
                  <a:lnTo>
                    <a:pt x="470784" y="325104"/>
                  </a:lnTo>
                  <a:cubicBezTo>
                    <a:pt x="466701" y="326105"/>
                    <a:pt x="463465" y="329264"/>
                    <a:pt x="462310" y="333347"/>
                  </a:cubicBezTo>
                  <a:cubicBezTo>
                    <a:pt x="458381" y="347368"/>
                    <a:pt x="452834" y="360696"/>
                    <a:pt x="445823" y="372945"/>
                  </a:cubicBezTo>
                  <a:cubicBezTo>
                    <a:pt x="443666" y="376797"/>
                    <a:pt x="443820" y="381496"/>
                    <a:pt x="446208" y="385194"/>
                  </a:cubicBezTo>
                  <a:cubicBezTo>
                    <a:pt x="446363" y="385348"/>
                    <a:pt x="446440" y="385579"/>
                    <a:pt x="446594" y="385733"/>
                  </a:cubicBezTo>
                  <a:lnTo>
                    <a:pt x="482802" y="446054"/>
                  </a:lnTo>
                  <a:lnTo>
                    <a:pt x="445977" y="482879"/>
                  </a:lnTo>
                  <a:lnTo>
                    <a:pt x="386041" y="446825"/>
                  </a:lnTo>
                  <a:cubicBezTo>
                    <a:pt x="386041" y="446825"/>
                    <a:pt x="385425" y="446363"/>
                    <a:pt x="385117" y="446209"/>
                  </a:cubicBezTo>
                  <a:cubicBezTo>
                    <a:pt x="381419" y="443820"/>
                    <a:pt x="376719" y="443666"/>
                    <a:pt x="372868" y="445823"/>
                  </a:cubicBezTo>
                  <a:cubicBezTo>
                    <a:pt x="360618" y="452834"/>
                    <a:pt x="347291" y="458381"/>
                    <a:pt x="333270" y="462310"/>
                  </a:cubicBezTo>
                  <a:cubicBezTo>
                    <a:pt x="329187" y="463465"/>
                    <a:pt x="326105" y="466701"/>
                    <a:pt x="325027" y="470784"/>
                  </a:cubicBezTo>
                  <a:lnTo>
                    <a:pt x="307770" y="540119"/>
                  </a:lnTo>
                  <a:lnTo>
                    <a:pt x="255692" y="540119"/>
                  </a:lnTo>
                  <a:lnTo>
                    <a:pt x="238435" y="470784"/>
                  </a:lnTo>
                  <a:cubicBezTo>
                    <a:pt x="237433" y="466701"/>
                    <a:pt x="234275" y="463465"/>
                    <a:pt x="230192" y="462310"/>
                  </a:cubicBezTo>
                  <a:cubicBezTo>
                    <a:pt x="216171" y="458381"/>
                    <a:pt x="202843" y="452834"/>
                    <a:pt x="190594" y="445823"/>
                  </a:cubicBezTo>
                  <a:cubicBezTo>
                    <a:pt x="186742" y="443666"/>
                    <a:pt x="182043" y="443820"/>
                    <a:pt x="178345" y="446209"/>
                  </a:cubicBezTo>
                  <a:cubicBezTo>
                    <a:pt x="178191" y="446363"/>
                    <a:pt x="177959" y="446440"/>
                    <a:pt x="177805" y="446594"/>
                  </a:cubicBezTo>
                  <a:lnTo>
                    <a:pt x="117484" y="482802"/>
                  </a:lnTo>
                  <a:lnTo>
                    <a:pt x="80660" y="445977"/>
                  </a:lnTo>
                  <a:lnTo>
                    <a:pt x="116714" y="386041"/>
                  </a:lnTo>
                  <a:cubicBezTo>
                    <a:pt x="116714" y="386041"/>
                    <a:pt x="117176" y="385425"/>
                    <a:pt x="117330" y="385117"/>
                  </a:cubicBezTo>
                  <a:cubicBezTo>
                    <a:pt x="119718" y="381419"/>
                    <a:pt x="119872" y="376720"/>
                    <a:pt x="117715" y="372868"/>
                  </a:cubicBezTo>
                  <a:cubicBezTo>
                    <a:pt x="110705" y="360618"/>
                    <a:pt x="105158" y="347291"/>
                    <a:pt x="101229" y="333270"/>
                  </a:cubicBezTo>
                  <a:cubicBezTo>
                    <a:pt x="100073" y="329187"/>
                    <a:pt x="96838" y="326105"/>
                    <a:pt x="92755" y="325027"/>
                  </a:cubicBezTo>
                  <a:lnTo>
                    <a:pt x="23420" y="307770"/>
                  </a:lnTo>
                  <a:lnTo>
                    <a:pt x="23420" y="255692"/>
                  </a:lnTo>
                  <a:lnTo>
                    <a:pt x="92755" y="238435"/>
                  </a:lnTo>
                  <a:cubicBezTo>
                    <a:pt x="96838" y="237433"/>
                    <a:pt x="100073" y="234275"/>
                    <a:pt x="101229" y="230192"/>
                  </a:cubicBezTo>
                  <a:cubicBezTo>
                    <a:pt x="105158" y="216171"/>
                    <a:pt x="110705" y="202843"/>
                    <a:pt x="117715" y="190594"/>
                  </a:cubicBezTo>
                  <a:cubicBezTo>
                    <a:pt x="119872" y="186742"/>
                    <a:pt x="119795" y="182043"/>
                    <a:pt x="117330" y="178345"/>
                  </a:cubicBezTo>
                  <a:cubicBezTo>
                    <a:pt x="117099" y="178037"/>
                    <a:pt x="116945" y="177728"/>
                    <a:pt x="116714" y="177420"/>
                  </a:cubicBezTo>
                  <a:lnTo>
                    <a:pt x="80660" y="117484"/>
                  </a:lnTo>
                  <a:lnTo>
                    <a:pt x="117484" y="80660"/>
                  </a:lnTo>
                  <a:lnTo>
                    <a:pt x="177420" y="116714"/>
                  </a:lnTo>
                  <a:cubicBezTo>
                    <a:pt x="177420" y="116714"/>
                    <a:pt x="178037" y="117176"/>
                    <a:pt x="178345" y="117330"/>
                  </a:cubicBezTo>
                  <a:cubicBezTo>
                    <a:pt x="182043" y="119718"/>
                    <a:pt x="186742" y="119872"/>
                    <a:pt x="190594" y="117715"/>
                  </a:cubicBezTo>
                  <a:cubicBezTo>
                    <a:pt x="202843" y="110705"/>
                    <a:pt x="216171" y="105158"/>
                    <a:pt x="230192" y="101229"/>
                  </a:cubicBezTo>
                  <a:cubicBezTo>
                    <a:pt x="234275" y="100073"/>
                    <a:pt x="237356" y="96838"/>
                    <a:pt x="238435" y="92755"/>
                  </a:cubicBezTo>
                  <a:lnTo>
                    <a:pt x="255692" y="23420"/>
                  </a:lnTo>
                  <a:lnTo>
                    <a:pt x="307770" y="23420"/>
                  </a:lnTo>
                  <a:lnTo>
                    <a:pt x="325027" y="92755"/>
                  </a:lnTo>
                  <a:cubicBezTo>
                    <a:pt x="326028" y="96838"/>
                    <a:pt x="329187" y="100073"/>
                    <a:pt x="333270" y="101229"/>
                  </a:cubicBezTo>
                  <a:cubicBezTo>
                    <a:pt x="347291" y="105158"/>
                    <a:pt x="360618" y="110705"/>
                    <a:pt x="372868" y="117715"/>
                  </a:cubicBezTo>
                  <a:cubicBezTo>
                    <a:pt x="376719" y="119872"/>
                    <a:pt x="381419" y="119718"/>
                    <a:pt x="385117" y="117330"/>
                  </a:cubicBezTo>
                  <a:cubicBezTo>
                    <a:pt x="385271" y="117176"/>
                    <a:pt x="385502" y="117099"/>
                    <a:pt x="385656" y="116945"/>
                  </a:cubicBezTo>
                  <a:lnTo>
                    <a:pt x="445977" y="80737"/>
                  </a:lnTo>
                  <a:lnTo>
                    <a:pt x="482802" y="117561"/>
                  </a:lnTo>
                  <a:lnTo>
                    <a:pt x="446748" y="177497"/>
                  </a:lnTo>
                  <a:cubicBezTo>
                    <a:pt x="446748" y="177497"/>
                    <a:pt x="446285" y="178114"/>
                    <a:pt x="446131" y="178422"/>
                  </a:cubicBezTo>
                  <a:cubicBezTo>
                    <a:pt x="443743" y="182120"/>
                    <a:pt x="443589" y="186819"/>
                    <a:pt x="445746" y="190671"/>
                  </a:cubicBezTo>
                  <a:cubicBezTo>
                    <a:pt x="452757" y="202920"/>
                    <a:pt x="458303" y="216248"/>
                    <a:pt x="462233" y="230269"/>
                  </a:cubicBezTo>
                  <a:cubicBezTo>
                    <a:pt x="463388" y="234352"/>
                    <a:pt x="466624" y="237433"/>
                    <a:pt x="470707" y="238512"/>
                  </a:cubicBezTo>
                  <a:lnTo>
                    <a:pt x="540042" y="255769"/>
                  </a:lnTo>
                  <a:lnTo>
                    <a:pt x="540042" y="307847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963B5D08-D850-4B5D-ADAE-EEDDAE1F88F8}"/>
                </a:ext>
              </a:extLst>
            </p:cNvPr>
            <p:cNvSpPr/>
            <p:nvPr/>
          </p:nvSpPr>
          <p:spPr>
            <a:xfrm>
              <a:off x="7984692" y="929658"/>
              <a:ext cx="258310" cy="258310"/>
            </a:xfrm>
            <a:custGeom>
              <a:avLst/>
              <a:gdLst>
                <a:gd name="connsiteX0" fmla="*/ 129117 w 258310"/>
                <a:gd name="connsiteY0" fmla="*/ 0 h 258310"/>
                <a:gd name="connsiteX1" fmla="*/ 0 w 258310"/>
                <a:gd name="connsiteY1" fmla="*/ 129194 h 258310"/>
                <a:gd name="connsiteX2" fmla="*/ 129117 w 258310"/>
                <a:gd name="connsiteY2" fmla="*/ 258311 h 258310"/>
                <a:gd name="connsiteX3" fmla="*/ 258311 w 258310"/>
                <a:gd name="connsiteY3" fmla="*/ 129194 h 258310"/>
                <a:gd name="connsiteX4" fmla="*/ 129117 w 258310"/>
                <a:gd name="connsiteY4" fmla="*/ 0 h 258310"/>
                <a:gd name="connsiteX5" fmla="*/ 129117 w 258310"/>
                <a:gd name="connsiteY5" fmla="*/ 234814 h 258310"/>
                <a:gd name="connsiteX6" fmla="*/ 23420 w 258310"/>
                <a:gd name="connsiteY6" fmla="*/ 129117 h 258310"/>
                <a:gd name="connsiteX7" fmla="*/ 129117 w 258310"/>
                <a:gd name="connsiteY7" fmla="*/ 23420 h 258310"/>
                <a:gd name="connsiteX8" fmla="*/ 234814 w 258310"/>
                <a:gd name="connsiteY8" fmla="*/ 129117 h 258310"/>
                <a:gd name="connsiteX9" fmla="*/ 129117 w 258310"/>
                <a:gd name="connsiteY9" fmla="*/ 234814 h 25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310" h="258310">
                  <a:moveTo>
                    <a:pt x="129117" y="0"/>
                  </a:moveTo>
                  <a:cubicBezTo>
                    <a:pt x="57933" y="0"/>
                    <a:pt x="0" y="57933"/>
                    <a:pt x="0" y="129194"/>
                  </a:cubicBezTo>
                  <a:cubicBezTo>
                    <a:pt x="0" y="200455"/>
                    <a:pt x="57933" y="258311"/>
                    <a:pt x="129117" y="258311"/>
                  </a:cubicBezTo>
                  <a:cubicBezTo>
                    <a:pt x="200301" y="258311"/>
                    <a:pt x="258311" y="200378"/>
                    <a:pt x="258311" y="129194"/>
                  </a:cubicBezTo>
                  <a:cubicBezTo>
                    <a:pt x="258311" y="58010"/>
                    <a:pt x="200378" y="0"/>
                    <a:pt x="129117" y="0"/>
                  </a:cubicBezTo>
                  <a:close/>
                  <a:moveTo>
                    <a:pt x="129117" y="234814"/>
                  </a:moveTo>
                  <a:cubicBezTo>
                    <a:pt x="70876" y="234814"/>
                    <a:pt x="23420" y="187435"/>
                    <a:pt x="23420" y="129117"/>
                  </a:cubicBezTo>
                  <a:cubicBezTo>
                    <a:pt x="23420" y="70799"/>
                    <a:pt x="70799" y="23420"/>
                    <a:pt x="129117" y="23420"/>
                  </a:cubicBezTo>
                  <a:cubicBezTo>
                    <a:pt x="187435" y="23420"/>
                    <a:pt x="234814" y="70799"/>
                    <a:pt x="234814" y="129117"/>
                  </a:cubicBezTo>
                  <a:cubicBezTo>
                    <a:pt x="234814" y="187435"/>
                    <a:pt x="187435" y="234814"/>
                    <a:pt x="129117" y="234814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6" name="Graphic 114">
            <a:extLst>
              <a:ext uri="{FF2B5EF4-FFF2-40B4-BE49-F238E27FC236}">
                <a16:creationId xmlns:a16="http://schemas.microsoft.com/office/drawing/2014/main" id="{D1C906FB-FC59-4B9A-B5DA-C963534B2E3C}"/>
              </a:ext>
            </a:extLst>
          </p:cNvPr>
          <p:cNvGrpSpPr/>
          <p:nvPr/>
        </p:nvGrpSpPr>
        <p:grpSpPr>
          <a:xfrm>
            <a:off x="8884581" y="777045"/>
            <a:ext cx="563615" cy="563615"/>
            <a:chOff x="8884581" y="777045"/>
            <a:chExt cx="563615" cy="563615"/>
          </a:xfrm>
          <a:solidFill>
            <a:schemeClr val="tx2"/>
          </a:solidFill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A50A4E5D-EBA1-4DF3-ADAC-11D71F48ACA7}"/>
                </a:ext>
              </a:extLst>
            </p:cNvPr>
            <p:cNvSpPr/>
            <p:nvPr/>
          </p:nvSpPr>
          <p:spPr>
            <a:xfrm>
              <a:off x="8884581" y="777045"/>
              <a:ext cx="563615" cy="563615"/>
            </a:xfrm>
            <a:custGeom>
              <a:avLst/>
              <a:gdLst>
                <a:gd name="connsiteX0" fmla="*/ 281808 w 563615"/>
                <a:gd name="connsiteY0" fmla="*/ 0 h 563615"/>
                <a:gd name="connsiteX1" fmla="*/ 0 w 563615"/>
                <a:gd name="connsiteY1" fmla="*/ 281808 h 563615"/>
                <a:gd name="connsiteX2" fmla="*/ 40908 w 563615"/>
                <a:gd name="connsiteY2" fmla="*/ 427565 h 563615"/>
                <a:gd name="connsiteX3" fmla="*/ 616 w 563615"/>
                <a:gd name="connsiteY3" fmla="*/ 548131 h 563615"/>
                <a:gd name="connsiteX4" fmla="*/ 3236 w 563615"/>
                <a:gd name="connsiteY4" fmla="*/ 559995 h 563615"/>
                <a:gd name="connsiteX5" fmla="*/ 11710 w 563615"/>
                <a:gd name="connsiteY5" fmla="*/ 563616 h 563615"/>
                <a:gd name="connsiteX6" fmla="*/ 14946 w 563615"/>
                <a:gd name="connsiteY6" fmla="*/ 563153 h 563615"/>
                <a:gd name="connsiteX7" fmla="*/ 142599 w 563615"/>
                <a:gd name="connsiteY7" fmla="*/ 526714 h 563615"/>
                <a:gd name="connsiteX8" fmla="*/ 281808 w 563615"/>
                <a:gd name="connsiteY8" fmla="*/ 563616 h 563615"/>
                <a:gd name="connsiteX9" fmla="*/ 563616 w 563615"/>
                <a:gd name="connsiteY9" fmla="*/ 281808 h 563615"/>
                <a:gd name="connsiteX10" fmla="*/ 281808 w 563615"/>
                <a:gd name="connsiteY10" fmla="*/ 0 h 563615"/>
                <a:gd name="connsiteX11" fmla="*/ 281808 w 563615"/>
                <a:gd name="connsiteY11" fmla="*/ 540119 h 563615"/>
                <a:gd name="connsiteX12" fmla="*/ 150226 w 563615"/>
                <a:gd name="connsiteY12" fmla="*/ 503988 h 563615"/>
                <a:gd name="connsiteX13" fmla="*/ 144217 w 563615"/>
                <a:gd name="connsiteY13" fmla="*/ 502370 h 563615"/>
                <a:gd name="connsiteX14" fmla="*/ 140981 w 563615"/>
                <a:gd name="connsiteY14" fmla="*/ 502832 h 563615"/>
                <a:gd name="connsiteX15" fmla="*/ 29968 w 563615"/>
                <a:gd name="connsiteY15" fmla="*/ 534495 h 563615"/>
                <a:gd name="connsiteX16" fmla="*/ 64944 w 563615"/>
                <a:gd name="connsiteY16" fmla="*/ 429722 h 563615"/>
                <a:gd name="connsiteX17" fmla="*/ 63711 w 563615"/>
                <a:gd name="connsiteY17" fmla="*/ 419630 h 563615"/>
                <a:gd name="connsiteX18" fmla="*/ 23574 w 563615"/>
                <a:gd name="connsiteY18" fmla="*/ 281808 h 563615"/>
                <a:gd name="connsiteX19" fmla="*/ 281885 w 563615"/>
                <a:gd name="connsiteY19" fmla="*/ 23497 h 563615"/>
                <a:gd name="connsiteX20" fmla="*/ 540196 w 563615"/>
                <a:gd name="connsiteY20" fmla="*/ 281808 h 563615"/>
                <a:gd name="connsiteX21" fmla="*/ 281885 w 563615"/>
                <a:gd name="connsiteY21" fmla="*/ 540119 h 56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3615" h="563615">
                  <a:moveTo>
                    <a:pt x="281808" y="0"/>
                  </a:moveTo>
                  <a:cubicBezTo>
                    <a:pt x="126421" y="0"/>
                    <a:pt x="0" y="126421"/>
                    <a:pt x="0" y="281808"/>
                  </a:cubicBezTo>
                  <a:cubicBezTo>
                    <a:pt x="0" y="333732"/>
                    <a:pt x="14098" y="384038"/>
                    <a:pt x="40908" y="427565"/>
                  </a:cubicBezTo>
                  <a:lnTo>
                    <a:pt x="616" y="548131"/>
                  </a:lnTo>
                  <a:cubicBezTo>
                    <a:pt x="-770" y="552291"/>
                    <a:pt x="231" y="556836"/>
                    <a:pt x="3236" y="559995"/>
                  </a:cubicBezTo>
                  <a:cubicBezTo>
                    <a:pt x="5470" y="562306"/>
                    <a:pt x="8551" y="563616"/>
                    <a:pt x="11710" y="563616"/>
                  </a:cubicBezTo>
                  <a:cubicBezTo>
                    <a:pt x="12788" y="563616"/>
                    <a:pt x="13867" y="563462"/>
                    <a:pt x="14946" y="563153"/>
                  </a:cubicBezTo>
                  <a:lnTo>
                    <a:pt x="142599" y="526714"/>
                  </a:lnTo>
                  <a:cubicBezTo>
                    <a:pt x="184816" y="550827"/>
                    <a:pt x="232811" y="563616"/>
                    <a:pt x="281808" y="563616"/>
                  </a:cubicBezTo>
                  <a:cubicBezTo>
                    <a:pt x="437195" y="563616"/>
                    <a:pt x="563616" y="437195"/>
                    <a:pt x="563616" y="281808"/>
                  </a:cubicBezTo>
                  <a:cubicBezTo>
                    <a:pt x="563616" y="126421"/>
                    <a:pt x="437195" y="0"/>
                    <a:pt x="281808" y="0"/>
                  </a:cubicBezTo>
                  <a:close/>
                  <a:moveTo>
                    <a:pt x="281808" y="540119"/>
                  </a:moveTo>
                  <a:cubicBezTo>
                    <a:pt x="235353" y="540119"/>
                    <a:pt x="189900" y="527639"/>
                    <a:pt x="150226" y="503988"/>
                  </a:cubicBezTo>
                  <a:cubicBezTo>
                    <a:pt x="148377" y="502909"/>
                    <a:pt x="146297" y="502370"/>
                    <a:pt x="144217" y="502370"/>
                  </a:cubicBezTo>
                  <a:cubicBezTo>
                    <a:pt x="143138" y="502370"/>
                    <a:pt x="142059" y="502524"/>
                    <a:pt x="140981" y="502832"/>
                  </a:cubicBezTo>
                  <a:lnTo>
                    <a:pt x="29968" y="534495"/>
                  </a:lnTo>
                  <a:lnTo>
                    <a:pt x="64944" y="429722"/>
                  </a:lnTo>
                  <a:cubicBezTo>
                    <a:pt x="66099" y="426333"/>
                    <a:pt x="65637" y="422635"/>
                    <a:pt x="63711" y="419630"/>
                  </a:cubicBezTo>
                  <a:cubicBezTo>
                    <a:pt x="37441" y="378800"/>
                    <a:pt x="23574" y="331190"/>
                    <a:pt x="23574" y="281808"/>
                  </a:cubicBezTo>
                  <a:cubicBezTo>
                    <a:pt x="23574" y="139363"/>
                    <a:pt x="139440" y="23497"/>
                    <a:pt x="281885" y="23497"/>
                  </a:cubicBezTo>
                  <a:cubicBezTo>
                    <a:pt x="424329" y="23497"/>
                    <a:pt x="540196" y="139363"/>
                    <a:pt x="540196" y="281808"/>
                  </a:cubicBezTo>
                  <a:cubicBezTo>
                    <a:pt x="540196" y="424252"/>
                    <a:pt x="424329" y="540119"/>
                    <a:pt x="281885" y="540119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BEBCDB1-EE64-439C-AB8B-F29011751DC2}"/>
                </a:ext>
              </a:extLst>
            </p:cNvPr>
            <p:cNvSpPr/>
            <p:nvPr/>
          </p:nvSpPr>
          <p:spPr>
            <a:xfrm>
              <a:off x="9025562" y="988362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FF0FE940-39C4-47B4-9C2A-08706C0D2DC8}"/>
                </a:ext>
              </a:extLst>
            </p:cNvPr>
            <p:cNvSpPr/>
            <p:nvPr/>
          </p:nvSpPr>
          <p:spPr>
            <a:xfrm>
              <a:off x="9025562" y="1058852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302CA4D9-3421-4453-B681-1B516FB83D58}"/>
                </a:ext>
              </a:extLst>
            </p:cNvPr>
            <p:cNvSpPr/>
            <p:nvPr/>
          </p:nvSpPr>
          <p:spPr>
            <a:xfrm>
              <a:off x="9025562" y="1129266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CD5575CA-66ED-40DB-BD3D-B77C6F37DEC3}"/>
              </a:ext>
            </a:extLst>
          </p:cNvPr>
          <p:cNvSpPr/>
          <p:nvPr/>
        </p:nvSpPr>
        <p:spPr>
          <a:xfrm>
            <a:off x="9995866" y="777160"/>
            <a:ext cx="446208" cy="563654"/>
          </a:xfrm>
          <a:custGeom>
            <a:avLst/>
            <a:gdLst>
              <a:gd name="connsiteX0" fmla="*/ 441278 w 446208"/>
              <a:gd name="connsiteY0" fmla="*/ 49189 h 563654"/>
              <a:gd name="connsiteX1" fmla="*/ 430724 w 446208"/>
              <a:gd name="connsiteY1" fmla="*/ 47571 h 563654"/>
              <a:gd name="connsiteX2" fmla="*/ 229575 w 446208"/>
              <a:gd name="connsiteY2" fmla="*/ 1964 h 563654"/>
              <a:gd name="connsiteX3" fmla="*/ 216556 w 446208"/>
              <a:gd name="connsiteY3" fmla="*/ 1964 h 563654"/>
              <a:gd name="connsiteX4" fmla="*/ 15408 w 446208"/>
              <a:gd name="connsiteY4" fmla="*/ 47571 h 563654"/>
              <a:gd name="connsiteX5" fmla="*/ 4853 w 446208"/>
              <a:gd name="connsiteY5" fmla="*/ 49189 h 563654"/>
              <a:gd name="connsiteX6" fmla="*/ 0 w 446208"/>
              <a:gd name="connsiteY6" fmla="*/ 58742 h 563654"/>
              <a:gd name="connsiteX7" fmla="*/ 0 w 446208"/>
              <a:gd name="connsiteY7" fmla="*/ 317053 h 563654"/>
              <a:gd name="connsiteX8" fmla="*/ 141597 w 446208"/>
              <a:gd name="connsiteY8" fmla="*/ 498942 h 563654"/>
              <a:gd name="connsiteX9" fmla="*/ 214784 w 446208"/>
              <a:gd name="connsiteY9" fmla="*/ 560187 h 563654"/>
              <a:gd name="connsiteX10" fmla="*/ 223104 w 446208"/>
              <a:gd name="connsiteY10" fmla="*/ 563654 h 563654"/>
              <a:gd name="connsiteX11" fmla="*/ 231424 w 446208"/>
              <a:gd name="connsiteY11" fmla="*/ 560187 h 563654"/>
              <a:gd name="connsiteX12" fmla="*/ 304611 w 446208"/>
              <a:gd name="connsiteY12" fmla="*/ 499019 h 563654"/>
              <a:gd name="connsiteX13" fmla="*/ 446209 w 446208"/>
              <a:gd name="connsiteY13" fmla="*/ 317130 h 563654"/>
              <a:gd name="connsiteX14" fmla="*/ 446209 w 446208"/>
              <a:gd name="connsiteY14" fmla="*/ 58665 h 563654"/>
              <a:gd name="connsiteX15" fmla="*/ 441355 w 446208"/>
              <a:gd name="connsiteY15" fmla="*/ 49112 h 563654"/>
              <a:gd name="connsiteX16" fmla="*/ 422635 w 446208"/>
              <a:gd name="connsiteY16" fmla="*/ 317053 h 563654"/>
              <a:gd name="connsiteX17" fmla="*/ 290205 w 446208"/>
              <a:gd name="connsiteY17" fmla="*/ 480375 h 563654"/>
              <a:gd name="connsiteX18" fmla="*/ 223027 w 446208"/>
              <a:gd name="connsiteY18" fmla="*/ 535535 h 563654"/>
              <a:gd name="connsiteX19" fmla="*/ 155849 w 446208"/>
              <a:gd name="connsiteY19" fmla="*/ 480375 h 563654"/>
              <a:gd name="connsiteX20" fmla="*/ 23420 w 446208"/>
              <a:gd name="connsiteY20" fmla="*/ 317053 h 563654"/>
              <a:gd name="connsiteX21" fmla="*/ 23420 w 446208"/>
              <a:gd name="connsiteY21" fmla="*/ 74304 h 563654"/>
              <a:gd name="connsiteX22" fmla="*/ 223027 w 446208"/>
              <a:gd name="connsiteY22" fmla="*/ 25769 h 563654"/>
              <a:gd name="connsiteX23" fmla="*/ 422635 w 446208"/>
              <a:gd name="connsiteY23" fmla="*/ 74304 h 563654"/>
              <a:gd name="connsiteX24" fmla="*/ 422635 w 446208"/>
              <a:gd name="connsiteY24" fmla="*/ 317053 h 563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46208" h="563654">
                <a:moveTo>
                  <a:pt x="441278" y="49189"/>
                </a:moveTo>
                <a:cubicBezTo>
                  <a:pt x="438196" y="46955"/>
                  <a:pt x="434267" y="46416"/>
                  <a:pt x="430724" y="47571"/>
                </a:cubicBezTo>
                <a:cubicBezTo>
                  <a:pt x="370325" y="67679"/>
                  <a:pt x="306460" y="53195"/>
                  <a:pt x="229575" y="1964"/>
                </a:cubicBezTo>
                <a:cubicBezTo>
                  <a:pt x="225647" y="-655"/>
                  <a:pt x="220485" y="-655"/>
                  <a:pt x="216556" y="1964"/>
                </a:cubicBezTo>
                <a:cubicBezTo>
                  <a:pt x="139671" y="53195"/>
                  <a:pt x="75806" y="67679"/>
                  <a:pt x="15408" y="47571"/>
                </a:cubicBezTo>
                <a:cubicBezTo>
                  <a:pt x="11864" y="46339"/>
                  <a:pt x="7858" y="46955"/>
                  <a:pt x="4853" y="49189"/>
                </a:cubicBezTo>
                <a:cubicBezTo>
                  <a:pt x="1772" y="51423"/>
                  <a:pt x="0" y="54967"/>
                  <a:pt x="0" y="58742"/>
                </a:cubicBezTo>
                <a:lnTo>
                  <a:pt x="0" y="317053"/>
                </a:lnTo>
                <a:cubicBezTo>
                  <a:pt x="0" y="389392"/>
                  <a:pt x="71954" y="445091"/>
                  <a:pt x="141597" y="498942"/>
                </a:cubicBezTo>
                <a:cubicBezTo>
                  <a:pt x="168946" y="520127"/>
                  <a:pt x="194831" y="540157"/>
                  <a:pt x="214784" y="560187"/>
                </a:cubicBezTo>
                <a:cubicBezTo>
                  <a:pt x="217095" y="562499"/>
                  <a:pt x="220100" y="563654"/>
                  <a:pt x="223104" y="563654"/>
                </a:cubicBezTo>
                <a:cubicBezTo>
                  <a:pt x="226109" y="563654"/>
                  <a:pt x="229113" y="562499"/>
                  <a:pt x="231424" y="560187"/>
                </a:cubicBezTo>
                <a:cubicBezTo>
                  <a:pt x="251455" y="540157"/>
                  <a:pt x="277262" y="520204"/>
                  <a:pt x="304611" y="499019"/>
                </a:cubicBezTo>
                <a:cubicBezTo>
                  <a:pt x="374177" y="445091"/>
                  <a:pt x="446209" y="389392"/>
                  <a:pt x="446209" y="317130"/>
                </a:cubicBezTo>
                <a:lnTo>
                  <a:pt x="446209" y="58665"/>
                </a:lnTo>
                <a:cubicBezTo>
                  <a:pt x="446209" y="54890"/>
                  <a:pt x="444359" y="51346"/>
                  <a:pt x="441355" y="49112"/>
                </a:cubicBezTo>
                <a:close/>
                <a:moveTo>
                  <a:pt x="422635" y="317053"/>
                </a:moveTo>
                <a:cubicBezTo>
                  <a:pt x="422635" y="377837"/>
                  <a:pt x="355303" y="429992"/>
                  <a:pt x="290205" y="480375"/>
                </a:cubicBezTo>
                <a:cubicBezTo>
                  <a:pt x="265784" y="499250"/>
                  <a:pt x="242595" y="517277"/>
                  <a:pt x="223027" y="535535"/>
                </a:cubicBezTo>
                <a:cubicBezTo>
                  <a:pt x="203537" y="517277"/>
                  <a:pt x="180271" y="499250"/>
                  <a:pt x="155849" y="480375"/>
                </a:cubicBezTo>
                <a:cubicBezTo>
                  <a:pt x="90752" y="429915"/>
                  <a:pt x="23420" y="377837"/>
                  <a:pt x="23420" y="317053"/>
                </a:cubicBezTo>
                <a:lnTo>
                  <a:pt x="23420" y="74304"/>
                </a:lnTo>
                <a:cubicBezTo>
                  <a:pt x="84203" y="89095"/>
                  <a:pt x="149763" y="73071"/>
                  <a:pt x="223027" y="25769"/>
                </a:cubicBezTo>
                <a:cubicBezTo>
                  <a:pt x="296291" y="73071"/>
                  <a:pt x="361851" y="89018"/>
                  <a:pt x="422635" y="74304"/>
                </a:cubicBezTo>
                <a:lnTo>
                  <a:pt x="422635" y="317053"/>
                </a:lnTo>
                <a:close/>
              </a:path>
            </a:pathLst>
          </a:custGeom>
          <a:solidFill>
            <a:schemeClr val="tx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2" name="Graphic 114">
            <a:extLst>
              <a:ext uri="{FF2B5EF4-FFF2-40B4-BE49-F238E27FC236}">
                <a16:creationId xmlns:a16="http://schemas.microsoft.com/office/drawing/2014/main" id="{8F99A342-88FB-45DD-9E90-F06799B61A0F}"/>
              </a:ext>
            </a:extLst>
          </p:cNvPr>
          <p:cNvGrpSpPr/>
          <p:nvPr/>
        </p:nvGrpSpPr>
        <p:grpSpPr>
          <a:xfrm>
            <a:off x="7821812" y="1628246"/>
            <a:ext cx="584127" cy="584107"/>
            <a:chOff x="7821812" y="1628246"/>
            <a:chExt cx="584127" cy="584107"/>
          </a:xfrm>
          <a:solidFill>
            <a:schemeClr val="tx2"/>
          </a:solidFill>
        </p:grpSpPr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7C6C24D9-14A5-4D7A-96A2-39E1D8DB31D5}"/>
                </a:ext>
              </a:extLst>
            </p:cNvPr>
            <p:cNvSpPr/>
            <p:nvPr/>
          </p:nvSpPr>
          <p:spPr>
            <a:xfrm>
              <a:off x="7821812" y="1701356"/>
              <a:ext cx="510940" cy="510998"/>
            </a:xfrm>
            <a:custGeom>
              <a:avLst/>
              <a:gdLst>
                <a:gd name="connsiteX0" fmla="*/ 267190 w 510940"/>
                <a:gd name="connsiteY0" fmla="*/ 0 h 510998"/>
                <a:gd name="connsiteX1" fmla="*/ 255480 w 510940"/>
                <a:gd name="connsiteY1" fmla="*/ 0 h 510998"/>
                <a:gd name="connsiteX2" fmla="*/ 65117 w 510940"/>
                <a:gd name="connsiteY2" fmla="*/ 85128 h 510998"/>
                <a:gd name="connsiteX3" fmla="*/ 1637 w 510940"/>
                <a:gd name="connsiteY3" fmla="*/ 284581 h 510998"/>
                <a:gd name="connsiteX4" fmla="*/ 226436 w 510940"/>
                <a:gd name="connsiteY4" fmla="*/ 509380 h 510998"/>
                <a:gd name="connsiteX5" fmla="*/ 255865 w 510940"/>
                <a:gd name="connsiteY5" fmla="*/ 510998 h 510998"/>
                <a:gd name="connsiteX6" fmla="*/ 425813 w 510940"/>
                <a:gd name="connsiteY6" fmla="*/ 445823 h 510998"/>
                <a:gd name="connsiteX7" fmla="*/ 510940 w 510940"/>
                <a:gd name="connsiteY7" fmla="*/ 255461 h 510998"/>
                <a:gd name="connsiteX8" fmla="*/ 510940 w 510940"/>
                <a:gd name="connsiteY8" fmla="*/ 243751 h 510998"/>
                <a:gd name="connsiteX9" fmla="*/ 267190 w 510940"/>
                <a:gd name="connsiteY9" fmla="*/ 243751 h 510998"/>
                <a:gd name="connsiteX10" fmla="*/ 267190 w 510940"/>
                <a:gd name="connsiteY10" fmla="*/ 0 h 510998"/>
                <a:gd name="connsiteX11" fmla="*/ 487135 w 510940"/>
                <a:gd name="connsiteY11" fmla="*/ 267247 h 510998"/>
                <a:gd name="connsiteX12" fmla="*/ 410174 w 510940"/>
                <a:gd name="connsiteY12" fmla="*/ 428413 h 510998"/>
                <a:gd name="connsiteX13" fmla="*/ 228979 w 510940"/>
                <a:gd name="connsiteY13" fmla="*/ 486038 h 510998"/>
                <a:gd name="connsiteX14" fmla="*/ 24903 w 510940"/>
                <a:gd name="connsiteY14" fmla="*/ 281962 h 510998"/>
                <a:gd name="connsiteX15" fmla="*/ 82528 w 510940"/>
                <a:gd name="connsiteY15" fmla="*/ 100767 h 510998"/>
                <a:gd name="connsiteX16" fmla="*/ 243693 w 510940"/>
                <a:gd name="connsiteY16" fmla="*/ 23805 h 510998"/>
                <a:gd name="connsiteX17" fmla="*/ 243693 w 510940"/>
                <a:gd name="connsiteY17" fmla="*/ 267247 h 510998"/>
                <a:gd name="connsiteX18" fmla="*/ 487135 w 510940"/>
                <a:gd name="connsiteY18" fmla="*/ 267247 h 510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940" h="510998">
                  <a:moveTo>
                    <a:pt x="267190" y="0"/>
                  </a:moveTo>
                  <a:lnTo>
                    <a:pt x="255480" y="0"/>
                  </a:lnTo>
                  <a:cubicBezTo>
                    <a:pt x="182909" y="0"/>
                    <a:pt x="113574" y="31047"/>
                    <a:pt x="65117" y="85128"/>
                  </a:cubicBezTo>
                  <a:cubicBezTo>
                    <a:pt x="16043" y="139979"/>
                    <a:pt x="-6529" y="210778"/>
                    <a:pt x="1637" y="284581"/>
                  </a:cubicBezTo>
                  <a:cubicBezTo>
                    <a:pt x="14580" y="401911"/>
                    <a:pt x="109183" y="496438"/>
                    <a:pt x="226436" y="509380"/>
                  </a:cubicBezTo>
                  <a:cubicBezTo>
                    <a:pt x="236297" y="510459"/>
                    <a:pt x="246158" y="510998"/>
                    <a:pt x="255865" y="510998"/>
                  </a:cubicBezTo>
                  <a:cubicBezTo>
                    <a:pt x="318883" y="510998"/>
                    <a:pt x="378357" y="488349"/>
                    <a:pt x="425813" y="445823"/>
                  </a:cubicBezTo>
                  <a:cubicBezTo>
                    <a:pt x="479894" y="397366"/>
                    <a:pt x="510940" y="327954"/>
                    <a:pt x="510940" y="255461"/>
                  </a:cubicBezTo>
                  <a:lnTo>
                    <a:pt x="510940" y="243751"/>
                  </a:lnTo>
                  <a:lnTo>
                    <a:pt x="267190" y="243751"/>
                  </a:lnTo>
                  <a:lnTo>
                    <a:pt x="267190" y="0"/>
                  </a:lnTo>
                  <a:close/>
                  <a:moveTo>
                    <a:pt x="487135" y="267247"/>
                  </a:moveTo>
                  <a:cubicBezTo>
                    <a:pt x="483977" y="328801"/>
                    <a:pt x="456320" y="387043"/>
                    <a:pt x="410174" y="428413"/>
                  </a:cubicBezTo>
                  <a:cubicBezTo>
                    <a:pt x="360407" y="473018"/>
                    <a:pt x="296002" y="493510"/>
                    <a:pt x="228979" y="486038"/>
                  </a:cubicBezTo>
                  <a:cubicBezTo>
                    <a:pt x="122511" y="474251"/>
                    <a:pt x="36690" y="388429"/>
                    <a:pt x="24903" y="281962"/>
                  </a:cubicBezTo>
                  <a:cubicBezTo>
                    <a:pt x="17507" y="214938"/>
                    <a:pt x="37999" y="150534"/>
                    <a:pt x="82528" y="100767"/>
                  </a:cubicBezTo>
                  <a:cubicBezTo>
                    <a:pt x="123898" y="54543"/>
                    <a:pt x="182062" y="26887"/>
                    <a:pt x="243693" y="23805"/>
                  </a:cubicBezTo>
                  <a:lnTo>
                    <a:pt x="243693" y="267247"/>
                  </a:lnTo>
                  <a:lnTo>
                    <a:pt x="487135" y="267247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D18D0760-A9C0-41D0-8C0C-AC9AFE279662}"/>
                </a:ext>
              </a:extLst>
            </p:cNvPr>
            <p:cNvSpPr/>
            <p:nvPr/>
          </p:nvSpPr>
          <p:spPr>
            <a:xfrm>
              <a:off x="8138692" y="1628246"/>
              <a:ext cx="267247" cy="267247"/>
            </a:xfrm>
            <a:custGeom>
              <a:avLst/>
              <a:gdLst>
                <a:gd name="connsiteX0" fmla="*/ 11710 w 267247"/>
                <a:gd name="connsiteY0" fmla="*/ 0 h 267247"/>
                <a:gd name="connsiteX1" fmla="*/ 0 w 267247"/>
                <a:gd name="connsiteY1" fmla="*/ 0 h 267247"/>
                <a:gd name="connsiteX2" fmla="*/ 0 w 267247"/>
                <a:gd name="connsiteY2" fmla="*/ 267247 h 267247"/>
                <a:gd name="connsiteX3" fmla="*/ 267247 w 267247"/>
                <a:gd name="connsiteY3" fmla="*/ 267247 h 267247"/>
                <a:gd name="connsiteX4" fmla="*/ 267247 w 267247"/>
                <a:gd name="connsiteY4" fmla="*/ 255538 h 267247"/>
                <a:gd name="connsiteX5" fmla="*/ 11787 w 267247"/>
                <a:gd name="connsiteY5" fmla="*/ 77 h 267247"/>
                <a:gd name="connsiteX6" fmla="*/ 23420 w 267247"/>
                <a:gd name="connsiteY6" fmla="*/ 243751 h 267247"/>
                <a:gd name="connsiteX7" fmla="*/ 23420 w 267247"/>
                <a:gd name="connsiteY7" fmla="*/ 23805 h 267247"/>
                <a:gd name="connsiteX8" fmla="*/ 243366 w 267247"/>
                <a:gd name="connsiteY8" fmla="*/ 243751 h 267247"/>
                <a:gd name="connsiteX9" fmla="*/ 23420 w 267247"/>
                <a:gd name="connsiteY9" fmla="*/ 243751 h 26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7247" h="267247">
                  <a:moveTo>
                    <a:pt x="11710" y="0"/>
                  </a:moveTo>
                  <a:lnTo>
                    <a:pt x="0" y="0"/>
                  </a:lnTo>
                  <a:lnTo>
                    <a:pt x="0" y="267247"/>
                  </a:lnTo>
                  <a:lnTo>
                    <a:pt x="267247" y="267247"/>
                  </a:lnTo>
                  <a:lnTo>
                    <a:pt x="267247" y="255538"/>
                  </a:lnTo>
                  <a:cubicBezTo>
                    <a:pt x="267247" y="114634"/>
                    <a:pt x="152614" y="77"/>
                    <a:pt x="11787" y="77"/>
                  </a:cubicBezTo>
                  <a:close/>
                  <a:moveTo>
                    <a:pt x="23420" y="243751"/>
                  </a:moveTo>
                  <a:lnTo>
                    <a:pt x="23420" y="23805"/>
                  </a:lnTo>
                  <a:cubicBezTo>
                    <a:pt x="142059" y="29737"/>
                    <a:pt x="237434" y="125188"/>
                    <a:pt x="243366" y="243751"/>
                  </a:cubicBezTo>
                  <a:lnTo>
                    <a:pt x="23420" y="243751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6" name="Graphic 115">
            <a:extLst>
              <a:ext uri="{FF2B5EF4-FFF2-40B4-BE49-F238E27FC236}">
                <a16:creationId xmlns:a16="http://schemas.microsoft.com/office/drawing/2014/main" id="{7AE8ABD7-C4D3-4B90-B012-D8660A043455}"/>
              </a:ext>
            </a:extLst>
          </p:cNvPr>
          <p:cNvGrpSpPr/>
          <p:nvPr/>
        </p:nvGrpSpPr>
        <p:grpSpPr>
          <a:xfrm>
            <a:off x="6779498" y="3596986"/>
            <a:ext cx="563538" cy="563615"/>
            <a:chOff x="6779498" y="3596986"/>
            <a:chExt cx="563538" cy="563615"/>
          </a:xfrm>
          <a:solidFill>
            <a:schemeClr val="tx2"/>
          </a:solidFill>
        </p:grpSpPr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7DB38CDA-C14E-4F7F-A894-613A3D99DE71}"/>
                </a:ext>
              </a:extLst>
            </p:cNvPr>
            <p:cNvSpPr/>
            <p:nvPr/>
          </p:nvSpPr>
          <p:spPr>
            <a:xfrm>
              <a:off x="6779498" y="3878794"/>
              <a:ext cx="140826" cy="281730"/>
            </a:xfrm>
            <a:custGeom>
              <a:avLst/>
              <a:gdLst>
                <a:gd name="connsiteX0" fmla="*/ 129117 w 140826"/>
                <a:gd name="connsiteY0" fmla="*/ 0 h 281730"/>
                <a:gd name="connsiteX1" fmla="*/ 11710 w 140826"/>
                <a:gd name="connsiteY1" fmla="*/ 0 h 281730"/>
                <a:gd name="connsiteX2" fmla="*/ 0 w 140826"/>
                <a:gd name="connsiteY2" fmla="*/ 11710 h 281730"/>
                <a:gd name="connsiteX3" fmla="*/ 0 w 140826"/>
                <a:gd name="connsiteY3" fmla="*/ 270021 h 281730"/>
                <a:gd name="connsiteX4" fmla="*/ 11710 w 140826"/>
                <a:gd name="connsiteY4" fmla="*/ 281731 h 281730"/>
                <a:gd name="connsiteX5" fmla="*/ 129117 w 140826"/>
                <a:gd name="connsiteY5" fmla="*/ 281731 h 281730"/>
                <a:gd name="connsiteX6" fmla="*/ 140827 w 140826"/>
                <a:gd name="connsiteY6" fmla="*/ 270021 h 281730"/>
                <a:gd name="connsiteX7" fmla="*/ 140827 w 140826"/>
                <a:gd name="connsiteY7" fmla="*/ 11710 h 281730"/>
                <a:gd name="connsiteX8" fmla="*/ 129117 w 140826"/>
                <a:gd name="connsiteY8" fmla="*/ 0 h 281730"/>
                <a:gd name="connsiteX9" fmla="*/ 117407 w 140826"/>
                <a:gd name="connsiteY9" fmla="*/ 258311 h 281730"/>
                <a:gd name="connsiteX10" fmla="*/ 23497 w 140826"/>
                <a:gd name="connsiteY10" fmla="*/ 258311 h 281730"/>
                <a:gd name="connsiteX11" fmla="*/ 23497 w 140826"/>
                <a:gd name="connsiteY11" fmla="*/ 23497 h 281730"/>
                <a:gd name="connsiteX12" fmla="*/ 117407 w 140826"/>
                <a:gd name="connsiteY12" fmla="*/ 23497 h 281730"/>
                <a:gd name="connsiteX13" fmla="*/ 117407 w 140826"/>
                <a:gd name="connsiteY13" fmla="*/ 258311 h 28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281730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270021"/>
                  </a:lnTo>
                  <a:cubicBezTo>
                    <a:pt x="0" y="276492"/>
                    <a:pt x="5239" y="281731"/>
                    <a:pt x="11710" y="281731"/>
                  </a:cubicBezTo>
                  <a:lnTo>
                    <a:pt x="129117" y="281731"/>
                  </a:lnTo>
                  <a:cubicBezTo>
                    <a:pt x="135588" y="281731"/>
                    <a:pt x="140827" y="276492"/>
                    <a:pt x="140827" y="270021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258311"/>
                  </a:moveTo>
                  <a:lnTo>
                    <a:pt x="23497" y="258311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258311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339514D-F341-446D-9654-BF18A16790EE}"/>
                </a:ext>
              </a:extLst>
            </p:cNvPr>
            <p:cNvSpPr/>
            <p:nvPr/>
          </p:nvSpPr>
          <p:spPr>
            <a:xfrm>
              <a:off x="6990892" y="3749677"/>
              <a:ext cx="140826" cy="410924"/>
            </a:xfrm>
            <a:custGeom>
              <a:avLst/>
              <a:gdLst>
                <a:gd name="connsiteX0" fmla="*/ 129117 w 140826"/>
                <a:gd name="connsiteY0" fmla="*/ 0 h 410924"/>
                <a:gd name="connsiteX1" fmla="*/ 11710 w 140826"/>
                <a:gd name="connsiteY1" fmla="*/ 0 h 410924"/>
                <a:gd name="connsiteX2" fmla="*/ 0 w 140826"/>
                <a:gd name="connsiteY2" fmla="*/ 11710 h 410924"/>
                <a:gd name="connsiteX3" fmla="*/ 0 w 140826"/>
                <a:gd name="connsiteY3" fmla="*/ 399215 h 410924"/>
                <a:gd name="connsiteX4" fmla="*/ 11710 w 140826"/>
                <a:gd name="connsiteY4" fmla="*/ 410925 h 410924"/>
                <a:gd name="connsiteX5" fmla="*/ 129117 w 140826"/>
                <a:gd name="connsiteY5" fmla="*/ 410925 h 410924"/>
                <a:gd name="connsiteX6" fmla="*/ 140827 w 140826"/>
                <a:gd name="connsiteY6" fmla="*/ 399215 h 410924"/>
                <a:gd name="connsiteX7" fmla="*/ 140827 w 140826"/>
                <a:gd name="connsiteY7" fmla="*/ 11710 h 410924"/>
                <a:gd name="connsiteX8" fmla="*/ 129117 w 140826"/>
                <a:gd name="connsiteY8" fmla="*/ 0 h 410924"/>
                <a:gd name="connsiteX9" fmla="*/ 117407 w 140826"/>
                <a:gd name="connsiteY9" fmla="*/ 387505 h 410924"/>
                <a:gd name="connsiteX10" fmla="*/ 23497 w 140826"/>
                <a:gd name="connsiteY10" fmla="*/ 387505 h 410924"/>
                <a:gd name="connsiteX11" fmla="*/ 23497 w 140826"/>
                <a:gd name="connsiteY11" fmla="*/ 23497 h 410924"/>
                <a:gd name="connsiteX12" fmla="*/ 117407 w 140826"/>
                <a:gd name="connsiteY12" fmla="*/ 23497 h 410924"/>
                <a:gd name="connsiteX13" fmla="*/ 117407 w 140826"/>
                <a:gd name="connsiteY13" fmla="*/ 387505 h 410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410924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399215"/>
                  </a:lnTo>
                  <a:cubicBezTo>
                    <a:pt x="0" y="405686"/>
                    <a:pt x="5239" y="410925"/>
                    <a:pt x="11710" y="410925"/>
                  </a:cubicBezTo>
                  <a:lnTo>
                    <a:pt x="129117" y="410925"/>
                  </a:lnTo>
                  <a:cubicBezTo>
                    <a:pt x="135588" y="410925"/>
                    <a:pt x="140827" y="405686"/>
                    <a:pt x="140827" y="399215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387505"/>
                  </a:moveTo>
                  <a:lnTo>
                    <a:pt x="23497" y="387505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387505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D63B1EEB-F3F4-4A9C-8E2B-B19F0544CC81}"/>
                </a:ext>
              </a:extLst>
            </p:cNvPr>
            <p:cNvSpPr/>
            <p:nvPr/>
          </p:nvSpPr>
          <p:spPr>
            <a:xfrm>
              <a:off x="7202209" y="3596986"/>
              <a:ext cx="140826" cy="563538"/>
            </a:xfrm>
            <a:custGeom>
              <a:avLst/>
              <a:gdLst>
                <a:gd name="connsiteX0" fmla="*/ 129117 w 140826"/>
                <a:gd name="connsiteY0" fmla="*/ 0 h 563538"/>
                <a:gd name="connsiteX1" fmla="*/ 11710 w 140826"/>
                <a:gd name="connsiteY1" fmla="*/ 0 h 563538"/>
                <a:gd name="connsiteX2" fmla="*/ 0 w 140826"/>
                <a:gd name="connsiteY2" fmla="*/ 11710 h 563538"/>
                <a:gd name="connsiteX3" fmla="*/ 0 w 140826"/>
                <a:gd name="connsiteY3" fmla="*/ 551829 h 563538"/>
                <a:gd name="connsiteX4" fmla="*/ 11710 w 140826"/>
                <a:gd name="connsiteY4" fmla="*/ 563539 h 563538"/>
                <a:gd name="connsiteX5" fmla="*/ 129117 w 140826"/>
                <a:gd name="connsiteY5" fmla="*/ 563539 h 563538"/>
                <a:gd name="connsiteX6" fmla="*/ 140827 w 140826"/>
                <a:gd name="connsiteY6" fmla="*/ 551829 h 563538"/>
                <a:gd name="connsiteX7" fmla="*/ 140827 w 140826"/>
                <a:gd name="connsiteY7" fmla="*/ 11710 h 563538"/>
                <a:gd name="connsiteX8" fmla="*/ 129117 w 140826"/>
                <a:gd name="connsiteY8" fmla="*/ 0 h 563538"/>
                <a:gd name="connsiteX9" fmla="*/ 117407 w 140826"/>
                <a:gd name="connsiteY9" fmla="*/ 540119 h 563538"/>
                <a:gd name="connsiteX10" fmla="*/ 23497 w 140826"/>
                <a:gd name="connsiteY10" fmla="*/ 540119 h 563538"/>
                <a:gd name="connsiteX11" fmla="*/ 23497 w 140826"/>
                <a:gd name="connsiteY11" fmla="*/ 23497 h 563538"/>
                <a:gd name="connsiteX12" fmla="*/ 117407 w 140826"/>
                <a:gd name="connsiteY12" fmla="*/ 23497 h 563538"/>
                <a:gd name="connsiteX13" fmla="*/ 117407 w 140826"/>
                <a:gd name="connsiteY13" fmla="*/ 540119 h 563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563538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551829"/>
                  </a:lnTo>
                  <a:cubicBezTo>
                    <a:pt x="0" y="558300"/>
                    <a:pt x="5239" y="563539"/>
                    <a:pt x="11710" y="563539"/>
                  </a:cubicBezTo>
                  <a:lnTo>
                    <a:pt x="129117" y="563539"/>
                  </a:lnTo>
                  <a:cubicBezTo>
                    <a:pt x="135588" y="563539"/>
                    <a:pt x="140827" y="558300"/>
                    <a:pt x="140827" y="551829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540119"/>
                  </a:moveTo>
                  <a:lnTo>
                    <a:pt x="23497" y="540119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540119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0" name="Graphic 115">
            <a:extLst>
              <a:ext uri="{FF2B5EF4-FFF2-40B4-BE49-F238E27FC236}">
                <a16:creationId xmlns:a16="http://schemas.microsoft.com/office/drawing/2014/main" id="{21E45CB5-A1EC-44F1-A5FB-A7C2B3959A2E}"/>
              </a:ext>
            </a:extLst>
          </p:cNvPr>
          <p:cNvGrpSpPr/>
          <p:nvPr/>
        </p:nvGrpSpPr>
        <p:grpSpPr>
          <a:xfrm>
            <a:off x="9942170" y="3615861"/>
            <a:ext cx="553710" cy="526020"/>
            <a:chOff x="9942170" y="3615861"/>
            <a:chExt cx="553710" cy="526020"/>
          </a:xfrm>
          <a:solidFill>
            <a:schemeClr val="tx2"/>
          </a:solidFill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D346AE6B-3E07-46D2-8BAE-7DE848D36771}"/>
                </a:ext>
              </a:extLst>
            </p:cNvPr>
            <p:cNvSpPr/>
            <p:nvPr/>
          </p:nvSpPr>
          <p:spPr>
            <a:xfrm>
              <a:off x="10282604" y="3756764"/>
              <a:ext cx="140826" cy="140826"/>
            </a:xfrm>
            <a:custGeom>
              <a:avLst/>
              <a:gdLst>
                <a:gd name="connsiteX0" fmla="*/ 70413 w 140826"/>
                <a:gd name="connsiteY0" fmla="*/ 140827 h 140826"/>
                <a:gd name="connsiteX1" fmla="*/ 140827 w 140826"/>
                <a:gd name="connsiteY1" fmla="*/ 70413 h 140826"/>
                <a:gd name="connsiteX2" fmla="*/ 70413 w 140826"/>
                <a:gd name="connsiteY2" fmla="*/ 0 h 140826"/>
                <a:gd name="connsiteX3" fmla="*/ 0 w 140826"/>
                <a:gd name="connsiteY3" fmla="*/ 70413 h 140826"/>
                <a:gd name="connsiteX4" fmla="*/ 70413 w 140826"/>
                <a:gd name="connsiteY4" fmla="*/ 140827 h 140826"/>
                <a:gd name="connsiteX5" fmla="*/ 70413 w 140826"/>
                <a:gd name="connsiteY5" fmla="*/ 23420 h 140826"/>
                <a:gd name="connsiteX6" fmla="*/ 117407 w 140826"/>
                <a:gd name="connsiteY6" fmla="*/ 70413 h 140826"/>
                <a:gd name="connsiteX7" fmla="*/ 70413 w 140826"/>
                <a:gd name="connsiteY7" fmla="*/ 117407 h 140826"/>
                <a:gd name="connsiteX8" fmla="*/ 23420 w 140826"/>
                <a:gd name="connsiteY8" fmla="*/ 70413 h 140826"/>
                <a:gd name="connsiteX9" fmla="*/ 70413 w 140826"/>
                <a:gd name="connsiteY9" fmla="*/ 23420 h 140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826" h="140826">
                  <a:moveTo>
                    <a:pt x="70413" y="140827"/>
                  </a:moveTo>
                  <a:cubicBezTo>
                    <a:pt x="109241" y="140827"/>
                    <a:pt x="140827" y="109241"/>
                    <a:pt x="140827" y="70413"/>
                  </a:cubicBezTo>
                  <a:cubicBezTo>
                    <a:pt x="140827" y="31586"/>
                    <a:pt x="109241" y="0"/>
                    <a:pt x="70413" y="0"/>
                  </a:cubicBezTo>
                  <a:cubicBezTo>
                    <a:pt x="31586" y="0"/>
                    <a:pt x="0" y="31586"/>
                    <a:pt x="0" y="70413"/>
                  </a:cubicBezTo>
                  <a:cubicBezTo>
                    <a:pt x="0" y="109241"/>
                    <a:pt x="31586" y="140827"/>
                    <a:pt x="70413" y="140827"/>
                  </a:cubicBezTo>
                  <a:close/>
                  <a:moveTo>
                    <a:pt x="70413" y="23420"/>
                  </a:moveTo>
                  <a:cubicBezTo>
                    <a:pt x="96298" y="23420"/>
                    <a:pt x="117407" y="44451"/>
                    <a:pt x="117407" y="70413"/>
                  </a:cubicBezTo>
                  <a:cubicBezTo>
                    <a:pt x="117407" y="96375"/>
                    <a:pt x="96376" y="117407"/>
                    <a:pt x="70413" y="117407"/>
                  </a:cubicBezTo>
                  <a:cubicBezTo>
                    <a:pt x="44451" y="117407"/>
                    <a:pt x="23420" y="96375"/>
                    <a:pt x="23420" y="70413"/>
                  </a:cubicBezTo>
                  <a:cubicBezTo>
                    <a:pt x="23420" y="44451"/>
                    <a:pt x="44451" y="23420"/>
                    <a:pt x="70413" y="2342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2C835F27-9AE4-4346-AD05-77C9F40053B8}"/>
                </a:ext>
              </a:extLst>
            </p:cNvPr>
            <p:cNvSpPr/>
            <p:nvPr/>
          </p:nvSpPr>
          <p:spPr>
            <a:xfrm>
              <a:off x="10094783" y="3615861"/>
              <a:ext cx="140826" cy="140826"/>
            </a:xfrm>
            <a:custGeom>
              <a:avLst/>
              <a:gdLst>
                <a:gd name="connsiteX0" fmla="*/ 70414 w 140826"/>
                <a:gd name="connsiteY0" fmla="*/ 140827 h 140826"/>
                <a:gd name="connsiteX1" fmla="*/ 140827 w 140826"/>
                <a:gd name="connsiteY1" fmla="*/ 70413 h 140826"/>
                <a:gd name="connsiteX2" fmla="*/ 70414 w 140826"/>
                <a:gd name="connsiteY2" fmla="*/ 0 h 140826"/>
                <a:gd name="connsiteX3" fmla="*/ 0 w 140826"/>
                <a:gd name="connsiteY3" fmla="*/ 70413 h 140826"/>
                <a:gd name="connsiteX4" fmla="*/ 70414 w 140826"/>
                <a:gd name="connsiteY4" fmla="*/ 140827 h 140826"/>
                <a:gd name="connsiteX5" fmla="*/ 70414 w 140826"/>
                <a:gd name="connsiteY5" fmla="*/ 23420 h 140826"/>
                <a:gd name="connsiteX6" fmla="*/ 117407 w 140826"/>
                <a:gd name="connsiteY6" fmla="*/ 70413 h 140826"/>
                <a:gd name="connsiteX7" fmla="*/ 70414 w 140826"/>
                <a:gd name="connsiteY7" fmla="*/ 117407 h 140826"/>
                <a:gd name="connsiteX8" fmla="*/ 23420 w 140826"/>
                <a:gd name="connsiteY8" fmla="*/ 70413 h 140826"/>
                <a:gd name="connsiteX9" fmla="*/ 70414 w 140826"/>
                <a:gd name="connsiteY9" fmla="*/ 23420 h 140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826" h="140826">
                  <a:moveTo>
                    <a:pt x="70414" y="140827"/>
                  </a:moveTo>
                  <a:cubicBezTo>
                    <a:pt x="109241" y="140827"/>
                    <a:pt x="140827" y="109241"/>
                    <a:pt x="140827" y="70413"/>
                  </a:cubicBezTo>
                  <a:cubicBezTo>
                    <a:pt x="140827" y="31586"/>
                    <a:pt x="109241" y="0"/>
                    <a:pt x="70414" y="0"/>
                  </a:cubicBezTo>
                  <a:cubicBezTo>
                    <a:pt x="31586" y="0"/>
                    <a:pt x="0" y="31586"/>
                    <a:pt x="0" y="70413"/>
                  </a:cubicBezTo>
                  <a:cubicBezTo>
                    <a:pt x="0" y="109241"/>
                    <a:pt x="31586" y="140827"/>
                    <a:pt x="70414" y="140827"/>
                  </a:cubicBezTo>
                  <a:close/>
                  <a:moveTo>
                    <a:pt x="70414" y="23420"/>
                  </a:moveTo>
                  <a:cubicBezTo>
                    <a:pt x="96298" y="23420"/>
                    <a:pt x="117407" y="44451"/>
                    <a:pt x="117407" y="70413"/>
                  </a:cubicBezTo>
                  <a:cubicBezTo>
                    <a:pt x="117407" y="96376"/>
                    <a:pt x="96376" y="117407"/>
                    <a:pt x="70414" y="117407"/>
                  </a:cubicBezTo>
                  <a:cubicBezTo>
                    <a:pt x="44451" y="117407"/>
                    <a:pt x="23420" y="96376"/>
                    <a:pt x="23420" y="70413"/>
                  </a:cubicBezTo>
                  <a:cubicBezTo>
                    <a:pt x="23420" y="44451"/>
                    <a:pt x="44451" y="23420"/>
                    <a:pt x="70414" y="2342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36DB8C52-5066-41CA-9179-F9F0BAF97EE9}"/>
                </a:ext>
              </a:extLst>
            </p:cNvPr>
            <p:cNvSpPr/>
            <p:nvPr/>
          </p:nvSpPr>
          <p:spPr>
            <a:xfrm>
              <a:off x="9942170" y="3863311"/>
              <a:ext cx="553710" cy="278570"/>
            </a:xfrm>
            <a:custGeom>
              <a:avLst/>
              <a:gdLst>
                <a:gd name="connsiteX0" fmla="*/ 541351 w 553710"/>
                <a:gd name="connsiteY0" fmla="*/ 113322 h 278570"/>
                <a:gd name="connsiteX1" fmla="*/ 472710 w 553710"/>
                <a:gd name="connsiteY1" fmla="*/ 93215 h 278570"/>
                <a:gd name="connsiteX2" fmla="*/ 351220 w 553710"/>
                <a:gd name="connsiteY2" fmla="*/ 134739 h 278570"/>
                <a:gd name="connsiteX3" fmla="*/ 255229 w 553710"/>
                <a:gd name="connsiteY3" fmla="*/ 46145 h 278570"/>
                <a:gd name="connsiteX4" fmla="*/ 156157 w 553710"/>
                <a:gd name="connsiteY4" fmla="*/ 46145 h 278570"/>
                <a:gd name="connsiteX5" fmla="*/ 38750 w 553710"/>
                <a:gd name="connsiteY5" fmla="*/ 152 h 278570"/>
                <a:gd name="connsiteX6" fmla="*/ 11479 w 553710"/>
                <a:gd name="connsiteY6" fmla="*/ 9243 h 278570"/>
                <a:gd name="connsiteX7" fmla="*/ 0 w 553710"/>
                <a:gd name="connsiteY7" fmla="*/ 35205 h 278570"/>
                <a:gd name="connsiteX8" fmla="*/ 0 w 553710"/>
                <a:gd name="connsiteY8" fmla="*/ 162165 h 278570"/>
                <a:gd name="connsiteX9" fmla="*/ 20261 w 553710"/>
                <a:gd name="connsiteY9" fmla="*/ 194059 h 278570"/>
                <a:gd name="connsiteX10" fmla="*/ 181889 w 553710"/>
                <a:gd name="connsiteY10" fmla="*/ 269711 h 278570"/>
                <a:gd name="connsiteX11" fmla="*/ 221486 w 553710"/>
                <a:gd name="connsiteY11" fmla="*/ 278571 h 278570"/>
                <a:gd name="connsiteX12" fmla="*/ 253226 w 553710"/>
                <a:gd name="connsiteY12" fmla="*/ 273024 h 278570"/>
                <a:gd name="connsiteX13" fmla="*/ 530258 w 553710"/>
                <a:gd name="connsiteY13" fmla="*/ 173259 h 278570"/>
                <a:gd name="connsiteX14" fmla="*/ 553138 w 553710"/>
                <a:gd name="connsiteY14" fmla="*/ 146141 h 278570"/>
                <a:gd name="connsiteX15" fmla="*/ 541351 w 553710"/>
                <a:gd name="connsiteY15" fmla="*/ 113399 h 278570"/>
                <a:gd name="connsiteX16" fmla="*/ 530027 w 553710"/>
                <a:gd name="connsiteY16" fmla="*/ 141904 h 278570"/>
                <a:gd name="connsiteX17" fmla="*/ 522323 w 553710"/>
                <a:gd name="connsiteY17" fmla="*/ 151071 h 278570"/>
                <a:gd name="connsiteX18" fmla="*/ 245291 w 553710"/>
                <a:gd name="connsiteY18" fmla="*/ 250837 h 278570"/>
                <a:gd name="connsiteX19" fmla="*/ 191904 w 553710"/>
                <a:gd name="connsiteY19" fmla="*/ 248371 h 278570"/>
                <a:gd name="connsiteX20" fmla="*/ 30276 w 553710"/>
                <a:gd name="connsiteY20" fmla="*/ 172719 h 278570"/>
                <a:gd name="connsiteX21" fmla="*/ 23497 w 553710"/>
                <a:gd name="connsiteY21" fmla="*/ 162088 h 278570"/>
                <a:gd name="connsiteX22" fmla="*/ 23497 w 553710"/>
                <a:gd name="connsiteY22" fmla="*/ 35128 h 278570"/>
                <a:gd name="connsiteX23" fmla="*/ 27272 w 553710"/>
                <a:gd name="connsiteY23" fmla="*/ 26500 h 278570"/>
                <a:gd name="connsiteX24" fmla="*/ 35361 w 553710"/>
                <a:gd name="connsiteY24" fmla="*/ 23341 h 278570"/>
                <a:gd name="connsiteX25" fmla="*/ 36516 w 553710"/>
                <a:gd name="connsiteY25" fmla="*/ 23341 h 278570"/>
                <a:gd name="connsiteX26" fmla="*/ 146065 w 553710"/>
                <a:gd name="connsiteY26" fmla="*/ 67484 h 278570"/>
                <a:gd name="connsiteX27" fmla="*/ 152614 w 553710"/>
                <a:gd name="connsiteY27" fmla="*/ 69487 h 278570"/>
                <a:gd name="connsiteX28" fmla="*/ 255229 w 553710"/>
                <a:gd name="connsiteY28" fmla="*/ 69487 h 278570"/>
                <a:gd name="connsiteX29" fmla="*/ 328108 w 553710"/>
                <a:gd name="connsiteY29" fmla="*/ 139978 h 278570"/>
                <a:gd name="connsiteX30" fmla="*/ 152614 w 553710"/>
                <a:gd name="connsiteY30" fmla="*/ 139978 h 278570"/>
                <a:gd name="connsiteX31" fmla="*/ 140904 w 553710"/>
                <a:gd name="connsiteY31" fmla="*/ 151688 h 278570"/>
                <a:gd name="connsiteX32" fmla="*/ 152614 w 553710"/>
                <a:gd name="connsiteY32" fmla="*/ 163398 h 278570"/>
                <a:gd name="connsiteX33" fmla="*/ 340203 w 553710"/>
                <a:gd name="connsiteY33" fmla="*/ 163398 h 278570"/>
                <a:gd name="connsiteX34" fmla="*/ 342745 w 553710"/>
                <a:gd name="connsiteY34" fmla="*/ 163166 h 278570"/>
                <a:gd name="connsiteX35" fmla="*/ 345211 w 553710"/>
                <a:gd name="connsiteY35" fmla="*/ 162396 h 278570"/>
                <a:gd name="connsiteX36" fmla="*/ 476639 w 553710"/>
                <a:gd name="connsiteY36" fmla="*/ 116250 h 278570"/>
                <a:gd name="connsiteX37" fmla="*/ 526252 w 553710"/>
                <a:gd name="connsiteY37" fmla="*/ 131195 h 278570"/>
                <a:gd name="connsiteX38" fmla="*/ 530027 w 553710"/>
                <a:gd name="connsiteY38" fmla="*/ 141827 h 2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3710" h="278570">
                  <a:moveTo>
                    <a:pt x="541351" y="113322"/>
                  </a:moveTo>
                  <a:cubicBezTo>
                    <a:pt x="527869" y="101998"/>
                    <a:pt x="506068" y="87514"/>
                    <a:pt x="472710" y="93215"/>
                  </a:cubicBezTo>
                  <a:cubicBezTo>
                    <a:pt x="444899" y="97915"/>
                    <a:pt x="380726" y="122875"/>
                    <a:pt x="351220" y="134739"/>
                  </a:cubicBezTo>
                  <a:cubicBezTo>
                    <a:pt x="344826" y="81043"/>
                    <a:pt x="307847" y="46145"/>
                    <a:pt x="255229" y="46145"/>
                  </a:cubicBezTo>
                  <a:lnTo>
                    <a:pt x="156157" y="46145"/>
                  </a:lnTo>
                  <a:cubicBezTo>
                    <a:pt x="113632" y="18257"/>
                    <a:pt x="76268" y="3619"/>
                    <a:pt x="38750" y="152"/>
                  </a:cubicBezTo>
                  <a:cubicBezTo>
                    <a:pt x="28736" y="-772"/>
                    <a:pt x="18797" y="2541"/>
                    <a:pt x="11479" y="9243"/>
                  </a:cubicBezTo>
                  <a:cubicBezTo>
                    <a:pt x="4160" y="15868"/>
                    <a:pt x="0" y="25344"/>
                    <a:pt x="0" y="35205"/>
                  </a:cubicBezTo>
                  <a:lnTo>
                    <a:pt x="0" y="162165"/>
                  </a:lnTo>
                  <a:cubicBezTo>
                    <a:pt x="0" y="175801"/>
                    <a:pt x="7935" y="188281"/>
                    <a:pt x="20261" y="194059"/>
                  </a:cubicBezTo>
                  <a:lnTo>
                    <a:pt x="181889" y="269711"/>
                  </a:lnTo>
                  <a:cubicBezTo>
                    <a:pt x="194523" y="275643"/>
                    <a:pt x="207928" y="278571"/>
                    <a:pt x="221486" y="278571"/>
                  </a:cubicBezTo>
                  <a:cubicBezTo>
                    <a:pt x="232195" y="278571"/>
                    <a:pt x="242903" y="276722"/>
                    <a:pt x="253226" y="273024"/>
                  </a:cubicBezTo>
                  <a:lnTo>
                    <a:pt x="530258" y="173259"/>
                  </a:lnTo>
                  <a:cubicBezTo>
                    <a:pt x="542353" y="168944"/>
                    <a:pt x="550904" y="158775"/>
                    <a:pt x="553138" y="146141"/>
                  </a:cubicBezTo>
                  <a:cubicBezTo>
                    <a:pt x="555372" y="133738"/>
                    <a:pt x="550981" y="121488"/>
                    <a:pt x="541351" y="113399"/>
                  </a:cubicBezTo>
                  <a:close/>
                  <a:moveTo>
                    <a:pt x="530027" y="141904"/>
                  </a:moveTo>
                  <a:cubicBezTo>
                    <a:pt x="529256" y="146218"/>
                    <a:pt x="526406" y="149608"/>
                    <a:pt x="522323" y="151071"/>
                  </a:cubicBezTo>
                  <a:lnTo>
                    <a:pt x="245291" y="250837"/>
                  </a:lnTo>
                  <a:cubicBezTo>
                    <a:pt x="227727" y="257154"/>
                    <a:pt x="208775" y="256306"/>
                    <a:pt x="191904" y="248371"/>
                  </a:cubicBezTo>
                  <a:lnTo>
                    <a:pt x="30276" y="172719"/>
                  </a:lnTo>
                  <a:cubicBezTo>
                    <a:pt x="26193" y="170793"/>
                    <a:pt x="23497" y="166633"/>
                    <a:pt x="23497" y="162088"/>
                  </a:cubicBezTo>
                  <a:lnTo>
                    <a:pt x="23497" y="35128"/>
                  </a:lnTo>
                  <a:cubicBezTo>
                    <a:pt x="23497" y="31815"/>
                    <a:pt x="24884" y="28734"/>
                    <a:pt x="27272" y="26500"/>
                  </a:cubicBezTo>
                  <a:cubicBezTo>
                    <a:pt x="29506" y="24497"/>
                    <a:pt x="32356" y="23341"/>
                    <a:pt x="35361" y="23341"/>
                  </a:cubicBezTo>
                  <a:cubicBezTo>
                    <a:pt x="35746" y="23341"/>
                    <a:pt x="36131" y="23341"/>
                    <a:pt x="36516" y="23341"/>
                  </a:cubicBezTo>
                  <a:cubicBezTo>
                    <a:pt x="58164" y="25344"/>
                    <a:pt x="93063" y="32124"/>
                    <a:pt x="146065" y="67484"/>
                  </a:cubicBezTo>
                  <a:cubicBezTo>
                    <a:pt x="147991" y="68794"/>
                    <a:pt x="150226" y="69487"/>
                    <a:pt x="152614" y="69487"/>
                  </a:cubicBezTo>
                  <a:lnTo>
                    <a:pt x="255229" y="69487"/>
                  </a:lnTo>
                  <a:cubicBezTo>
                    <a:pt x="303918" y="69487"/>
                    <a:pt x="324410" y="105233"/>
                    <a:pt x="328108" y="139978"/>
                  </a:cubicBezTo>
                  <a:lnTo>
                    <a:pt x="152614" y="139978"/>
                  </a:lnTo>
                  <a:cubicBezTo>
                    <a:pt x="146143" y="139978"/>
                    <a:pt x="140904" y="145216"/>
                    <a:pt x="140904" y="151688"/>
                  </a:cubicBezTo>
                  <a:cubicBezTo>
                    <a:pt x="140904" y="158159"/>
                    <a:pt x="146143" y="163398"/>
                    <a:pt x="152614" y="163398"/>
                  </a:cubicBezTo>
                  <a:lnTo>
                    <a:pt x="340203" y="163398"/>
                  </a:lnTo>
                  <a:cubicBezTo>
                    <a:pt x="341051" y="163398"/>
                    <a:pt x="341898" y="163398"/>
                    <a:pt x="342745" y="163166"/>
                  </a:cubicBezTo>
                  <a:cubicBezTo>
                    <a:pt x="343593" y="163012"/>
                    <a:pt x="344440" y="162704"/>
                    <a:pt x="345211" y="162396"/>
                  </a:cubicBezTo>
                  <a:cubicBezTo>
                    <a:pt x="350603" y="160162"/>
                    <a:pt x="444128" y="121797"/>
                    <a:pt x="476639" y="116250"/>
                  </a:cubicBezTo>
                  <a:cubicBezTo>
                    <a:pt x="500136" y="112244"/>
                    <a:pt x="515466" y="122105"/>
                    <a:pt x="526252" y="131195"/>
                  </a:cubicBezTo>
                  <a:cubicBezTo>
                    <a:pt x="530720" y="134970"/>
                    <a:pt x="530412" y="139901"/>
                    <a:pt x="530027" y="141827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4" name="Graphic 115">
            <a:extLst>
              <a:ext uri="{FF2B5EF4-FFF2-40B4-BE49-F238E27FC236}">
                <a16:creationId xmlns:a16="http://schemas.microsoft.com/office/drawing/2014/main" id="{F66B14E6-D100-46EB-9B16-E59FC10BAE66}"/>
              </a:ext>
            </a:extLst>
          </p:cNvPr>
          <p:cNvGrpSpPr/>
          <p:nvPr/>
        </p:nvGrpSpPr>
        <p:grpSpPr>
          <a:xfrm>
            <a:off x="6814781" y="2735307"/>
            <a:ext cx="493048" cy="563692"/>
            <a:chOff x="6814781" y="2735307"/>
            <a:chExt cx="493048" cy="563692"/>
          </a:xfrm>
          <a:solidFill>
            <a:schemeClr val="tx2"/>
          </a:solidFill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A9668337-5643-4249-8F8F-16CD3D2A3B83}"/>
                </a:ext>
              </a:extLst>
            </p:cNvPr>
            <p:cNvSpPr/>
            <p:nvPr/>
          </p:nvSpPr>
          <p:spPr>
            <a:xfrm>
              <a:off x="6955608" y="2735307"/>
              <a:ext cx="211394" cy="258388"/>
            </a:xfrm>
            <a:custGeom>
              <a:avLst/>
              <a:gdLst>
                <a:gd name="connsiteX0" fmla="*/ 105697 w 211394"/>
                <a:gd name="connsiteY0" fmla="*/ 258388 h 258388"/>
                <a:gd name="connsiteX1" fmla="*/ 211394 w 211394"/>
                <a:gd name="connsiteY1" fmla="*/ 152691 h 258388"/>
                <a:gd name="connsiteX2" fmla="*/ 211394 w 211394"/>
                <a:gd name="connsiteY2" fmla="*/ 105697 h 258388"/>
                <a:gd name="connsiteX3" fmla="*/ 105697 w 211394"/>
                <a:gd name="connsiteY3" fmla="*/ 0 h 258388"/>
                <a:gd name="connsiteX4" fmla="*/ 0 w 211394"/>
                <a:gd name="connsiteY4" fmla="*/ 105697 h 258388"/>
                <a:gd name="connsiteX5" fmla="*/ 0 w 211394"/>
                <a:gd name="connsiteY5" fmla="*/ 152691 h 258388"/>
                <a:gd name="connsiteX6" fmla="*/ 105697 w 211394"/>
                <a:gd name="connsiteY6" fmla="*/ 258388 h 258388"/>
                <a:gd name="connsiteX7" fmla="*/ 23497 w 211394"/>
                <a:gd name="connsiteY7" fmla="*/ 105774 h 258388"/>
                <a:gd name="connsiteX8" fmla="*/ 105697 w 211394"/>
                <a:gd name="connsiteY8" fmla="*/ 23574 h 258388"/>
                <a:gd name="connsiteX9" fmla="*/ 187898 w 211394"/>
                <a:gd name="connsiteY9" fmla="*/ 105774 h 258388"/>
                <a:gd name="connsiteX10" fmla="*/ 187898 w 211394"/>
                <a:gd name="connsiteY10" fmla="*/ 152768 h 258388"/>
                <a:gd name="connsiteX11" fmla="*/ 105697 w 211394"/>
                <a:gd name="connsiteY11" fmla="*/ 234968 h 258388"/>
                <a:gd name="connsiteX12" fmla="*/ 23497 w 211394"/>
                <a:gd name="connsiteY12" fmla="*/ 152768 h 258388"/>
                <a:gd name="connsiteX13" fmla="*/ 23497 w 211394"/>
                <a:gd name="connsiteY13" fmla="*/ 105774 h 25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1394" h="258388">
                  <a:moveTo>
                    <a:pt x="105697" y="258388"/>
                  </a:moveTo>
                  <a:cubicBezTo>
                    <a:pt x="163938" y="258388"/>
                    <a:pt x="211394" y="211009"/>
                    <a:pt x="211394" y="152691"/>
                  </a:cubicBezTo>
                  <a:lnTo>
                    <a:pt x="211394" y="105697"/>
                  </a:lnTo>
                  <a:cubicBezTo>
                    <a:pt x="211394" y="47456"/>
                    <a:pt x="164016" y="0"/>
                    <a:pt x="105697" y="0"/>
                  </a:cubicBezTo>
                  <a:cubicBezTo>
                    <a:pt x="47379" y="0"/>
                    <a:pt x="0" y="47379"/>
                    <a:pt x="0" y="105697"/>
                  </a:cubicBezTo>
                  <a:lnTo>
                    <a:pt x="0" y="152691"/>
                  </a:lnTo>
                  <a:cubicBezTo>
                    <a:pt x="0" y="210932"/>
                    <a:pt x="47379" y="258388"/>
                    <a:pt x="105697" y="258388"/>
                  </a:cubicBezTo>
                  <a:close/>
                  <a:moveTo>
                    <a:pt x="23497" y="105774"/>
                  </a:moveTo>
                  <a:cubicBezTo>
                    <a:pt x="23497" y="60475"/>
                    <a:pt x="60398" y="23574"/>
                    <a:pt x="105697" y="23574"/>
                  </a:cubicBezTo>
                  <a:cubicBezTo>
                    <a:pt x="150996" y="23574"/>
                    <a:pt x="187898" y="60475"/>
                    <a:pt x="187898" y="105774"/>
                  </a:cubicBezTo>
                  <a:lnTo>
                    <a:pt x="187898" y="152768"/>
                  </a:lnTo>
                  <a:cubicBezTo>
                    <a:pt x="187898" y="198067"/>
                    <a:pt x="150996" y="234968"/>
                    <a:pt x="105697" y="234968"/>
                  </a:cubicBezTo>
                  <a:cubicBezTo>
                    <a:pt x="60398" y="234968"/>
                    <a:pt x="23497" y="198067"/>
                    <a:pt x="23497" y="152768"/>
                  </a:cubicBezTo>
                  <a:lnTo>
                    <a:pt x="23497" y="105774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228A586C-0CDF-499F-A186-640F82398B58}"/>
                </a:ext>
              </a:extLst>
            </p:cNvPr>
            <p:cNvSpPr/>
            <p:nvPr/>
          </p:nvSpPr>
          <p:spPr>
            <a:xfrm>
              <a:off x="6814781" y="3040689"/>
              <a:ext cx="493048" cy="258310"/>
            </a:xfrm>
            <a:custGeom>
              <a:avLst/>
              <a:gdLst>
                <a:gd name="connsiteX0" fmla="*/ 336659 w 493048"/>
                <a:gd name="connsiteY0" fmla="*/ 0 h 258310"/>
                <a:gd name="connsiteX1" fmla="*/ 313394 w 493048"/>
                <a:gd name="connsiteY1" fmla="*/ 12403 h 258310"/>
                <a:gd name="connsiteX2" fmla="*/ 246524 w 493048"/>
                <a:gd name="connsiteY2" fmla="*/ 46917 h 258310"/>
                <a:gd name="connsiteX3" fmla="*/ 179654 w 493048"/>
                <a:gd name="connsiteY3" fmla="*/ 12403 h 258310"/>
                <a:gd name="connsiteX4" fmla="*/ 156389 w 493048"/>
                <a:gd name="connsiteY4" fmla="*/ 0 h 258310"/>
                <a:gd name="connsiteX5" fmla="*/ 156389 w 493048"/>
                <a:gd name="connsiteY5" fmla="*/ 0 h 258310"/>
                <a:gd name="connsiteX6" fmla="*/ 0 w 493048"/>
                <a:gd name="connsiteY6" fmla="*/ 156389 h 258310"/>
                <a:gd name="connsiteX7" fmla="*/ 0 w 493048"/>
                <a:gd name="connsiteY7" fmla="*/ 222411 h 258310"/>
                <a:gd name="connsiteX8" fmla="*/ 35900 w 493048"/>
                <a:gd name="connsiteY8" fmla="*/ 258311 h 258310"/>
                <a:gd name="connsiteX9" fmla="*/ 457148 w 493048"/>
                <a:gd name="connsiteY9" fmla="*/ 258311 h 258310"/>
                <a:gd name="connsiteX10" fmla="*/ 493048 w 493048"/>
                <a:gd name="connsiteY10" fmla="*/ 222411 h 258310"/>
                <a:gd name="connsiteX11" fmla="*/ 493048 w 493048"/>
                <a:gd name="connsiteY11" fmla="*/ 156389 h 258310"/>
                <a:gd name="connsiteX12" fmla="*/ 336582 w 493048"/>
                <a:gd name="connsiteY12" fmla="*/ 0 h 258310"/>
                <a:gd name="connsiteX13" fmla="*/ 469628 w 493048"/>
                <a:gd name="connsiteY13" fmla="*/ 222411 h 258310"/>
                <a:gd name="connsiteX14" fmla="*/ 457148 w 493048"/>
                <a:gd name="connsiteY14" fmla="*/ 234891 h 258310"/>
                <a:gd name="connsiteX15" fmla="*/ 35900 w 493048"/>
                <a:gd name="connsiteY15" fmla="*/ 234891 h 258310"/>
                <a:gd name="connsiteX16" fmla="*/ 23420 w 493048"/>
                <a:gd name="connsiteY16" fmla="*/ 222411 h 258310"/>
                <a:gd name="connsiteX17" fmla="*/ 23420 w 493048"/>
                <a:gd name="connsiteY17" fmla="*/ 156389 h 258310"/>
                <a:gd name="connsiteX18" fmla="*/ 156312 w 493048"/>
                <a:gd name="connsiteY18" fmla="*/ 23497 h 258310"/>
                <a:gd name="connsiteX19" fmla="*/ 156312 w 493048"/>
                <a:gd name="connsiteY19" fmla="*/ 23497 h 258310"/>
                <a:gd name="connsiteX20" fmla="*/ 160395 w 493048"/>
                <a:gd name="connsiteY20" fmla="*/ 26039 h 258310"/>
                <a:gd name="connsiteX21" fmla="*/ 246447 w 493048"/>
                <a:gd name="connsiteY21" fmla="*/ 70490 h 258310"/>
                <a:gd name="connsiteX22" fmla="*/ 332499 w 493048"/>
                <a:gd name="connsiteY22" fmla="*/ 26039 h 258310"/>
                <a:gd name="connsiteX23" fmla="*/ 336659 w 493048"/>
                <a:gd name="connsiteY23" fmla="*/ 23497 h 258310"/>
                <a:gd name="connsiteX24" fmla="*/ 469551 w 493048"/>
                <a:gd name="connsiteY24" fmla="*/ 156389 h 258310"/>
                <a:gd name="connsiteX25" fmla="*/ 469551 w 493048"/>
                <a:gd name="connsiteY25" fmla="*/ 222411 h 25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93048" h="258310">
                  <a:moveTo>
                    <a:pt x="336659" y="0"/>
                  </a:moveTo>
                  <a:cubicBezTo>
                    <a:pt x="327492" y="0"/>
                    <a:pt x="319018" y="4545"/>
                    <a:pt x="313394" y="12403"/>
                  </a:cubicBezTo>
                  <a:cubicBezTo>
                    <a:pt x="298063" y="34051"/>
                    <a:pt x="273102" y="46917"/>
                    <a:pt x="246524" y="46917"/>
                  </a:cubicBezTo>
                  <a:cubicBezTo>
                    <a:pt x="219946" y="46917"/>
                    <a:pt x="194985" y="33974"/>
                    <a:pt x="179654" y="12403"/>
                  </a:cubicBezTo>
                  <a:cubicBezTo>
                    <a:pt x="174031" y="4468"/>
                    <a:pt x="165556" y="0"/>
                    <a:pt x="156389" y="0"/>
                  </a:cubicBezTo>
                  <a:lnTo>
                    <a:pt x="156389" y="0"/>
                  </a:lnTo>
                  <a:cubicBezTo>
                    <a:pt x="70182" y="0"/>
                    <a:pt x="0" y="70182"/>
                    <a:pt x="0" y="156389"/>
                  </a:cubicBezTo>
                  <a:lnTo>
                    <a:pt x="0" y="222411"/>
                  </a:lnTo>
                  <a:cubicBezTo>
                    <a:pt x="0" y="242210"/>
                    <a:pt x="16101" y="258311"/>
                    <a:pt x="35900" y="258311"/>
                  </a:cubicBezTo>
                  <a:lnTo>
                    <a:pt x="457148" y="258311"/>
                  </a:lnTo>
                  <a:cubicBezTo>
                    <a:pt x="476947" y="258311"/>
                    <a:pt x="493048" y="242210"/>
                    <a:pt x="493048" y="222411"/>
                  </a:cubicBezTo>
                  <a:lnTo>
                    <a:pt x="493048" y="156389"/>
                  </a:lnTo>
                  <a:cubicBezTo>
                    <a:pt x="493048" y="70182"/>
                    <a:pt x="422866" y="0"/>
                    <a:pt x="336582" y="0"/>
                  </a:cubicBezTo>
                  <a:close/>
                  <a:moveTo>
                    <a:pt x="469628" y="222411"/>
                  </a:moveTo>
                  <a:cubicBezTo>
                    <a:pt x="469628" y="229267"/>
                    <a:pt x="464004" y="234891"/>
                    <a:pt x="457148" y="234891"/>
                  </a:cubicBezTo>
                  <a:lnTo>
                    <a:pt x="35900" y="234891"/>
                  </a:lnTo>
                  <a:cubicBezTo>
                    <a:pt x="29044" y="234891"/>
                    <a:pt x="23420" y="229267"/>
                    <a:pt x="23420" y="222411"/>
                  </a:cubicBezTo>
                  <a:lnTo>
                    <a:pt x="23420" y="156389"/>
                  </a:lnTo>
                  <a:cubicBezTo>
                    <a:pt x="23420" y="83125"/>
                    <a:pt x="83048" y="23497"/>
                    <a:pt x="156312" y="23497"/>
                  </a:cubicBezTo>
                  <a:lnTo>
                    <a:pt x="156312" y="23497"/>
                  </a:lnTo>
                  <a:cubicBezTo>
                    <a:pt x="158392" y="23497"/>
                    <a:pt x="159855" y="25269"/>
                    <a:pt x="160395" y="26039"/>
                  </a:cubicBezTo>
                  <a:cubicBezTo>
                    <a:pt x="180117" y="53850"/>
                    <a:pt x="212242" y="70490"/>
                    <a:pt x="246447" y="70490"/>
                  </a:cubicBezTo>
                  <a:cubicBezTo>
                    <a:pt x="280652" y="70490"/>
                    <a:pt x="312777" y="53850"/>
                    <a:pt x="332499" y="26039"/>
                  </a:cubicBezTo>
                  <a:cubicBezTo>
                    <a:pt x="333039" y="25269"/>
                    <a:pt x="334502" y="23497"/>
                    <a:pt x="336659" y="23497"/>
                  </a:cubicBezTo>
                  <a:cubicBezTo>
                    <a:pt x="409923" y="23497"/>
                    <a:pt x="469551" y="83125"/>
                    <a:pt x="469551" y="156389"/>
                  </a:cubicBezTo>
                  <a:lnTo>
                    <a:pt x="469551" y="222411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7" name="Graphic 115">
            <a:extLst>
              <a:ext uri="{FF2B5EF4-FFF2-40B4-BE49-F238E27FC236}">
                <a16:creationId xmlns:a16="http://schemas.microsoft.com/office/drawing/2014/main" id="{567FB0B9-1B40-49A0-8ECB-989E5BEBBF32}"/>
              </a:ext>
            </a:extLst>
          </p:cNvPr>
          <p:cNvGrpSpPr/>
          <p:nvPr/>
        </p:nvGrpSpPr>
        <p:grpSpPr>
          <a:xfrm>
            <a:off x="8990279" y="3597063"/>
            <a:ext cx="352221" cy="563538"/>
            <a:chOff x="8990279" y="3597063"/>
            <a:chExt cx="352221" cy="563538"/>
          </a:xfrm>
          <a:solidFill>
            <a:schemeClr val="tx2"/>
          </a:solidFill>
        </p:grpSpPr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A169C085-A816-434D-8DBD-C4203CC286BB}"/>
                </a:ext>
              </a:extLst>
            </p:cNvPr>
            <p:cNvSpPr/>
            <p:nvPr/>
          </p:nvSpPr>
          <p:spPr>
            <a:xfrm>
              <a:off x="8990279" y="3597063"/>
              <a:ext cx="352221" cy="563538"/>
            </a:xfrm>
            <a:custGeom>
              <a:avLst/>
              <a:gdLst>
                <a:gd name="connsiteX0" fmla="*/ 176110 w 352221"/>
                <a:gd name="connsiteY0" fmla="*/ 211317 h 563538"/>
                <a:gd name="connsiteX1" fmla="*/ 70413 w 352221"/>
                <a:gd name="connsiteY1" fmla="*/ 246601 h 563538"/>
                <a:gd name="connsiteX2" fmla="*/ 70413 w 352221"/>
                <a:gd name="connsiteY2" fmla="*/ 129117 h 563538"/>
                <a:gd name="connsiteX3" fmla="*/ 176110 w 352221"/>
                <a:gd name="connsiteY3" fmla="*/ 23420 h 563538"/>
                <a:gd name="connsiteX4" fmla="*/ 250915 w 352221"/>
                <a:gd name="connsiteY4" fmla="*/ 54235 h 563538"/>
                <a:gd name="connsiteX5" fmla="*/ 281808 w 352221"/>
                <a:gd name="connsiteY5" fmla="*/ 129117 h 563538"/>
                <a:gd name="connsiteX6" fmla="*/ 281808 w 352221"/>
                <a:gd name="connsiteY6" fmla="*/ 152614 h 563538"/>
                <a:gd name="connsiteX7" fmla="*/ 293518 w 352221"/>
                <a:gd name="connsiteY7" fmla="*/ 164324 h 563538"/>
                <a:gd name="connsiteX8" fmla="*/ 305228 w 352221"/>
                <a:gd name="connsiteY8" fmla="*/ 152614 h 563538"/>
                <a:gd name="connsiteX9" fmla="*/ 305228 w 352221"/>
                <a:gd name="connsiteY9" fmla="*/ 129117 h 563538"/>
                <a:gd name="connsiteX10" fmla="*/ 267479 w 352221"/>
                <a:gd name="connsiteY10" fmla="*/ 37672 h 563538"/>
                <a:gd name="connsiteX11" fmla="*/ 176110 w 352221"/>
                <a:gd name="connsiteY11" fmla="*/ 0 h 563538"/>
                <a:gd name="connsiteX12" fmla="*/ 46994 w 352221"/>
                <a:gd name="connsiteY12" fmla="*/ 129117 h 563538"/>
                <a:gd name="connsiteX13" fmla="*/ 46994 w 352221"/>
                <a:gd name="connsiteY13" fmla="*/ 267864 h 563538"/>
                <a:gd name="connsiteX14" fmla="*/ 0 w 352221"/>
                <a:gd name="connsiteY14" fmla="*/ 387428 h 563538"/>
                <a:gd name="connsiteX15" fmla="*/ 176110 w 352221"/>
                <a:gd name="connsiteY15" fmla="*/ 563539 h 563538"/>
                <a:gd name="connsiteX16" fmla="*/ 352221 w 352221"/>
                <a:gd name="connsiteY16" fmla="*/ 387428 h 563538"/>
                <a:gd name="connsiteX17" fmla="*/ 176110 w 352221"/>
                <a:gd name="connsiteY17" fmla="*/ 211317 h 563538"/>
                <a:gd name="connsiteX18" fmla="*/ 176110 w 352221"/>
                <a:gd name="connsiteY18" fmla="*/ 540042 h 563538"/>
                <a:gd name="connsiteX19" fmla="*/ 23497 w 352221"/>
                <a:gd name="connsiteY19" fmla="*/ 387428 h 563538"/>
                <a:gd name="connsiteX20" fmla="*/ 67024 w 352221"/>
                <a:gd name="connsiteY20" fmla="*/ 280883 h 563538"/>
                <a:gd name="connsiteX21" fmla="*/ 67024 w 352221"/>
                <a:gd name="connsiteY21" fmla="*/ 280883 h 563538"/>
                <a:gd name="connsiteX22" fmla="*/ 176110 w 352221"/>
                <a:gd name="connsiteY22" fmla="*/ 234814 h 563538"/>
                <a:gd name="connsiteX23" fmla="*/ 328724 w 352221"/>
                <a:gd name="connsiteY23" fmla="*/ 387428 h 563538"/>
                <a:gd name="connsiteX24" fmla="*/ 176110 w 352221"/>
                <a:gd name="connsiteY24" fmla="*/ 540042 h 563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2221" h="563538">
                  <a:moveTo>
                    <a:pt x="176110" y="211317"/>
                  </a:moveTo>
                  <a:cubicBezTo>
                    <a:pt x="136513" y="211317"/>
                    <a:pt x="99919" y="224491"/>
                    <a:pt x="70413" y="246601"/>
                  </a:cubicBezTo>
                  <a:lnTo>
                    <a:pt x="70413" y="129117"/>
                  </a:lnTo>
                  <a:cubicBezTo>
                    <a:pt x="70413" y="70876"/>
                    <a:pt x="117792" y="23420"/>
                    <a:pt x="176110" y="23420"/>
                  </a:cubicBezTo>
                  <a:cubicBezTo>
                    <a:pt x="204230" y="23420"/>
                    <a:pt x="230808" y="34359"/>
                    <a:pt x="250915" y="54235"/>
                  </a:cubicBezTo>
                  <a:cubicBezTo>
                    <a:pt x="270868" y="74342"/>
                    <a:pt x="281808" y="100998"/>
                    <a:pt x="281808" y="129117"/>
                  </a:cubicBezTo>
                  <a:lnTo>
                    <a:pt x="281808" y="152614"/>
                  </a:lnTo>
                  <a:cubicBezTo>
                    <a:pt x="281808" y="159085"/>
                    <a:pt x="287046" y="164324"/>
                    <a:pt x="293518" y="164324"/>
                  </a:cubicBezTo>
                  <a:cubicBezTo>
                    <a:pt x="299989" y="164324"/>
                    <a:pt x="305228" y="159085"/>
                    <a:pt x="305228" y="152614"/>
                  </a:cubicBezTo>
                  <a:lnTo>
                    <a:pt x="305228" y="129117"/>
                  </a:lnTo>
                  <a:cubicBezTo>
                    <a:pt x="305228" y="94758"/>
                    <a:pt x="291823" y="62324"/>
                    <a:pt x="267479" y="37672"/>
                  </a:cubicBezTo>
                  <a:cubicBezTo>
                    <a:pt x="242903" y="13405"/>
                    <a:pt x="210470" y="0"/>
                    <a:pt x="176110" y="0"/>
                  </a:cubicBezTo>
                  <a:cubicBezTo>
                    <a:pt x="104927" y="0"/>
                    <a:pt x="46994" y="57933"/>
                    <a:pt x="46994" y="129117"/>
                  </a:cubicBezTo>
                  <a:lnTo>
                    <a:pt x="46994" y="267864"/>
                  </a:lnTo>
                  <a:cubicBezTo>
                    <a:pt x="17873" y="299296"/>
                    <a:pt x="0" y="341282"/>
                    <a:pt x="0" y="387428"/>
                  </a:cubicBezTo>
                  <a:cubicBezTo>
                    <a:pt x="0" y="484574"/>
                    <a:pt x="79042" y="563539"/>
                    <a:pt x="176110" y="563539"/>
                  </a:cubicBezTo>
                  <a:cubicBezTo>
                    <a:pt x="273179" y="563539"/>
                    <a:pt x="352221" y="484497"/>
                    <a:pt x="352221" y="387428"/>
                  </a:cubicBezTo>
                  <a:cubicBezTo>
                    <a:pt x="352221" y="290359"/>
                    <a:pt x="273179" y="211317"/>
                    <a:pt x="176110" y="211317"/>
                  </a:cubicBezTo>
                  <a:close/>
                  <a:moveTo>
                    <a:pt x="176110" y="540042"/>
                  </a:moveTo>
                  <a:cubicBezTo>
                    <a:pt x="91907" y="540042"/>
                    <a:pt x="23497" y="471554"/>
                    <a:pt x="23497" y="387428"/>
                  </a:cubicBezTo>
                  <a:cubicBezTo>
                    <a:pt x="23497" y="345981"/>
                    <a:pt x="40137" y="308463"/>
                    <a:pt x="67024" y="280883"/>
                  </a:cubicBezTo>
                  <a:cubicBezTo>
                    <a:pt x="67024" y="280883"/>
                    <a:pt x="67024" y="280883"/>
                    <a:pt x="67024" y="280883"/>
                  </a:cubicBezTo>
                  <a:cubicBezTo>
                    <a:pt x="94758" y="252533"/>
                    <a:pt x="133354" y="234814"/>
                    <a:pt x="176110" y="234814"/>
                  </a:cubicBezTo>
                  <a:cubicBezTo>
                    <a:pt x="260314" y="234814"/>
                    <a:pt x="328724" y="303302"/>
                    <a:pt x="328724" y="387428"/>
                  </a:cubicBezTo>
                  <a:cubicBezTo>
                    <a:pt x="328724" y="471554"/>
                    <a:pt x="260237" y="540042"/>
                    <a:pt x="176110" y="540042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21671749-1646-41FE-9302-6C7AD6E61AAE}"/>
                </a:ext>
              </a:extLst>
            </p:cNvPr>
            <p:cNvSpPr/>
            <p:nvPr/>
          </p:nvSpPr>
          <p:spPr>
            <a:xfrm>
              <a:off x="9119396" y="3914001"/>
              <a:ext cx="93833" cy="142906"/>
            </a:xfrm>
            <a:custGeom>
              <a:avLst/>
              <a:gdLst>
                <a:gd name="connsiteX0" fmla="*/ 46993 w 93833"/>
                <a:gd name="connsiteY0" fmla="*/ 0 h 142906"/>
                <a:gd name="connsiteX1" fmla="*/ 0 w 93833"/>
                <a:gd name="connsiteY1" fmla="*/ 46994 h 142906"/>
                <a:gd name="connsiteX2" fmla="*/ 35207 w 93833"/>
                <a:gd name="connsiteY2" fmla="*/ 92447 h 142906"/>
                <a:gd name="connsiteX3" fmla="*/ 35207 w 93833"/>
                <a:gd name="connsiteY3" fmla="*/ 131197 h 142906"/>
                <a:gd name="connsiteX4" fmla="*/ 46917 w 93833"/>
                <a:gd name="connsiteY4" fmla="*/ 142907 h 142906"/>
                <a:gd name="connsiteX5" fmla="*/ 58626 w 93833"/>
                <a:gd name="connsiteY5" fmla="*/ 131197 h 142906"/>
                <a:gd name="connsiteX6" fmla="*/ 58626 w 93833"/>
                <a:gd name="connsiteY6" fmla="*/ 92447 h 142906"/>
                <a:gd name="connsiteX7" fmla="*/ 93833 w 93833"/>
                <a:gd name="connsiteY7" fmla="*/ 46994 h 142906"/>
                <a:gd name="connsiteX8" fmla="*/ 46839 w 93833"/>
                <a:gd name="connsiteY8" fmla="*/ 0 h 142906"/>
                <a:gd name="connsiteX9" fmla="*/ 46993 w 93833"/>
                <a:gd name="connsiteY9" fmla="*/ 70413 h 142906"/>
                <a:gd name="connsiteX10" fmla="*/ 23497 w 93833"/>
                <a:gd name="connsiteY10" fmla="*/ 46917 h 142906"/>
                <a:gd name="connsiteX11" fmla="*/ 46993 w 93833"/>
                <a:gd name="connsiteY11" fmla="*/ 23420 h 142906"/>
                <a:gd name="connsiteX12" fmla="*/ 70490 w 93833"/>
                <a:gd name="connsiteY12" fmla="*/ 46917 h 142906"/>
                <a:gd name="connsiteX13" fmla="*/ 46993 w 93833"/>
                <a:gd name="connsiteY13" fmla="*/ 70413 h 14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833" h="142906">
                  <a:moveTo>
                    <a:pt x="46993" y="0"/>
                  </a:moveTo>
                  <a:cubicBezTo>
                    <a:pt x="21109" y="0"/>
                    <a:pt x="0" y="21032"/>
                    <a:pt x="0" y="46994"/>
                  </a:cubicBezTo>
                  <a:cubicBezTo>
                    <a:pt x="0" y="68796"/>
                    <a:pt x="15022" y="87208"/>
                    <a:pt x="35207" y="92447"/>
                  </a:cubicBezTo>
                  <a:lnTo>
                    <a:pt x="35207" y="131197"/>
                  </a:lnTo>
                  <a:cubicBezTo>
                    <a:pt x="35207" y="137668"/>
                    <a:pt x="40445" y="142907"/>
                    <a:pt x="46917" y="142907"/>
                  </a:cubicBezTo>
                  <a:cubicBezTo>
                    <a:pt x="53388" y="142907"/>
                    <a:pt x="58626" y="137668"/>
                    <a:pt x="58626" y="131197"/>
                  </a:cubicBezTo>
                  <a:lnTo>
                    <a:pt x="58626" y="92447"/>
                  </a:lnTo>
                  <a:cubicBezTo>
                    <a:pt x="78810" y="87208"/>
                    <a:pt x="93833" y="68873"/>
                    <a:pt x="93833" y="46994"/>
                  </a:cubicBezTo>
                  <a:cubicBezTo>
                    <a:pt x="93833" y="21109"/>
                    <a:pt x="72801" y="0"/>
                    <a:pt x="46839" y="0"/>
                  </a:cubicBezTo>
                  <a:close/>
                  <a:moveTo>
                    <a:pt x="46993" y="70413"/>
                  </a:moveTo>
                  <a:cubicBezTo>
                    <a:pt x="34051" y="70413"/>
                    <a:pt x="23497" y="59859"/>
                    <a:pt x="23497" y="46917"/>
                  </a:cubicBezTo>
                  <a:cubicBezTo>
                    <a:pt x="23497" y="33974"/>
                    <a:pt x="34051" y="23420"/>
                    <a:pt x="46993" y="23420"/>
                  </a:cubicBezTo>
                  <a:cubicBezTo>
                    <a:pt x="59936" y="23420"/>
                    <a:pt x="70490" y="33974"/>
                    <a:pt x="70490" y="46917"/>
                  </a:cubicBezTo>
                  <a:cubicBezTo>
                    <a:pt x="70490" y="59859"/>
                    <a:pt x="59936" y="70413"/>
                    <a:pt x="46993" y="70413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0" name="Graphic 115">
            <a:extLst>
              <a:ext uri="{FF2B5EF4-FFF2-40B4-BE49-F238E27FC236}">
                <a16:creationId xmlns:a16="http://schemas.microsoft.com/office/drawing/2014/main" id="{9CDC17D8-B56C-4DCE-976E-8166676AA783}"/>
              </a:ext>
            </a:extLst>
          </p:cNvPr>
          <p:cNvGrpSpPr/>
          <p:nvPr/>
        </p:nvGrpSpPr>
        <p:grpSpPr>
          <a:xfrm>
            <a:off x="7832078" y="2735385"/>
            <a:ext cx="563615" cy="563615"/>
            <a:chOff x="7832078" y="2735385"/>
            <a:chExt cx="563615" cy="563615"/>
          </a:xfrm>
          <a:solidFill>
            <a:schemeClr val="tx2"/>
          </a:solidFill>
        </p:grpSpPr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025BD663-EF40-4F69-B3D2-9CCC2C28DD98}"/>
                </a:ext>
              </a:extLst>
            </p:cNvPr>
            <p:cNvSpPr/>
            <p:nvPr/>
          </p:nvSpPr>
          <p:spPr>
            <a:xfrm>
              <a:off x="7832078" y="2735385"/>
              <a:ext cx="563615" cy="563615"/>
            </a:xfrm>
            <a:custGeom>
              <a:avLst/>
              <a:gdLst>
                <a:gd name="connsiteX0" fmla="*/ 554679 w 563615"/>
                <a:gd name="connsiteY0" fmla="*/ 235199 h 563615"/>
                <a:gd name="connsiteX1" fmla="*/ 482956 w 563615"/>
                <a:gd name="connsiteY1" fmla="*/ 217326 h 563615"/>
                <a:gd name="connsiteX2" fmla="*/ 469628 w 563615"/>
                <a:gd name="connsiteY2" fmla="*/ 185201 h 563615"/>
                <a:gd name="connsiteX3" fmla="*/ 507762 w 563615"/>
                <a:gd name="connsiteY3" fmla="*/ 121798 h 563615"/>
                <a:gd name="connsiteX4" fmla="*/ 505991 w 563615"/>
                <a:gd name="connsiteY4" fmla="*/ 107469 h 563615"/>
                <a:gd name="connsiteX5" fmla="*/ 456146 w 563615"/>
                <a:gd name="connsiteY5" fmla="*/ 57625 h 563615"/>
                <a:gd name="connsiteX6" fmla="*/ 441817 w 563615"/>
                <a:gd name="connsiteY6" fmla="*/ 55853 h 563615"/>
                <a:gd name="connsiteX7" fmla="*/ 378414 w 563615"/>
                <a:gd name="connsiteY7" fmla="*/ 93987 h 563615"/>
                <a:gd name="connsiteX8" fmla="*/ 346289 w 563615"/>
                <a:gd name="connsiteY8" fmla="*/ 80660 h 563615"/>
                <a:gd name="connsiteX9" fmla="*/ 328416 w 563615"/>
                <a:gd name="connsiteY9" fmla="*/ 8936 h 563615"/>
                <a:gd name="connsiteX10" fmla="*/ 317014 w 563615"/>
                <a:gd name="connsiteY10" fmla="*/ 0 h 563615"/>
                <a:gd name="connsiteX11" fmla="*/ 246601 w 563615"/>
                <a:gd name="connsiteY11" fmla="*/ 0 h 563615"/>
                <a:gd name="connsiteX12" fmla="*/ 235199 w 563615"/>
                <a:gd name="connsiteY12" fmla="*/ 8936 h 563615"/>
                <a:gd name="connsiteX13" fmla="*/ 217326 w 563615"/>
                <a:gd name="connsiteY13" fmla="*/ 80660 h 563615"/>
                <a:gd name="connsiteX14" fmla="*/ 185201 w 563615"/>
                <a:gd name="connsiteY14" fmla="*/ 93987 h 563615"/>
                <a:gd name="connsiteX15" fmla="*/ 121798 w 563615"/>
                <a:gd name="connsiteY15" fmla="*/ 55853 h 563615"/>
                <a:gd name="connsiteX16" fmla="*/ 107469 w 563615"/>
                <a:gd name="connsiteY16" fmla="*/ 57625 h 563615"/>
                <a:gd name="connsiteX17" fmla="*/ 57625 w 563615"/>
                <a:gd name="connsiteY17" fmla="*/ 107469 h 563615"/>
                <a:gd name="connsiteX18" fmla="*/ 55853 w 563615"/>
                <a:gd name="connsiteY18" fmla="*/ 121798 h 563615"/>
                <a:gd name="connsiteX19" fmla="*/ 93987 w 563615"/>
                <a:gd name="connsiteY19" fmla="*/ 185201 h 563615"/>
                <a:gd name="connsiteX20" fmla="*/ 80660 w 563615"/>
                <a:gd name="connsiteY20" fmla="*/ 217326 h 563615"/>
                <a:gd name="connsiteX21" fmla="*/ 8936 w 563615"/>
                <a:gd name="connsiteY21" fmla="*/ 235199 h 563615"/>
                <a:gd name="connsiteX22" fmla="*/ 0 w 563615"/>
                <a:gd name="connsiteY22" fmla="*/ 246601 h 563615"/>
                <a:gd name="connsiteX23" fmla="*/ 0 w 563615"/>
                <a:gd name="connsiteY23" fmla="*/ 317015 h 563615"/>
                <a:gd name="connsiteX24" fmla="*/ 8936 w 563615"/>
                <a:gd name="connsiteY24" fmla="*/ 328416 h 563615"/>
                <a:gd name="connsiteX25" fmla="*/ 80660 w 563615"/>
                <a:gd name="connsiteY25" fmla="*/ 346289 h 563615"/>
                <a:gd name="connsiteX26" fmla="*/ 93987 w 563615"/>
                <a:gd name="connsiteY26" fmla="*/ 378414 h 563615"/>
                <a:gd name="connsiteX27" fmla="*/ 55853 w 563615"/>
                <a:gd name="connsiteY27" fmla="*/ 441817 h 563615"/>
                <a:gd name="connsiteX28" fmla="*/ 57625 w 563615"/>
                <a:gd name="connsiteY28" fmla="*/ 456147 h 563615"/>
                <a:gd name="connsiteX29" fmla="*/ 107469 w 563615"/>
                <a:gd name="connsiteY29" fmla="*/ 505991 h 563615"/>
                <a:gd name="connsiteX30" fmla="*/ 121798 w 563615"/>
                <a:gd name="connsiteY30" fmla="*/ 507763 h 563615"/>
                <a:gd name="connsiteX31" fmla="*/ 185201 w 563615"/>
                <a:gd name="connsiteY31" fmla="*/ 469628 h 563615"/>
                <a:gd name="connsiteX32" fmla="*/ 217326 w 563615"/>
                <a:gd name="connsiteY32" fmla="*/ 482956 h 563615"/>
                <a:gd name="connsiteX33" fmla="*/ 235199 w 563615"/>
                <a:gd name="connsiteY33" fmla="*/ 554679 h 563615"/>
                <a:gd name="connsiteX34" fmla="*/ 246601 w 563615"/>
                <a:gd name="connsiteY34" fmla="*/ 563616 h 563615"/>
                <a:gd name="connsiteX35" fmla="*/ 317014 w 563615"/>
                <a:gd name="connsiteY35" fmla="*/ 563616 h 563615"/>
                <a:gd name="connsiteX36" fmla="*/ 328416 w 563615"/>
                <a:gd name="connsiteY36" fmla="*/ 554679 h 563615"/>
                <a:gd name="connsiteX37" fmla="*/ 346289 w 563615"/>
                <a:gd name="connsiteY37" fmla="*/ 482956 h 563615"/>
                <a:gd name="connsiteX38" fmla="*/ 378414 w 563615"/>
                <a:gd name="connsiteY38" fmla="*/ 469628 h 563615"/>
                <a:gd name="connsiteX39" fmla="*/ 441817 w 563615"/>
                <a:gd name="connsiteY39" fmla="*/ 507763 h 563615"/>
                <a:gd name="connsiteX40" fmla="*/ 456146 w 563615"/>
                <a:gd name="connsiteY40" fmla="*/ 505991 h 563615"/>
                <a:gd name="connsiteX41" fmla="*/ 505991 w 563615"/>
                <a:gd name="connsiteY41" fmla="*/ 456147 h 563615"/>
                <a:gd name="connsiteX42" fmla="*/ 507762 w 563615"/>
                <a:gd name="connsiteY42" fmla="*/ 441817 h 563615"/>
                <a:gd name="connsiteX43" fmla="*/ 469628 w 563615"/>
                <a:gd name="connsiteY43" fmla="*/ 378414 h 563615"/>
                <a:gd name="connsiteX44" fmla="*/ 482956 w 563615"/>
                <a:gd name="connsiteY44" fmla="*/ 346289 h 563615"/>
                <a:gd name="connsiteX45" fmla="*/ 554679 w 563615"/>
                <a:gd name="connsiteY45" fmla="*/ 328416 h 563615"/>
                <a:gd name="connsiteX46" fmla="*/ 563615 w 563615"/>
                <a:gd name="connsiteY46" fmla="*/ 317015 h 563615"/>
                <a:gd name="connsiteX47" fmla="*/ 563615 w 563615"/>
                <a:gd name="connsiteY47" fmla="*/ 246601 h 563615"/>
                <a:gd name="connsiteX48" fmla="*/ 554679 w 563615"/>
                <a:gd name="connsiteY48" fmla="*/ 235199 h 563615"/>
                <a:gd name="connsiteX49" fmla="*/ 540119 w 563615"/>
                <a:gd name="connsiteY49" fmla="*/ 307847 h 563615"/>
                <a:gd name="connsiteX50" fmla="*/ 470784 w 563615"/>
                <a:gd name="connsiteY50" fmla="*/ 325104 h 563615"/>
                <a:gd name="connsiteX51" fmla="*/ 462310 w 563615"/>
                <a:gd name="connsiteY51" fmla="*/ 333347 h 563615"/>
                <a:gd name="connsiteX52" fmla="*/ 445823 w 563615"/>
                <a:gd name="connsiteY52" fmla="*/ 372945 h 563615"/>
                <a:gd name="connsiteX53" fmla="*/ 446208 w 563615"/>
                <a:gd name="connsiteY53" fmla="*/ 385194 h 563615"/>
                <a:gd name="connsiteX54" fmla="*/ 446594 w 563615"/>
                <a:gd name="connsiteY54" fmla="*/ 385733 h 563615"/>
                <a:gd name="connsiteX55" fmla="*/ 482802 w 563615"/>
                <a:gd name="connsiteY55" fmla="*/ 446054 h 563615"/>
                <a:gd name="connsiteX56" fmla="*/ 445977 w 563615"/>
                <a:gd name="connsiteY56" fmla="*/ 482879 h 563615"/>
                <a:gd name="connsiteX57" fmla="*/ 386041 w 563615"/>
                <a:gd name="connsiteY57" fmla="*/ 446825 h 563615"/>
                <a:gd name="connsiteX58" fmla="*/ 385117 w 563615"/>
                <a:gd name="connsiteY58" fmla="*/ 446209 h 563615"/>
                <a:gd name="connsiteX59" fmla="*/ 372868 w 563615"/>
                <a:gd name="connsiteY59" fmla="*/ 445823 h 563615"/>
                <a:gd name="connsiteX60" fmla="*/ 333270 w 563615"/>
                <a:gd name="connsiteY60" fmla="*/ 462310 h 563615"/>
                <a:gd name="connsiteX61" fmla="*/ 325027 w 563615"/>
                <a:gd name="connsiteY61" fmla="*/ 470784 h 563615"/>
                <a:gd name="connsiteX62" fmla="*/ 307770 w 563615"/>
                <a:gd name="connsiteY62" fmla="*/ 540119 h 563615"/>
                <a:gd name="connsiteX63" fmla="*/ 255692 w 563615"/>
                <a:gd name="connsiteY63" fmla="*/ 540119 h 563615"/>
                <a:gd name="connsiteX64" fmla="*/ 238435 w 563615"/>
                <a:gd name="connsiteY64" fmla="*/ 470784 h 563615"/>
                <a:gd name="connsiteX65" fmla="*/ 230192 w 563615"/>
                <a:gd name="connsiteY65" fmla="*/ 462310 h 563615"/>
                <a:gd name="connsiteX66" fmla="*/ 190594 w 563615"/>
                <a:gd name="connsiteY66" fmla="*/ 445823 h 563615"/>
                <a:gd name="connsiteX67" fmla="*/ 178345 w 563615"/>
                <a:gd name="connsiteY67" fmla="*/ 446209 h 563615"/>
                <a:gd name="connsiteX68" fmla="*/ 177805 w 563615"/>
                <a:gd name="connsiteY68" fmla="*/ 446594 h 563615"/>
                <a:gd name="connsiteX69" fmla="*/ 117484 w 563615"/>
                <a:gd name="connsiteY69" fmla="*/ 482802 h 563615"/>
                <a:gd name="connsiteX70" fmla="*/ 80660 w 563615"/>
                <a:gd name="connsiteY70" fmla="*/ 445977 h 563615"/>
                <a:gd name="connsiteX71" fmla="*/ 116714 w 563615"/>
                <a:gd name="connsiteY71" fmla="*/ 386041 h 563615"/>
                <a:gd name="connsiteX72" fmla="*/ 117330 w 563615"/>
                <a:gd name="connsiteY72" fmla="*/ 385117 h 563615"/>
                <a:gd name="connsiteX73" fmla="*/ 117715 w 563615"/>
                <a:gd name="connsiteY73" fmla="*/ 372868 h 563615"/>
                <a:gd name="connsiteX74" fmla="*/ 101229 w 563615"/>
                <a:gd name="connsiteY74" fmla="*/ 333270 h 563615"/>
                <a:gd name="connsiteX75" fmla="*/ 92755 w 563615"/>
                <a:gd name="connsiteY75" fmla="*/ 325027 h 563615"/>
                <a:gd name="connsiteX76" fmla="*/ 23420 w 563615"/>
                <a:gd name="connsiteY76" fmla="*/ 307770 h 563615"/>
                <a:gd name="connsiteX77" fmla="*/ 23420 w 563615"/>
                <a:gd name="connsiteY77" fmla="*/ 255692 h 563615"/>
                <a:gd name="connsiteX78" fmla="*/ 92755 w 563615"/>
                <a:gd name="connsiteY78" fmla="*/ 238435 h 563615"/>
                <a:gd name="connsiteX79" fmla="*/ 101229 w 563615"/>
                <a:gd name="connsiteY79" fmla="*/ 230192 h 563615"/>
                <a:gd name="connsiteX80" fmla="*/ 117715 w 563615"/>
                <a:gd name="connsiteY80" fmla="*/ 190594 h 563615"/>
                <a:gd name="connsiteX81" fmla="*/ 117330 w 563615"/>
                <a:gd name="connsiteY81" fmla="*/ 178345 h 563615"/>
                <a:gd name="connsiteX82" fmla="*/ 116714 w 563615"/>
                <a:gd name="connsiteY82" fmla="*/ 177420 h 563615"/>
                <a:gd name="connsiteX83" fmla="*/ 80660 w 563615"/>
                <a:gd name="connsiteY83" fmla="*/ 117484 h 563615"/>
                <a:gd name="connsiteX84" fmla="*/ 117484 w 563615"/>
                <a:gd name="connsiteY84" fmla="*/ 80660 h 563615"/>
                <a:gd name="connsiteX85" fmla="*/ 177420 w 563615"/>
                <a:gd name="connsiteY85" fmla="*/ 116714 h 563615"/>
                <a:gd name="connsiteX86" fmla="*/ 178345 w 563615"/>
                <a:gd name="connsiteY86" fmla="*/ 117330 h 563615"/>
                <a:gd name="connsiteX87" fmla="*/ 190594 w 563615"/>
                <a:gd name="connsiteY87" fmla="*/ 117715 h 563615"/>
                <a:gd name="connsiteX88" fmla="*/ 230192 w 563615"/>
                <a:gd name="connsiteY88" fmla="*/ 101229 h 563615"/>
                <a:gd name="connsiteX89" fmla="*/ 238435 w 563615"/>
                <a:gd name="connsiteY89" fmla="*/ 92755 h 563615"/>
                <a:gd name="connsiteX90" fmla="*/ 255692 w 563615"/>
                <a:gd name="connsiteY90" fmla="*/ 23420 h 563615"/>
                <a:gd name="connsiteX91" fmla="*/ 307770 w 563615"/>
                <a:gd name="connsiteY91" fmla="*/ 23420 h 563615"/>
                <a:gd name="connsiteX92" fmla="*/ 325027 w 563615"/>
                <a:gd name="connsiteY92" fmla="*/ 92755 h 563615"/>
                <a:gd name="connsiteX93" fmla="*/ 333270 w 563615"/>
                <a:gd name="connsiteY93" fmla="*/ 101229 h 563615"/>
                <a:gd name="connsiteX94" fmla="*/ 372868 w 563615"/>
                <a:gd name="connsiteY94" fmla="*/ 117715 h 563615"/>
                <a:gd name="connsiteX95" fmla="*/ 385117 w 563615"/>
                <a:gd name="connsiteY95" fmla="*/ 117330 h 563615"/>
                <a:gd name="connsiteX96" fmla="*/ 385656 w 563615"/>
                <a:gd name="connsiteY96" fmla="*/ 116945 h 563615"/>
                <a:gd name="connsiteX97" fmla="*/ 445977 w 563615"/>
                <a:gd name="connsiteY97" fmla="*/ 80737 h 563615"/>
                <a:gd name="connsiteX98" fmla="*/ 482802 w 563615"/>
                <a:gd name="connsiteY98" fmla="*/ 117561 h 563615"/>
                <a:gd name="connsiteX99" fmla="*/ 446748 w 563615"/>
                <a:gd name="connsiteY99" fmla="*/ 177497 h 563615"/>
                <a:gd name="connsiteX100" fmla="*/ 446131 w 563615"/>
                <a:gd name="connsiteY100" fmla="*/ 178422 h 563615"/>
                <a:gd name="connsiteX101" fmla="*/ 445746 w 563615"/>
                <a:gd name="connsiteY101" fmla="*/ 190671 h 563615"/>
                <a:gd name="connsiteX102" fmla="*/ 462233 w 563615"/>
                <a:gd name="connsiteY102" fmla="*/ 230269 h 563615"/>
                <a:gd name="connsiteX103" fmla="*/ 470707 w 563615"/>
                <a:gd name="connsiteY103" fmla="*/ 238512 h 563615"/>
                <a:gd name="connsiteX104" fmla="*/ 540042 w 563615"/>
                <a:gd name="connsiteY104" fmla="*/ 255769 h 563615"/>
                <a:gd name="connsiteX105" fmla="*/ 540042 w 563615"/>
                <a:gd name="connsiteY105" fmla="*/ 307847 h 56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563615" h="563615">
                  <a:moveTo>
                    <a:pt x="554679" y="235199"/>
                  </a:moveTo>
                  <a:lnTo>
                    <a:pt x="482956" y="217326"/>
                  </a:lnTo>
                  <a:cubicBezTo>
                    <a:pt x="479412" y="206156"/>
                    <a:pt x="474944" y="195370"/>
                    <a:pt x="469628" y="185201"/>
                  </a:cubicBezTo>
                  <a:lnTo>
                    <a:pt x="507762" y="121798"/>
                  </a:lnTo>
                  <a:cubicBezTo>
                    <a:pt x="510536" y="117176"/>
                    <a:pt x="509842" y="111244"/>
                    <a:pt x="505991" y="107469"/>
                  </a:cubicBezTo>
                  <a:lnTo>
                    <a:pt x="456146" y="57625"/>
                  </a:lnTo>
                  <a:cubicBezTo>
                    <a:pt x="452372" y="53850"/>
                    <a:pt x="446440" y="53080"/>
                    <a:pt x="441817" y="55853"/>
                  </a:cubicBezTo>
                  <a:lnTo>
                    <a:pt x="378414" y="93987"/>
                  </a:lnTo>
                  <a:cubicBezTo>
                    <a:pt x="368245" y="88672"/>
                    <a:pt x="357460" y="84203"/>
                    <a:pt x="346289" y="80660"/>
                  </a:cubicBezTo>
                  <a:lnTo>
                    <a:pt x="328416" y="8936"/>
                  </a:lnTo>
                  <a:cubicBezTo>
                    <a:pt x="327107" y="3698"/>
                    <a:pt x="322407" y="0"/>
                    <a:pt x="317014" y="0"/>
                  </a:cubicBezTo>
                  <a:lnTo>
                    <a:pt x="246601" y="0"/>
                  </a:lnTo>
                  <a:cubicBezTo>
                    <a:pt x="241208" y="0"/>
                    <a:pt x="236509" y="3698"/>
                    <a:pt x="235199" y="8936"/>
                  </a:cubicBezTo>
                  <a:lnTo>
                    <a:pt x="217326" y="80660"/>
                  </a:lnTo>
                  <a:cubicBezTo>
                    <a:pt x="206156" y="84203"/>
                    <a:pt x="195370" y="88672"/>
                    <a:pt x="185201" y="93987"/>
                  </a:cubicBezTo>
                  <a:lnTo>
                    <a:pt x="121798" y="55853"/>
                  </a:lnTo>
                  <a:cubicBezTo>
                    <a:pt x="117176" y="53080"/>
                    <a:pt x="111244" y="53773"/>
                    <a:pt x="107469" y="57625"/>
                  </a:cubicBezTo>
                  <a:lnTo>
                    <a:pt x="57625" y="107469"/>
                  </a:lnTo>
                  <a:cubicBezTo>
                    <a:pt x="53773" y="111244"/>
                    <a:pt x="53080" y="117176"/>
                    <a:pt x="55853" y="121798"/>
                  </a:cubicBezTo>
                  <a:lnTo>
                    <a:pt x="93987" y="185201"/>
                  </a:lnTo>
                  <a:cubicBezTo>
                    <a:pt x="88672" y="195370"/>
                    <a:pt x="84203" y="206156"/>
                    <a:pt x="80660" y="217326"/>
                  </a:cubicBezTo>
                  <a:lnTo>
                    <a:pt x="8936" y="235199"/>
                  </a:lnTo>
                  <a:cubicBezTo>
                    <a:pt x="3698" y="236509"/>
                    <a:pt x="0" y="241208"/>
                    <a:pt x="0" y="246601"/>
                  </a:cubicBezTo>
                  <a:lnTo>
                    <a:pt x="0" y="317015"/>
                  </a:lnTo>
                  <a:cubicBezTo>
                    <a:pt x="0" y="322407"/>
                    <a:pt x="3698" y="327107"/>
                    <a:pt x="8936" y="328416"/>
                  </a:cubicBezTo>
                  <a:lnTo>
                    <a:pt x="80660" y="346289"/>
                  </a:lnTo>
                  <a:cubicBezTo>
                    <a:pt x="84203" y="357460"/>
                    <a:pt x="88672" y="368245"/>
                    <a:pt x="93987" y="378414"/>
                  </a:cubicBezTo>
                  <a:lnTo>
                    <a:pt x="55853" y="441817"/>
                  </a:lnTo>
                  <a:cubicBezTo>
                    <a:pt x="53080" y="446440"/>
                    <a:pt x="53773" y="452372"/>
                    <a:pt x="57625" y="456147"/>
                  </a:cubicBezTo>
                  <a:lnTo>
                    <a:pt x="107469" y="505991"/>
                  </a:lnTo>
                  <a:cubicBezTo>
                    <a:pt x="111321" y="509843"/>
                    <a:pt x="117176" y="510536"/>
                    <a:pt x="121798" y="507763"/>
                  </a:cubicBezTo>
                  <a:lnTo>
                    <a:pt x="185201" y="469628"/>
                  </a:lnTo>
                  <a:cubicBezTo>
                    <a:pt x="195370" y="474944"/>
                    <a:pt x="206156" y="479412"/>
                    <a:pt x="217326" y="482956"/>
                  </a:cubicBezTo>
                  <a:lnTo>
                    <a:pt x="235199" y="554679"/>
                  </a:lnTo>
                  <a:cubicBezTo>
                    <a:pt x="236509" y="559918"/>
                    <a:pt x="241208" y="563616"/>
                    <a:pt x="246601" y="563616"/>
                  </a:cubicBezTo>
                  <a:lnTo>
                    <a:pt x="317014" y="563616"/>
                  </a:lnTo>
                  <a:cubicBezTo>
                    <a:pt x="322407" y="563616"/>
                    <a:pt x="327107" y="559918"/>
                    <a:pt x="328416" y="554679"/>
                  </a:cubicBezTo>
                  <a:lnTo>
                    <a:pt x="346289" y="482956"/>
                  </a:lnTo>
                  <a:cubicBezTo>
                    <a:pt x="357460" y="479412"/>
                    <a:pt x="368245" y="474944"/>
                    <a:pt x="378414" y="469628"/>
                  </a:cubicBezTo>
                  <a:lnTo>
                    <a:pt x="441817" y="507763"/>
                  </a:lnTo>
                  <a:cubicBezTo>
                    <a:pt x="446440" y="510536"/>
                    <a:pt x="452372" y="509843"/>
                    <a:pt x="456146" y="505991"/>
                  </a:cubicBezTo>
                  <a:lnTo>
                    <a:pt x="505991" y="456147"/>
                  </a:lnTo>
                  <a:cubicBezTo>
                    <a:pt x="509842" y="452372"/>
                    <a:pt x="510536" y="446440"/>
                    <a:pt x="507762" y="441817"/>
                  </a:cubicBezTo>
                  <a:lnTo>
                    <a:pt x="469628" y="378414"/>
                  </a:lnTo>
                  <a:cubicBezTo>
                    <a:pt x="474944" y="368245"/>
                    <a:pt x="479412" y="357460"/>
                    <a:pt x="482956" y="346289"/>
                  </a:cubicBezTo>
                  <a:lnTo>
                    <a:pt x="554679" y="328416"/>
                  </a:lnTo>
                  <a:cubicBezTo>
                    <a:pt x="559918" y="327107"/>
                    <a:pt x="563615" y="322407"/>
                    <a:pt x="563615" y="317015"/>
                  </a:cubicBezTo>
                  <a:lnTo>
                    <a:pt x="563615" y="246601"/>
                  </a:lnTo>
                  <a:cubicBezTo>
                    <a:pt x="563615" y="241208"/>
                    <a:pt x="559918" y="236509"/>
                    <a:pt x="554679" y="235199"/>
                  </a:cubicBezTo>
                  <a:close/>
                  <a:moveTo>
                    <a:pt x="540119" y="307847"/>
                  </a:moveTo>
                  <a:lnTo>
                    <a:pt x="470784" y="325104"/>
                  </a:lnTo>
                  <a:cubicBezTo>
                    <a:pt x="466701" y="326105"/>
                    <a:pt x="463465" y="329264"/>
                    <a:pt x="462310" y="333347"/>
                  </a:cubicBezTo>
                  <a:cubicBezTo>
                    <a:pt x="458381" y="347368"/>
                    <a:pt x="452834" y="360696"/>
                    <a:pt x="445823" y="372945"/>
                  </a:cubicBezTo>
                  <a:cubicBezTo>
                    <a:pt x="443666" y="376797"/>
                    <a:pt x="443820" y="381496"/>
                    <a:pt x="446208" y="385194"/>
                  </a:cubicBezTo>
                  <a:cubicBezTo>
                    <a:pt x="446363" y="385348"/>
                    <a:pt x="446440" y="385579"/>
                    <a:pt x="446594" y="385733"/>
                  </a:cubicBezTo>
                  <a:lnTo>
                    <a:pt x="482802" y="446054"/>
                  </a:lnTo>
                  <a:lnTo>
                    <a:pt x="445977" y="482879"/>
                  </a:lnTo>
                  <a:lnTo>
                    <a:pt x="386041" y="446825"/>
                  </a:lnTo>
                  <a:cubicBezTo>
                    <a:pt x="386041" y="446825"/>
                    <a:pt x="385425" y="446363"/>
                    <a:pt x="385117" y="446209"/>
                  </a:cubicBezTo>
                  <a:cubicBezTo>
                    <a:pt x="381419" y="443820"/>
                    <a:pt x="376719" y="443666"/>
                    <a:pt x="372868" y="445823"/>
                  </a:cubicBezTo>
                  <a:cubicBezTo>
                    <a:pt x="360618" y="452834"/>
                    <a:pt x="347291" y="458381"/>
                    <a:pt x="333270" y="462310"/>
                  </a:cubicBezTo>
                  <a:cubicBezTo>
                    <a:pt x="329187" y="463465"/>
                    <a:pt x="326105" y="466701"/>
                    <a:pt x="325027" y="470784"/>
                  </a:cubicBezTo>
                  <a:lnTo>
                    <a:pt x="307770" y="540119"/>
                  </a:lnTo>
                  <a:lnTo>
                    <a:pt x="255692" y="540119"/>
                  </a:lnTo>
                  <a:lnTo>
                    <a:pt x="238435" y="470784"/>
                  </a:lnTo>
                  <a:cubicBezTo>
                    <a:pt x="237433" y="466701"/>
                    <a:pt x="234275" y="463465"/>
                    <a:pt x="230192" y="462310"/>
                  </a:cubicBezTo>
                  <a:cubicBezTo>
                    <a:pt x="216171" y="458381"/>
                    <a:pt x="202843" y="452834"/>
                    <a:pt x="190594" y="445823"/>
                  </a:cubicBezTo>
                  <a:cubicBezTo>
                    <a:pt x="186742" y="443666"/>
                    <a:pt x="182043" y="443820"/>
                    <a:pt x="178345" y="446209"/>
                  </a:cubicBezTo>
                  <a:cubicBezTo>
                    <a:pt x="178191" y="446363"/>
                    <a:pt x="177959" y="446440"/>
                    <a:pt x="177805" y="446594"/>
                  </a:cubicBezTo>
                  <a:lnTo>
                    <a:pt x="117484" y="482802"/>
                  </a:lnTo>
                  <a:lnTo>
                    <a:pt x="80660" y="445977"/>
                  </a:lnTo>
                  <a:lnTo>
                    <a:pt x="116714" y="386041"/>
                  </a:lnTo>
                  <a:cubicBezTo>
                    <a:pt x="116714" y="386041"/>
                    <a:pt x="117176" y="385425"/>
                    <a:pt x="117330" y="385117"/>
                  </a:cubicBezTo>
                  <a:cubicBezTo>
                    <a:pt x="119718" y="381419"/>
                    <a:pt x="119872" y="376720"/>
                    <a:pt x="117715" y="372868"/>
                  </a:cubicBezTo>
                  <a:cubicBezTo>
                    <a:pt x="110705" y="360618"/>
                    <a:pt x="105158" y="347291"/>
                    <a:pt x="101229" y="333270"/>
                  </a:cubicBezTo>
                  <a:cubicBezTo>
                    <a:pt x="100073" y="329187"/>
                    <a:pt x="96838" y="326105"/>
                    <a:pt x="92755" y="325027"/>
                  </a:cubicBezTo>
                  <a:lnTo>
                    <a:pt x="23420" y="307770"/>
                  </a:lnTo>
                  <a:lnTo>
                    <a:pt x="23420" y="255692"/>
                  </a:lnTo>
                  <a:lnTo>
                    <a:pt x="92755" y="238435"/>
                  </a:lnTo>
                  <a:cubicBezTo>
                    <a:pt x="96838" y="237433"/>
                    <a:pt x="100073" y="234275"/>
                    <a:pt x="101229" y="230192"/>
                  </a:cubicBezTo>
                  <a:cubicBezTo>
                    <a:pt x="105158" y="216171"/>
                    <a:pt x="110705" y="202843"/>
                    <a:pt x="117715" y="190594"/>
                  </a:cubicBezTo>
                  <a:cubicBezTo>
                    <a:pt x="119872" y="186742"/>
                    <a:pt x="119795" y="182043"/>
                    <a:pt x="117330" y="178345"/>
                  </a:cubicBezTo>
                  <a:cubicBezTo>
                    <a:pt x="117099" y="178037"/>
                    <a:pt x="116945" y="177728"/>
                    <a:pt x="116714" y="177420"/>
                  </a:cubicBezTo>
                  <a:lnTo>
                    <a:pt x="80660" y="117484"/>
                  </a:lnTo>
                  <a:lnTo>
                    <a:pt x="117484" y="80660"/>
                  </a:lnTo>
                  <a:lnTo>
                    <a:pt x="177420" y="116714"/>
                  </a:lnTo>
                  <a:cubicBezTo>
                    <a:pt x="177420" y="116714"/>
                    <a:pt x="178037" y="117176"/>
                    <a:pt x="178345" y="117330"/>
                  </a:cubicBezTo>
                  <a:cubicBezTo>
                    <a:pt x="182043" y="119718"/>
                    <a:pt x="186742" y="119872"/>
                    <a:pt x="190594" y="117715"/>
                  </a:cubicBezTo>
                  <a:cubicBezTo>
                    <a:pt x="202843" y="110705"/>
                    <a:pt x="216171" y="105158"/>
                    <a:pt x="230192" y="101229"/>
                  </a:cubicBezTo>
                  <a:cubicBezTo>
                    <a:pt x="234275" y="100073"/>
                    <a:pt x="237356" y="96838"/>
                    <a:pt x="238435" y="92755"/>
                  </a:cubicBezTo>
                  <a:lnTo>
                    <a:pt x="255692" y="23420"/>
                  </a:lnTo>
                  <a:lnTo>
                    <a:pt x="307770" y="23420"/>
                  </a:lnTo>
                  <a:lnTo>
                    <a:pt x="325027" y="92755"/>
                  </a:lnTo>
                  <a:cubicBezTo>
                    <a:pt x="326028" y="96838"/>
                    <a:pt x="329187" y="100073"/>
                    <a:pt x="333270" y="101229"/>
                  </a:cubicBezTo>
                  <a:cubicBezTo>
                    <a:pt x="347291" y="105158"/>
                    <a:pt x="360618" y="110705"/>
                    <a:pt x="372868" y="117715"/>
                  </a:cubicBezTo>
                  <a:cubicBezTo>
                    <a:pt x="376719" y="119872"/>
                    <a:pt x="381419" y="119718"/>
                    <a:pt x="385117" y="117330"/>
                  </a:cubicBezTo>
                  <a:cubicBezTo>
                    <a:pt x="385271" y="117176"/>
                    <a:pt x="385502" y="117099"/>
                    <a:pt x="385656" y="116945"/>
                  </a:cubicBezTo>
                  <a:lnTo>
                    <a:pt x="445977" y="80737"/>
                  </a:lnTo>
                  <a:lnTo>
                    <a:pt x="482802" y="117561"/>
                  </a:lnTo>
                  <a:lnTo>
                    <a:pt x="446748" y="177497"/>
                  </a:lnTo>
                  <a:cubicBezTo>
                    <a:pt x="446748" y="177497"/>
                    <a:pt x="446285" y="178114"/>
                    <a:pt x="446131" y="178422"/>
                  </a:cubicBezTo>
                  <a:cubicBezTo>
                    <a:pt x="443743" y="182120"/>
                    <a:pt x="443589" y="186819"/>
                    <a:pt x="445746" y="190671"/>
                  </a:cubicBezTo>
                  <a:cubicBezTo>
                    <a:pt x="452757" y="202920"/>
                    <a:pt x="458303" y="216248"/>
                    <a:pt x="462233" y="230269"/>
                  </a:cubicBezTo>
                  <a:cubicBezTo>
                    <a:pt x="463388" y="234352"/>
                    <a:pt x="466624" y="237433"/>
                    <a:pt x="470707" y="238512"/>
                  </a:cubicBezTo>
                  <a:lnTo>
                    <a:pt x="540042" y="255769"/>
                  </a:lnTo>
                  <a:lnTo>
                    <a:pt x="540042" y="307847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55AE38F-CC8A-41A4-B56B-3D1175D3B152}"/>
                </a:ext>
              </a:extLst>
            </p:cNvPr>
            <p:cNvSpPr/>
            <p:nvPr/>
          </p:nvSpPr>
          <p:spPr>
            <a:xfrm>
              <a:off x="7984692" y="2887998"/>
              <a:ext cx="258310" cy="258310"/>
            </a:xfrm>
            <a:custGeom>
              <a:avLst/>
              <a:gdLst>
                <a:gd name="connsiteX0" fmla="*/ 129117 w 258310"/>
                <a:gd name="connsiteY0" fmla="*/ 0 h 258310"/>
                <a:gd name="connsiteX1" fmla="*/ 0 w 258310"/>
                <a:gd name="connsiteY1" fmla="*/ 129194 h 258310"/>
                <a:gd name="connsiteX2" fmla="*/ 129117 w 258310"/>
                <a:gd name="connsiteY2" fmla="*/ 258311 h 258310"/>
                <a:gd name="connsiteX3" fmla="*/ 258311 w 258310"/>
                <a:gd name="connsiteY3" fmla="*/ 129194 h 258310"/>
                <a:gd name="connsiteX4" fmla="*/ 129117 w 258310"/>
                <a:gd name="connsiteY4" fmla="*/ 0 h 258310"/>
                <a:gd name="connsiteX5" fmla="*/ 129117 w 258310"/>
                <a:gd name="connsiteY5" fmla="*/ 234814 h 258310"/>
                <a:gd name="connsiteX6" fmla="*/ 23420 w 258310"/>
                <a:gd name="connsiteY6" fmla="*/ 129117 h 258310"/>
                <a:gd name="connsiteX7" fmla="*/ 129117 w 258310"/>
                <a:gd name="connsiteY7" fmla="*/ 23420 h 258310"/>
                <a:gd name="connsiteX8" fmla="*/ 234814 w 258310"/>
                <a:gd name="connsiteY8" fmla="*/ 129117 h 258310"/>
                <a:gd name="connsiteX9" fmla="*/ 129117 w 258310"/>
                <a:gd name="connsiteY9" fmla="*/ 234814 h 25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310" h="258310">
                  <a:moveTo>
                    <a:pt x="129117" y="0"/>
                  </a:moveTo>
                  <a:cubicBezTo>
                    <a:pt x="57933" y="0"/>
                    <a:pt x="0" y="57933"/>
                    <a:pt x="0" y="129194"/>
                  </a:cubicBezTo>
                  <a:cubicBezTo>
                    <a:pt x="0" y="200455"/>
                    <a:pt x="57933" y="258311"/>
                    <a:pt x="129117" y="258311"/>
                  </a:cubicBezTo>
                  <a:cubicBezTo>
                    <a:pt x="200301" y="258311"/>
                    <a:pt x="258311" y="200378"/>
                    <a:pt x="258311" y="129194"/>
                  </a:cubicBezTo>
                  <a:cubicBezTo>
                    <a:pt x="258311" y="58010"/>
                    <a:pt x="200378" y="0"/>
                    <a:pt x="129117" y="0"/>
                  </a:cubicBezTo>
                  <a:close/>
                  <a:moveTo>
                    <a:pt x="129117" y="234814"/>
                  </a:moveTo>
                  <a:cubicBezTo>
                    <a:pt x="70876" y="234814"/>
                    <a:pt x="23420" y="187435"/>
                    <a:pt x="23420" y="129117"/>
                  </a:cubicBezTo>
                  <a:cubicBezTo>
                    <a:pt x="23420" y="70799"/>
                    <a:pt x="70799" y="23420"/>
                    <a:pt x="129117" y="23420"/>
                  </a:cubicBezTo>
                  <a:cubicBezTo>
                    <a:pt x="187435" y="23420"/>
                    <a:pt x="234814" y="70799"/>
                    <a:pt x="234814" y="129117"/>
                  </a:cubicBezTo>
                  <a:cubicBezTo>
                    <a:pt x="234814" y="187435"/>
                    <a:pt x="187435" y="234814"/>
                    <a:pt x="129117" y="234814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3" name="Graphic 115">
            <a:extLst>
              <a:ext uri="{FF2B5EF4-FFF2-40B4-BE49-F238E27FC236}">
                <a16:creationId xmlns:a16="http://schemas.microsoft.com/office/drawing/2014/main" id="{1D673993-B7BB-407C-AA52-166E519695FA}"/>
              </a:ext>
            </a:extLst>
          </p:cNvPr>
          <p:cNvGrpSpPr/>
          <p:nvPr/>
        </p:nvGrpSpPr>
        <p:grpSpPr>
          <a:xfrm>
            <a:off x="8884581" y="2735385"/>
            <a:ext cx="563615" cy="563615"/>
            <a:chOff x="8884581" y="2735385"/>
            <a:chExt cx="563615" cy="563615"/>
          </a:xfrm>
          <a:solidFill>
            <a:schemeClr val="tx2"/>
          </a:solidFill>
        </p:grpSpPr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BFE23474-0700-423D-8197-AC7099060EC6}"/>
                </a:ext>
              </a:extLst>
            </p:cNvPr>
            <p:cNvSpPr/>
            <p:nvPr/>
          </p:nvSpPr>
          <p:spPr>
            <a:xfrm>
              <a:off x="8884581" y="2735385"/>
              <a:ext cx="563615" cy="563615"/>
            </a:xfrm>
            <a:custGeom>
              <a:avLst/>
              <a:gdLst>
                <a:gd name="connsiteX0" fmla="*/ 281808 w 563615"/>
                <a:gd name="connsiteY0" fmla="*/ 0 h 563615"/>
                <a:gd name="connsiteX1" fmla="*/ 0 w 563615"/>
                <a:gd name="connsiteY1" fmla="*/ 281808 h 563615"/>
                <a:gd name="connsiteX2" fmla="*/ 40908 w 563615"/>
                <a:gd name="connsiteY2" fmla="*/ 427565 h 563615"/>
                <a:gd name="connsiteX3" fmla="*/ 616 w 563615"/>
                <a:gd name="connsiteY3" fmla="*/ 548131 h 563615"/>
                <a:gd name="connsiteX4" fmla="*/ 3236 w 563615"/>
                <a:gd name="connsiteY4" fmla="*/ 559995 h 563615"/>
                <a:gd name="connsiteX5" fmla="*/ 11710 w 563615"/>
                <a:gd name="connsiteY5" fmla="*/ 563616 h 563615"/>
                <a:gd name="connsiteX6" fmla="*/ 14946 w 563615"/>
                <a:gd name="connsiteY6" fmla="*/ 563153 h 563615"/>
                <a:gd name="connsiteX7" fmla="*/ 142599 w 563615"/>
                <a:gd name="connsiteY7" fmla="*/ 526714 h 563615"/>
                <a:gd name="connsiteX8" fmla="*/ 281808 w 563615"/>
                <a:gd name="connsiteY8" fmla="*/ 563616 h 563615"/>
                <a:gd name="connsiteX9" fmla="*/ 563616 w 563615"/>
                <a:gd name="connsiteY9" fmla="*/ 281808 h 563615"/>
                <a:gd name="connsiteX10" fmla="*/ 281808 w 563615"/>
                <a:gd name="connsiteY10" fmla="*/ 0 h 563615"/>
                <a:gd name="connsiteX11" fmla="*/ 281808 w 563615"/>
                <a:gd name="connsiteY11" fmla="*/ 540119 h 563615"/>
                <a:gd name="connsiteX12" fmla="*/ 150226 w 563615"/>
                <a:gd name="connsiteY12" fmla="*/ 503988 h 563615"/>
                <a:gd name="connsiteX13" fmla="*/ 144217 w 563615"/>
                <a:gd name="connsiteY13" fmla="*/ 502370 h 563615"/>
                <a:gd name="connsiteX14" fmla="*/ 140981 w 563615"/>
                <a:gd name="connsiteY14" fmla="*/ 502832 h 563615"/>
                <a:gd name="connsiteX15" fmla="*/ 29968 w 563615"/>
                <a:gd name="connsiteY15" fmla="*/ 534495 h 563615"/>
                <a:gd name="connsiteX16" fmla="*/ 64944 w 563615"/>
                <a:gd name="connsiteY16" fmla="*/ 429722 h 563615"/>
                <a:gd name="connsiteX17" fmla="*/ 63711 w 563615"/>
                <a:gd name="connsiteY17" fmla="*/ 419630 h 563615"/>
                <a:gd name="connsiteX18" fmla="*/ 23574 w 563615"/>
                <a:gd name="connsiteY18" fmla="*/ 281808 h 563615"/>
                <a:gd name="connsiteX19" fmla="*/ 281885 w 563615"/>
                <a:gd name="connsiteY19" fmla="*/ 23497 h 563615"/>
                <a:gd name="connsiteX20" fmla="*/ 540196 w 563615"/>
                <a:gd name="connsiteY20" fmla="*/ 281808 h 563615"/>
                <a:gd name="connsiteX21" fmla="*/ 281885 w 563615"/>
                <a:gd name="connsiteY21" fmla="*/ 540119 h 56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3615" h="563615">
                  <a:moveTo>
                    <a:pt x="281808" y="0"/>
                  </a:moveTo>
                  <a:cubicBezTo>
                    <a:pt x="126421" y="0"/>
                    <a:pt x="0" y="126421"/>
                    <a:pt x="0" y="281808"/>
                  </a:cubicBezTo>
                  <a:cubicBezTo>
                    <a:pt x="0" y="333732"/>
                    <a:pt x="14098" y="384038"/>
                    <a:pt x="40908" y="427565"/>
                  </a:cubicBezTo>
                  <a:lnTo>
                    <a:pt x="616" y="548131"/>
                  </a:lnTo>
                  <a:cubicBezTo>
                    <a:pt x="-770" y="552291"/>
                    <a:pt x="231" y="556836"/>
                    <a:pt x="3236" y="559995"/>
                  </a:cubicBezTo>
                  <a:cubicBezTo>
                    <a:pt x="5470" y="562306"/>
                    <a:pt x="8551" y="563616"/>
                    <a:pt x="11710" y="563616"/>
                  </a:cubicBezTo>
                  <a:cubicBezTo>
                    <a:pt x="12788" y="563616"/>
                    <a:pt x="13867" y="563462"/>
                    <a:pt x="14946" y="563153"/>
                  </a:cubicBezTo>
                  <a:lnTo>
                    <a:pt x="142599" y="526714"/>
                  </a:lnTo>
                  <a:cubicBezTo>
                    <a:pt x="184816" y="550827"/>
                    <a:pt x="232811" y="563616"/>
                    <a:pt x="281808" y="563616"/>
                  </a:cubicBezTo>
                  <a:cubicBezTo>
                    <a:pt x="437195" y="563616"/>
                    <a:pt x="563616" y="437195"/>
                    <a:pt x="563616" y="281808"/>
                  </a:cubicBezTo>
                  <a:cubicBezTo>
                    <a:pt x="563616" y="126421"/>
                    <a:pt x="437195" y="0"/>
                    <a:pt x="281808" y="0"/>
                  </a:cubicBezTo>
                  <a:close/>
                  <a:moveTo>
                    <a:pt x="281808" y="540119"/>
                  </a:moveTo>
                  <a:cubicBezTo>
                    <a:pt x="235353" y="540119"/>
                    <a:pt x="189900" y="527639"/>
                    <a:pt x="150226" y="503988"/>
                  </a:cubicBezTo>
                  <a:cubicBezTo>
                    <a:pt x="148377" y="502909"/>
                    <a:pt x="146297" y="502370"/>
                    <a:pt x="144217" y="502370"/>
                  </a:cubicBezTo>
                  <a:cubicBezTo>
                    <a:pt x="143138" y="502370"/>
                    <a:pt x="142059" y="502524"/>
                    <a:pt x="140981" y="502832"/>
                  </a:cubicBezTo>
                  <a:lnTo>
                    <a:pt x="29968" y="534495"/>
                  </a:lnTo>
                  <a:lnTo>
                    <a:pt x="64944" y="429722"/>
                  </a:lnTo>
                  <a:cubicBezTo>
                    <a:pt x="66099" y="426333"/>
                    <a:pt x="65637" y="422635"/>
                    <a:pt x="63711" y="419630"/>
                  </a:cubicBezTo>
                  <a:cubicBezTo>
                    <a:pt x="37441" y="378800"/>
                    <a:pt x="23574" y="331190"/>
                    <a:pt x="23574" y="281808"/>
                  </a:cubicBezTo>
                  <a:cubicBezTo>
                    <a:pt x="23574" y="139363"/>
                    <a:pt x="139440" y="23497"/>
                    <a:pt x="281885" y="23497"/>
                  </a:cubicBezTo>
                  <a:cubicBezTo>
                    <a:pt x="424329" y="23497"/>
                    <a:pt x="540196" y="139363"/>
                    <a:pt x="540196" y="281808"/>
                  </a:cubicBezTo>
                  <a:cubicBezTo>
                    <a:pt x="540196" y="424252"/>
                    <a:pt x="424329" y="540119"/>
                    <a:pt x="281885" y="540119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2BDF7EF1-7726-44AF-8201-D5B8917E4929}"/>
                </a:ext>
              </a:extLst>
            </p:cNvPr>
            <p:cNvSpPr/>
            <p:nvPr/>
          </p:nvSpPr>
          <p:spPr>
            <a:xfrm>
              <a:off x="9025562" y="2946702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56A5EB09-EF15-4971-8709-33DD7DB71DAE}"/>
                </a:ext>
              </a:extLst>
            </p:cNvPr>
            <p:cNvSpPr/>
            <p:nvPr/>
          </p:nvSpPr>
          <p:spPr>
            <a:xfrm>
              <a:off x="9025562" y="3017192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604C6B27-326B-4338-BD55-28738DCB6458}"/>
                </a:ext>
              </a:extLst>
            </p:cNvPr>
            <p:cNvSpPr/>
            <p:nvPr/>
          </p:nvSpPr>
          <p:spPr>
            <a:xfrm>
              <a:off x="9025562" y="3087606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8" name="Freeform: Shape 167">
            <a:extLst>
              <a:ext uri="{FF2B5EF4-FFF2-40B4-BE49-F238E27FC236}">
                <a16:creationId xmlns:a16="http://schemas.microsoft.com/office/drawing/2014/main" id="{BE46DF17-719A-4954-A800-06733E2E68AA}"/>
              </a:ext>
            </a:extLst>
          </p:cNvPr>
          <p:cNvSpPr/>
          <p:nvPr/>
        </p:nvSpPr>
        <p:spPr>
          <a:xfrm>
            <a:off x="9995866" y="2735500"/>
            <a:ext cx="446208" cy="563654"/>
          </a:xfrm>
          <a:custGeom>
            <a:avLst/>
            <a:gdLst>
              <a:gd name="connsiteX0" fmla="*/ 441278 w 446208"/>
              <a:gd name="connsiteY0" fmla="*/ 49189 h 563654"/>
              <a:gd name="connsiteX1" fmla="*/ 430724 w 446208"/>
              <a:gd name="connsiteY1" fmla="*/ 47571 h 563654"/>
              <a:gd name="connsiteX2" fmla="*/ 229575 w 446208"/>
              <a:gd name="connsiteY2" fmla="*/ 1964 h 563654"/>
              <a:gd name="connsiteX3" fmla="*/ 216556 w 446208"/>
              <a:gd name="connsiteY3" fmla="*/ 1964 h 563654"/>
              <a:gd name="connsiteX4" fmla="*/ 15408 w 446208"/>
              <a:gd name="connsiteY4" fmla="*/ 47571 h 563654"/>
              <a:gd name="connsiteX5" fmla="*/ 4853 w 446208"/>
              <a:gd name="connsiteY5" fmla="*/ 49189 h 563654"/>
              <a:gd name="connsiteX6" fmla="*/ 0 w 446208"/>
              <a:gd name="connsiteY6" fmla="*/ 58742 h 563654"/>
              <a:gd name="connsiteX7" fmla="*/ 0 w 446208"/>
              <a:gd name="connsiteY7" fmla="*/ 317053 h 563654"/>
              <a:gd name="connsiteX8" fmla="*/ 141597 w 446208"/>
              <a:gd name="connsiteY8" fmla="*/ 498942 h 563654"/>
              <a:gd name="connsiteX9" fmla="*/ 214784 w 446208"/>
              <a:gd name="connsiteY9" fmla="*/ 560187 h 563654"/>
              <a:gd name="connsiteX10" fmla="*/ 223104 w 446208"/>
              <a:gd name="connsiteY10" fmla="*/ 563654 h 563654"/>
              <a:gd name="connsiteX11" fmla="*/ 231424 w 446208"/>
              <a:gd name="connsiteY11" fmla="*/ 560187 h 563654"/>
              <a:gd name="connsiteX12" fmla="*/ 304611 w 446208"/>
              <a:gd name="connsiteY12" fmla="*/ 499019 h 563654"/>
              <a:gd name="connsiteX13" fmla="*/ 446209 w 446208"/>
              <a:gd name="connsiteY13" fmla="*/ 317130 h 563654"/>
              <a:gd name="connsiteX14" fmla="*/ 446209 w 446208"/>
              <a:gd name="connsiteY14" fmla="*/ 58665 h 563654"/>
              <a:gd name="connsiteX15" fmla="*/ 441355 w 446208"/>
              <a:gd name="connsiteY15" fmla="*/ 49112 h 563654"/>
              <a:gd name="connsiteX16" fmla="*/ 422635 w 446208"/>
              <a:gd name="connsiteY16" fmla="*/ 317053 h 563654"/>
              <a:gd name="connsiteX17" fmla="*/ 290205 w 446208"/>
              <a:gd name="connsiteY17" fmla="*/ 480375 h 563654"/>
              <a:gd name="connsiteX18" fmla="*/ 223027 w 446208"/>
              <a:gd name="connsiteY18" fmla="*/ 535535 h 563654"/>
              <a:gd name="connsiteX19" fmla="*/ 155849 w 446208"/>
              <a:gd name="connsiteY19" fmla="*/ 480375 h 563654"/>
              <a:gd name="connsiteX20" fmla="*/ 23420 w 446208"/>
              <a:gd name="connsiteY20" fmla="*/ 317053 h 563654"/>
              <a:gd name="connsiteX21" fmla="*/ 23420 w 446208"/>
              <a:gd name="connsiteY21" fmla="*/ 74304 h 563654"/>
              <a:gd name="connsiteX22" fmla="*/ 223027 w 446208"/>
              <a:gd name="connsiteY22" fmla="*/ 25769 h 563654"/>
              <a:gd name="connsiteX23" fmla="*/ 422635 w 446208"/>
              <a:gd name="connsiteY23" fmla="*/ 74304 h 563654"/>
              <a:gd name="connsiteX24" fmla="*/ 422635 w 446208"/>
              <a:gd name="connsiteY24" fmla="*/ 317053 h 563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46208" h="563654">
                <a:moveTo>
                  <a:pt x="441278" y="49189"/>
                </a:moveTo>
                <a:cubicBezTo>
                  <a:pt x="438196" y="46955"/>
                  <a:pt x="434267" y="46416"/>
                  <a:pt x="430724" y="47571"/>
                </a:cubicBezTo>
                <a:cubicBezTo>
                  <a:pt x="370325" y="67679"/>
                  <a:pt x="306460" y="53195"/>
                  <a:pt x="229575" y="1964"/>
                </a:cubicBezTo>
                <a:cubicBezTo>
                  <a:pt x="225647" y="-655"/>
                  <a:pt x="220485" y="-655"/>
                  <a:pt x="216556" y="1964"/>
                </a:cubicBezTo>
                <a:cubicBezTo>
                  <a:pt x="139671" y="53195"/>
                  <a:pt x="75806" y="67679"/>
                  <a:pt x="15408" y="47571"/>
                </a:cubicBezTo>
                <a:cubicBezTo>
                  <a:pt x="11864" y="46339"/>
                  <a:pt x="7858" y="46955"/>
                  <a:pt x="4853" y="49189"/>
                </a:cubicBezTo>
                <a:cubicBezTo>
                  <a:pt x="1772" y="51423"/>
                  <a:pt x="0" y="54967"/>
                  <a:pt x="0" y="58742"/>
                </a:cubicBezTo>
                <a:lnTo>
                  <a:pt x="0" y="317053"/>
                </a:lnTo>
                <a:cubicBezTo>
                  <a:pt x="0" y="389392"/>
                  <a:pt x="71954" y="445091"/>
                  <a:pt x="141597" y="498942"/>
                </a:cubicBezTo>
                <a:cubicBezTo>
                  <a:pt x="168946" y="520127"/>
                  <a:pt x="194831" y="540157"/>
                  <a:pt x="214784" y="560187"/>
                </a:cubicBezTo>
                <a:cubicBezTo>
                  <a:pt x="217095" y="562499"/>
                  <a:pt x="220100" y="563654"/>
                  <a:pt x="223104" y="563654"/>
                </a:cubicBezTo>
                <a:cubicBezTo>
                  <a:pt x="226109" y="563654"/>
                  <a:pt x="229113" y="562499"/>
                  <a:pt x="231424" y="560187"/>
                </a:cubicBezTo>
                <a:cubicBezTo>
                  <a:pt x="251455" y="540157"/>
                  <a:pt x="277262" y="520204"/>
                  <a:pt x="304611" y="499019"/>
                </a:cubicBezTo>
                <a:cubicBezTo>
                  <a:pt x="374177" y="445091"/>
                  <a:pt x="446209" y="389392"/>
                  <a:pt x="446209" y="317130"/>
                </a:cubicBezTo>
                <a:lnTo>
                  <a:pt x="446209" y="58665"/>
                </a:lnTo>
                <a:cubicBezTo>
                  <a:pt x="446209" y="54890"/>
                  <a:pt x="444359" y="51346"/>
                  <a:pt x="441355" y="49112"/>
                </a:cubicBezTo>
                <a:close/>
                <a:moveTo>
                  <a:pt x="422635" y="317053"/>
                </a:moveTo>
                <a:cubicBezTo>
                  <a:pt x="422635" y="377837"/>
                  <a:pt x="355303" y="429992"/>
                  <a:pt x="290205" y="480375"/>
                </a:cubicBezTo>
                <a:cubicBezTo>
                  <a:pt x="265784" y="499250"/>
                  <a:pt x="242595" y="517277"/>
                  <a:pt x="223027" y="535535"/>
                </a:cubicBezTo>
                <a:cubicBezTo>
                  <a:pt x="203537" y="517277"/>
                  <a:pt x="180271" y="499250"/>
                  <a:pt x="155849" y="480375"/>
                </a:cubicBezTo>
                <a:cubicBezTo>
                  <a:pt x="90752" y="429915"/>
                  <a:pt x="23420" y="377837"/>
                  <a:pt x="23420" y="317053"/>
                </a:cubicBezTo>
                <a:lnTo>
                  <a:pt x="23420" y="74304"/>
                </a:lnTo>
                <a:cubicBezTo>
                  <a:pt x="84203" y="89095"/>
                  <a:pt x="149763" y="73071"/>
                  <a:pt x="223027" y="25769"/>
                </a:cubicBezTo>
                <a:cubicBezTo>
                  <a:pt x="296291" y="73071"/>
                  <a:pt x="361851" y="89018"/>
                  <a:pt x="422635" y="74304"/>
                </a:cubicBezTo>
                <a:lnTo>
                  <a:pt x="422635" y="317053"/>
                </a:lnTo>
                <a:close/>
              </a:path>
            </a:pathLst>
          </a:custGeom>
          <a:solidFill>
            <a:schemeClr val="tx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69" name="Graphic 115">
            <a:extLst>
              <a:ext uri="{FF2B5EF4-FFF2-40B4-BE49-F238E27FC236}">
                <a16:creationId xmlns:a16="http://schemas.microsoft.com/office/drawing/2014/main" id="{51DE5BF1-C174-43D4-9CCB-2006564F6D6F}"/>
              </a:ext>
            </a:extLst>
          </p:cNvPr>
          <p:cNvGrpSpPr/>
          <p:nvPr/>
        </p:nvGrpSpPr>
        <p:grpSpPr>
          <a:xfrm>
            <a:off x="7821812" y="3586586"/>
            <a:ext cx="584127" cy="584107"/>
            <a:chOff x="7821812" y="3586586"/>
            <a:chExt cx="584127" cy="584107"/>
          </a:xfrm>
          <a:solidFill>
            <a:schemeClr val="tx2"/>
          </a:solidFill>
        </p:grpSpPr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9A8F7669-92BC-4750-B2F9-0A83E0FEFA7B}"/>
                </a:ext>
              </a:extLst>
            </p:cNvPr>
            <p:cNvSpPr/>
            <p:nvPr/>
          </p:nvSpPr>
          <p:spPr>
            <a:xfrm>
              <a:off x="7821812" y="3659696"/>
              <a:ext cx="510940" cy="510998"/>
            </a:xfrm>
            <a:custGeom>
              <a:avLst/>
              <a:gdLst>
                <a:gd name="connsiteX0" fmla="*/ 267190 w 510940"/>
                <a:gd name="connsiteY0" fmla="*/ 0 h 510998"/>
                <a:gd name="connsiteX1" fmla="*/ 255480 w 510940"/>
                <a:gd name="connsiteY1" fmla="*/ 0 h 510998"/>
                <a:gd name="connsiteX2" fmla="*/ 65117 w 510940"/>
                <a:gd name="connsiteY2" fmla="*/ 85128 h 510998"/>
                <a:gd name="connsiteX3" fmla="*/ 1637 w 510940"/>
                <a:gd name="connsiteY3" fmla="*/ 284581 h 510998"/>
                <a:gd name="connsiteX4" fmla="*/ 226436 w 510940"/>
                <a:gd name="connsiteY4" fmla="*/ 509380 h 510998"/>
                <a:gd name="connsiteX5" fmla="*/ 255865 w 510940"/>
                <a:gd name="connsiteY5" fmla="*/ 510998 h 510998"/>
                <a:gd name="connsiteX6" fmla="*/ 425813 w 510940"/>
                <a:gd name="connsiteY6" fmla="*/ 445823 h 510998"/>
                <a:gd name="connsiteX7" fmla="*/ 510940 w 510940"/>
                <a:gd name="connsiteY7" fmla="*/ 255461 h 510998"/>
                <a:gd name="connsiteX8" fmla="*/ 510940 w 510940"/>
                <a:gd name="connsiteY8" fmla="*/ 243751 h 510998"/>
                <a:gd name="connsiteX9" fmla="*/ 267190 w 510940"/>
                <a:gd name="connsiteY9" fmla="*/ 243751 h 510998"/>
                <a:gd name="connsiteX10" fmla="*/ 267190 w 510940"/>
                <a:gd name="connsiteY10" fmla="*/ 0 h 510998"/>
                <a:gd name="connsiteX11" fmla="*/ 487135 w 510940"/>
                <a:gd name="connsiteY11" fmla="*/ 267247 h 510998"/>
                <a:gd name="connsiteX12" fmla="*/ 410174 w 510940"/>
                <a:gd name="connsiteY12" fmla="*/ 428413 h 510998"/>
                <a:gd name="connsiteX13" fmla="*/ 228979 w 510940"/>
                <a:gd name="connsiteY13" fmla="*/ 486038 h 510998"/>
                <a:gd name="connsiteX14" fmla="*/ 24903 w 510940"/>
                <a:gd name="connsiteY14" fmla="*/ 281962 h 510998"/>
                <a:gd name="connsiteX15" fmla="*/ 82528 w 510940"/>
                <a:gd name="connsiteY15" fmla="*/ 100767 h 510998"/>
                <a:gd name="connsiteX16" fmla="*/ 243693 w 510940"/>
                <a:gd name="connsiteY16" fmla="*/ 23805 h 510998"/>
                <a:gd name="connsiteX17" fmla="*/ 243693 w 510940"/>
                <a:gd name="connsiteY17" fmla="*/ 267247 h 510998"/>
                <a:gd name="connsiteX18" fmla="*/ 487135 w 510940"/>
                <a:gd name="connsiteY18" fmla="*/ 267247 h 510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940" h="510998">
                  <a:moveTo>
                    <a:pt x="267190" y="0"/>
                  </a:moveTo>
                  <a:lnTo>
                    <a:pt x="255480" y="0"/>
                  </a:lnTo>
                  <a:cubicBezTo>
                    <a:pt x="182909" y="0"/>
                    <a:pt x="113574" y="31047"/>
                    <a:pt x="65117" y="85128"/>
                  </a:cubicBezTo>
                  <a:cubicBezTo>
                    <a:pt x="16043" y="139979"/>
                    <a:pt x="-6529" y="210778"/>
                    <a:pt x="1637" y="284581"/>
                  </a:cubicBezTo>
                  <a:cubicBezTo>
                    <a:pt x="14580" y="401911"/>
                    <a:pt x="109183" y="496438"/>
                    <a:pt x="226436" y="509380"/>
                  </a:cubicBezTo>
                  <a:cubicBezTo>
                    <a:pt x="236297" y="510459"/>
                    <a:pt x="246158" y="510998"/>
                    <a:pt x="255865" y="510998"/>
                  </a:cubicBezTo>
                  <a:cubicBezTo>
                    <a:pt x="318883" y="510998"/>
                    <a:pt x="378357" y="488349"/>
                    <a:pt x="425813" y="445823"/>
                  </a:cubicBezTo>
                  <a:cubicBezTo>
                    <a:pt x="479894" y="397366"/>
                    <a:pt x="510940" y="327954"/>
                    <a:pt x="510940" y="255461"/>
                  </a:cubicBezTo>
                  <a:lnTo>
                    <a:pt x="510940" y="243751"/>
                  </a:lnTo>
                  <a:lnTo>
                    <a:pt x="267190" y="243751"/>
                  </a:lnTo>
                  <a:lnTo>
                    <a:pt x="267190" y="0"/>
                  </a:lnTo>
                  <a:close/>
                  <a:moveTo>
                    <a:pt x="487135" y="267247"/>
                  </a:moveTo>
                  <a:cubicBezTo>
                    <a:pt x="483977" y="328801"/>
                    <a:pt x="456320" y="387043"/>
                    <a:pt x="410174" y="428413"/>
                  </a:cubicBezTo>
                  <a:cubicBezTo>
                    <a:pt x="360407" y="473018"/>
                    <a:pt x="296002" y="493510"/>
                    <a:pt x="228979" y="486038"/>
                  </a:cubicBezTo>
                  <a:cubicBezTo>
                    <a:pt x="122511" y="474251"/>
                    <a:pt x="36690" y="388429"/>
                    <a:pt x="24903" y="281962"/>
                  </a:cubicBezTo>
                  <a:cubicBezTo>
                    <a:pt x="17507" y="214938"/>
                    <a:pt x="37999" y="150534"/>
                    <a:pt x="82528" y="100767"/>
                  </a:cubicBezTo>
                  <a:cubicBezTo>
                    <a:pt x="123898" y="54543"/>
                    <a:pt x="182062" y="26887"/>
                    <a:pt x="243693" y="23805"/>
                  </a:cubicBezTo>
                  <a:lnTo>
                    <a:pt x="243693" y="267247"/>
                  </a:lnTo>
                  <a:lnTo>
                    <a:pt x="487135" y="267247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AC1C492E-B637-4100-89A1-9D16D8F09D02}"/>
                </a:ext>
              </a:extLst>
            </p:cNvPr>
            <p:cNvSpPr/>
            <p:nvPr/>
          </p:nvSpPr>
          <p:spPr>
            <a:xfrm>
              <a:off x="8138692" y="3586586"/>
              <a:ext cx="267247" cy="267247"/>
            </a:xfrm>
            <a:custGeom>
              <a:avLst/>
              <a:gdLst>
                <a:gd name="connsiteX0" fmla="*/ 11710 w 267247"/>
                <a:gd name="connsiteY0" fmla="*/ 0 h 267247"/>
                <a:gd name="connsiteX1" fmla="*/ 0 w 267247"/>
                <a:gd name="connsiteY1" fmla="*/ 0 h 267247"/>
                <a:gd name="connsiteX2" fmla="*/ 0 w 267247"/>
                <a:gd name="connsiteY2" fmla="*/ 267247 h 267247"/>
                <a:gd name="connsiteX3" fmla="*/ 267247 w 267247"/>
                <a:gd name="connsiteY3" fmla="*/ 267247 h 267247"/>
                <a:gd name="connsiteX4" fmla="*/ 267247 w 267247"/>
                <a:gd name="connsiteY4" fmla="*/ 255538 h 267247"/>
                <a:gd name="connsiteX5" fmla="*/ 11787 w 267247"/>
                <a:gd name="connsiteY5" fmla="*/ 77 h 267247"/>
                <a:gd name="connsiteX6" fmla="*/ 23420 w 267247"/>
                <a:gd name="connsiteY6" fmla="*/ 243751 h 267247"/>
                <a:gd name="connsiteX7" fmla="*/ 23420 w 267247"/>
                <a:gd name="connsiteY7" fmla="*/ 23805 h 267247"/>
                <a:gd name="connsiteX8" fmla="*/ 243366 w 267247"/>
                <a:gd name="connsiteY8" fmla="*/ 243751 h 267247"/>
                <a:gd name="connsiteX9" fmla="*/ 23420 w 267247"/>
                <a:gd name="connsiteY9" fmla="*/ 243751 h 26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7247" h="267247">
                  <a:moveTo>
                    <a:pt x="11710" y="0"/>
                  </a:moveTo>
                  <a:lnTo>
                    <a:pt x="0" y="0"/>
                  </a:lnTo>
                  <a:lnTo>
                    <a:pt x="0" y="267247"/>
                  </a:lnTo>
                  <a:lnTo>
                    <a:pt x="267247" y="267247"/>
                  </a:lnTo>
                  <a:lnTo>
                    <a:pt x="267247" y="255538"/>
                  </a:lnTo>
                  <a:cubicBezTo>
                    <a:pt x="267247" y="114634"/>
                    <a:pt x="152614" y="77"/>
                    <a:pt x="11787" y="77"/>
                  </a:cubicBezTo>
                  <a:close/>
                  <a:moveTo>
                    <a:pt x="23420" y="243751"/>
                  </a:moveTo>
                  <a:lnTo>
                    <a:pt x="23420" y="23805"/>
                  </a:lnTo>
                  <a:cubicBezTo>
                    <a:pt x="142059" y="29737"/>
                    <a:pt x="237434" y="125188"/>
                    <a:pt x="243366" y="243751"/>
                  </a:cubicBezTo>
                  <a:lnTo>
                    <a:pt x="23420" y="243751"/>
                  </a:ln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3" name="Graphic 116">
            <a:extLst>
              <a:ext uri="{FF2B5EF4-FFF2-40B4-BE49-F238E27FC236}">
                <a16:creationId xmlns:a16="http://schemas.microsoft.com/office/drawing/2014/main" id="{F5A5103A-E786-4966-972C-F22E07A2C22C}"/>
              </a:ext>
            </a:extLst>
          </p:cNvPr>
          <p:cNvGrpSpPr/>
          <p:nvPr/>
        </p:nvGrpSpPr>
        <p:grpSpPr>
          <a:xfrm>
            <a:off x="6779498" y="5521036"/>
            <a:ext cx="563538" cy="563615"/>
            <a:chOff x="6779498" y="5521036"/>
            <a:chExt cx="563538" cy="563615"/>
          </a:xfrm>
          <a:solidFill>
            <a:schemeClr val="bg1"/>
          </a:solidFill>
        </p:grpSpPr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5973733E-4898-4B15-B0D9-8E5F5938CA46}"/>
                </a:ext>
              </a:extLst>
            </p:cNvPr>
            <p:cNvSpPr/>
            <p:nvPr/>
          </p:nvSpPr>
          <p:spPr>
            <a:xfrm>
              <a:off x="6779498" y="5802844"/>
              <a:ext cx="140826" cy="281730"/>
            </a:xfrm>
            <a:custGeom>
              <a:avLst/>
              <a:gdLst>
                <a:gd name="connsiteX0" fmla="*/ 129117 w 140826"/>
                <a:gd name="connsiteY0" fmla="*/ 0 h 281730"/>
                <a:gd name="connsiteX1" fmla="*/ 11710 w 140826"/>
                <a:gd name="connsiteY1" fmla="*/ 0 h 281730"/>
                <a:gd name="connsiteX2" fmla="*/ 0 w 140826"/>
                <a:gd name="connsiteY2" fmla="*/ 11710 h 281730"/>
                <a:gd name="connsiteX3" fmla="*/ 0 w 140826"/>
                <a:gd name="connsiteY3" fmla="*/ 270021 h 281730"/>
                <a:gd name="connsiteX4" fmla="*/ 11710 w 140826"/>
                <a:gd name="connsiteY4" fmla="*/ 281731 h 281730"/>
                <a:gd name="connsiteX5" fmla="*/ 129117 w 140826"/>
                <a:gd name="connsiteY5" fmla="*/ 281731 h 281730"/>
                <a:gd name="connsiteX6" fmla="*/ 140827 w 140826"/>
                <a:gd name="connsiteY6" fmla="*/ 270021 h 281730"/>
                <a:gd name="connsiteX7" fmla="*/ 140827 w 140826"/>
                <a:gd name="connsiteY7" fmla="*/ 11710 h 281730"/>
                <a:gd name="connsiteX8" fmla="*/ 129117 w 140826"/>
                <a:gd name="connsiteY8" fmla="*/ 0 h 281730"/>
                <a:gd name="connsiteX9" fmla="*/ 117407 w 140826"/>
                <a:gd name="connsiteY9" fmla="*/ 258311 h 281730"/>
                <a:gd name="connsiteX10" fmla="*/ 23497 w 140826"/>
                <a:gd name="connsiteY10" fmla="*/ 258311 h 281730"/>
                <a:gd name="connsiteX11" fmla="*/ 23497 w 140826"/>
                <a:gd name="connsiteY11" fmla="*/ 23497 h 281730"/>
                <a:gd name="connsiteX12" fmla="*/ 117407 w 140826"/>
                <a:gd name="connsiteY12" fmla="*/ 23497 h 281730"/>
                <a:gd name="connsiteX13" fmla="*/ 117407 w 140826"/>
                <a:gd name="connsiteY13" fmla="*/ 258311 h 28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281730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270021"/>
                  </a:lnTo>
                  <a:cubicBezTo>
                    <a:pt x="0" y="276492"/>
                    <a:pt x="5239" y="281731"/>
                    <a:pt x="11710" y="281731"/>
                  </a:cubicBezTo>
                  <a:lnTo>
                    <a:pt x="129117" y="281731"/>
                  </a:lnTo>
                  <a:cubicBezTo>
                    <a:pt x="135588" y="281731"/>
                    <a:pt x="140827" y="276492"/>
                    <a:pt x="140827" y="270021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258311"/>
                  </a:moveTo>
                  <a:lnTo>
                    <a:pt x="23497" y="258311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258311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6667B51E-F230-47ED-A6E8-C278814E8994}"/>
                </a:ext>
              </a:extLst>
            </p:cNvPr>
            <p:cNvSpPr/>
            <p:nvPr/>
          </p:nvSpPr>
          <p:spPr>
            <a:xfrm>
              <a:off x="6990892" y="5673727"/>
              <a:ext cx="140826" cy="410924"/>
            </a:xfrm>
            <a:custGeom>
              <a:avLst/>
              <a:gdLst>
                <a:gd name="connsiteX0" fmla="*/ 129117 w 140826"/>
                <a:gd name="connsiteY0" fmla="*/ 0 h 410924"/>
                <a:gd name="connsiteX1" fmla="*/ 11710 w 140826"/>
                <a:gd name="connsiteY1" fmla="*/ 0 h 410924"/>
                <a:gd name="connsiteX2" fmla="*/ 0 w 140826"/>
                <a:gd name="connsiteY2" fmla="*/ 11710 h 410924"/>
                <a:gd name="connsiteX3" fmla="*/ 0 w 140826"/>
                <a:gd name="connsiteY3" fmla="*/ 399215 h 410924"/>
                <a:gd name="connsiteX4" fmla="*/ 11710 w 140826"/>
                <a:gd name="connsiteY4" fmla="*/ 410925 h 410924"/>
                <a:gd name="connsiteX5" fmla="*/ 129117 w 140826"/>
                <a:gd name="connsiteY5" fmla="*/ 410925 h 410924"/>
                <a:gd name="connsiteX6" fmla="*/ 140827 w 140826"/>
                <a:gd name="connsiteY6" fmla="*/ 399215 h 410924"/>
                <a:gd name="connsiteX7" fmla="*/ 140827 w 140826"/>
                <a:gd name="connsiteY7" fmla="*/ 11710 h 410924"/>
                <a:gd name="connsiteX8" fmla="*/ 129117 w 140826"/>
                <a:gd name="connsiteY8" fmla="*/ 0 h 410924"/>
                <a:gd name="connsiteX9" fmla="*/ 117407 w 140826"/>
                <a:gd name="connsiteY9" fmla="*/ 387505 h 410924"/>
                <a:gd name="connsiteX10" fmla="*/ 23497 w 140826"/>
                <a:gd name="connsiteY10" fmla="*/ 387505 h 410924"/>
                <a:gd name="connsiteX11" fmla="*/ 23497 w 140826"/>
                <a:gd name="connsiteY11" fmla="*/ 23497 h 410924"/>
                <a:gd name="connsiteX12" fmla="*/ 117407 w 140826"/>
                <a:gd name="connsiteY12" fmla="*/ 23497 h 410924"/>
                <a:gd name="connsiteX13" fmla="*/ 117407 w 140826"/>
                <a:gd name="connsiteY13" fmla="*/ 387505 h 410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410924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399215"/>
                  </a:lnTo>
                  <a:cubicBezTo>
                    <a:pt x="0" y="405686"/>
                    <a:pt x="5239" y="410925"/>
                    <a:pt x="11710" y="410925"/>
                  </a:cubicBezTo>
                  <a:lnTo>
                    <a:pt x="129117" y="410925"/>
                  </a:lnTo>
                  <a:cubicBezTo>
                    <a:pt x="135588" y="410925"/>
                    <a:pt x="140827" y="405686"/>
                    <a:pt x="140827" y="399215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387505"/>
                  </a:moveTo>
                  <a:lnTo>
                    <a:pt x="23497" y="387505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387505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24A564FA-7C57-4448-98C0-F03BA176A8A6}"/>
                </a:ext>
              </a:extLst>
            </p:cNvPr>
            <p:cNvSpPr/>
            <p:nvPr/>
          </p:nvSpPr>
          <p:spPr>
            <a:xfrm>
              <a:off x="7202209" y="5521036"/>
              <a:ext cx="140826" cy="563538"/>
            </a:xfrm>
            <a:custGeom>
              <a:avLst/>
              <a:gdLst>
                <a:gd name="connsiteX0" fmla="*/ 129117 w 140826"/>
                <a:gd name="connsiteY0" fmla="*/ 0 h 563538"/>
                <a:gd name="connsiteX1" fmla="*/ 11710 w 140826"/>
                <a:gd name="connsiteY1" fmla="*/ 0 h 563538"/>
                <a:gd name="connsiteX2" fmla="*/ 0 w 140826"/>
                <a:gd name="connsiteY2" fmla="*/ 11710 h 563538"/>
                <a:gd name="connsiteX3" fmla="*/ 0 w 140826"/>
                <a:gd name="connsiteY3" fmla="*/ 551829 h 563538"/>
                <a:gd name="connsiteX4" fmla="*/ 11710 w 140826"/>
                <a:gd name="connsiteY4" fmla="*/ 563539 h 563538"/>
                <a:gd name="connsiteX5" fmla="*/ 129117 w 140826"/>
                <a:gd name="connsiteY5" fmla="*/ 563539 h 563538"/>
                <a:gd name="connsiteX6" fmla="*/ 140827 w 140826"/>
                <a:gd name="connsiteY6" fmla="*/ 551829 h 563538"/>
                <a:gd name="connsiteX7" fmla="*/ 140827 w 140826"/>
                <a:gd name="connsiteY7" fmla="*/ 11710 h 563538"/>
                <a:gd name="connsiteX8" fmla="*/ 129117 w 140826"/>
                <a:gd name="connsiteY8" fmla="*/ 0 h 563538"/>
                <a:gd name="connsiteX9" fmla="*/ 117407 w 140826"/>
                <a:gd name="connsiteY9" fmla="*/ 540119 h 563538"/>
                <a:gd name="connsiteX10" fmla="*/ 23497 w 140826"/>
                <a:gd name="connsiteY10" fmla="*/ 540119 h 563538"/>
                <a:gd name="connsiteX11" fmla="*/ 23497 w 140826"/>
                <a:gd name="connsiteY11" fmla="*/ 23497 h 563538"/>
                <a:gd name="connsiteX12" fmla="*/ 117407 w 140826"/>
                <a:gd name="connsiteY12" fmla="*/ 23497 h 563538"/>
                <a:gd name="connsiteX13" fmla="*/ 117407 w 140826"/>
                <a:gd name="connsiteY13" fmla="*/ 540119 h 563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826" h="563538">
                  <a:moveTo>
                    <a:pt x="129117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lnTo>
                    <a:pt x="0" y="551829"/>
                  </a:lnTo>
                  <a:cubicBezTo>
                    <a:pt x="0" y="558300"/>
                    <a:pt x="5239" y="563539"/>
                    <a:pt x="11710" y="563539"/>
                  </a:cubicBezTo>
                  <a:lnTo>
                    <a:pt x="129117" y="563539"/>
                  </a:lnTo>
                  <a:cubicBezTo>
                    <a:pt x="135588" y="563539"/>
                    <a:pt x="140827" y="558300"/>
                    <a:pt x="140827" y="551829"/>
                  </a:cubicBezTo>
                  <a:lnTo>
                    <a:pt x="140827" y="11710"/>
                  </a:lnTo>
                  <a:cubicBezTo>
                    <a:pt x="140827" y="5239"/>
                    <a:pt x="135588" y="0"/>
                    <a:pt x="129117" y="0"/>
                  </a:cubicBezTo>
                  <a:close/>
                  <a:moveTo>
                    <a:pt x="117407" y="540119"/>
                  </a:moveTo>
                  <a:lnTo>
                    <a:pt x="23497" y="540119"/>
                  </a:lnTo>
                  <a:lnTo>
                    <a:pt x="23497" y="23497"/>
                  </a:lnTo>
                  <a:lnTo>
                    <a:pt x="117407" y="23497"/>
                  </a:lnTo>
                  <a:lnTo>
                    <a:pt x="117407" y="540119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7" name="Graphic 116">
            <a:extLst>
              <a:ext uri="{FF2B5EF4-FFF2-40B4-BE49-F238E27FC236}">
                <a16:creationId xmlns:a16="http://schemas.microsoft.com/office/drawing/2014/main" id="{40A5B5E0-F3F2-4FC1-BA5E-5FEF0BB104BC}"/>
              </a:ext>
            </a:extLst>
          </p:cNvPr>
          <p:cNvGrpSpPr/>
          <p:nvPr/>
        </p:nvGrpSpPr>
        <p:grpSpPr>
          <a:xfrm>
            <a:off x="9942170" y="5539911"/>
            <a:ext cx="553710" cy="526020"/>
            <a:chOff x="9942170" y="5539911"/>
            <a:chExt cx="553710" cy="526020"/>
          </a:xfrm>
          <a:solidFill>
            <a:schemeClr val="bg1"/>
          </a:solidFill>
        </p:grpSpPr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017BDE4C-EFBA-4498-A109-513C2A35D6CB}"/>
                </a:ext>
              </a:extLst>
            </p:cNvPr>
            <p:cNvSpPr/>
            <p:nvPr/>
          </p:nvSpPr>
          <p:spPr>
            <a:xfrm>
              <a:off x="10282604" y="5680814"/>
              <a:ext cx="140826" cy="140826"/>
            </a:xfrm>
            <a:custGeom>
              <a:avLst/>
              <a:gdLst>
                <a:gd name="connsiteX0" fmla="*/ 70413 w 140826"/>
                <a:gd name="connsiteY0" fmla="*/ 140827 h 140826"/>
                <a:gd name="connsiteX1" fmla="*/ 140827 w 140826"/>
                <a:gd name="connsiteY1" fmla="*/ 70413 h 140826"/>
                <a:gd name="connsiteX2" fmla="*/ 70413 w 140826"/>
                <a:gd name="connsiteY2" fmla="*/ 0 h 140826"/>
                <a:gd name="connsiteX3" fmla="*/ 0 w 140826"/>
                <a:gd name="connsiteY3" fmla="*/ 70413 h 140826"/>
                <a:gd name="connsiteX4" fmla="*/ 70413 w 140826"/>
                <a:gd name="connsiteY4" fmla="*/ 140827 h 140826"/>
                <a:gd name="connsiteX5" fmla="*/ 70413 w 140826"/>
                <a:gd name="connsiteY5" fmla="*/ 23420 h 140826"/>
                <a:gd name="connsiteX6" fmla="*/ 117407 w 140826"/>
                <a:gd name="connsiteY6" fmla="*/ 70413 h 140826"/>
                <a:gd name="connsiteX7" fmla="*/ 70413 w 140826"/>
                <a:gd name="connsiteY7" fmla="*/ 117407 h 140826"/>
                <a:gd name="connsiteX8" fmla="*/ 23420 w 140826"/>
                <a:gd name="connsiteY8" fmla="*/ 70413 h 140826"/>
                <a:gd name="connsiteX9" fmla="*/ 70413 w 140826"/>
                <a:gd name="connsiteY9" fmla="*/ 23420 h 140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826" h="140826">
                  <a:moveTo>
                    <a:pt x="70413" y="140827"/>
                  </a:moveTo>
                  <a:cubicBezTo>
                    <a:pt x="109241" y="140827"/>
                    <a:pt x="140827" y="109241"/>
                    <a:pt x="140827" y="70413"/>
                  </a:cubicBezTo>
                  <a:cubicBezTo>
                    <a:pt x="140827" y="31586"/>
                    <a:pt x="109241" y="0"/>
                    <a:pt x="70413" y="0"/>
                  </a:cubicBezTo>
                  <a:cubicBezTo>
                    <a:pt x="31586" y="0"/>
                    <a:pt x="0" y="31586"/>
                    <a:pt x="0" y="70413"/>
                  </a:cubicBezTo>
                  <a:cubicBezTo>
                    <a:pt x="0" y="109241"/>
                    <a:pt x="31586" y="140827"/>
                    <a:pt x="70413" y="140827"/>
                  </a:cubicBezTo>
                  <a:close/>
                  <a:moveTo>
                    <a:pt x="70413" y="23420"/>
                  </a:moveTo>
                  <a:cubicBezTo>
                    <a:pt x="96298" y="23420"/>
                    <a:pt x="117407" y="44451"/>
                    <a:pt x="117407" y="70413"/>
                  </a:cubicBezTo>
                  <a:cubicBezTo>
                    <a:pt x="117407" y="96375"/>
                    <a:pt x="96376" y="117407"/>
                    <a:pt x="70413" y="117407"/>
                  </a:cubicBezTo>
                  <a:cubicBezTo>
                    <a:pt x="44451" y="117407"/>
                    <a:pt x="23420" y="96375"/>
                    <a:pt x="23420" y="70413"/>
                  </a:cubicBezTo>
                  <a:cubicBezTo>
                    <a:pt x="23420" y="44451"/>
                    <a:pt x="44451" y="23420"/>
                    <a:pt x="70413" y="23420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62F65B8E-4B79-4A6F-B043-5209BEE114B2}"/>
                </a:ext>
              </a:extLst>
            </p:cNvPr>
            <p:cNvSpPr/>
            <p:nvPr/>
          </p:nvSpPr>
          <p:spPr>
            <a:xfrm>
              <a:off x="10094783" y="5539911"/>
              <a:ext cx="140826" cy="140826"/>
            </a:xfrm>
            <a:custGeom>
              <a:avLst/>
              <a:gdLst>
                <a:gd name="connsiteX0" fmla="*/ 70414 w 140826"/>
                <a:gd name="connsiteY0" fmla="*/ 140827 h 140826"/>
                <a:gd name="connsiteX1" fmla="*/ 140827 w 140826"/>
                <a:gd name="connsiteY1" fmla="*/ 70413 h 140826"/>
                <a:gd name="connsiteX2" fmla="*/ 70414 w 140826"/>
                <a:gd name="connsiteY2" fmla="*/ 0 h 140826"/>
                <a:gd name="connsiteX3" fmla="*/ 0 w 140826"/>
                <a:gd name="connsiteY3" fmla="*/ 70413 h 140826"/>
                <a:gd name="connsiteX4" fmla="*/ 70414 w 140826"/>
                <a:gd name="connsiteY4" fmla="*/ 140827 h 140826"/>
                <a:gd name="connsiteX5" fmla="*/ 70414 w 140826"/>
                <a:gd name="connsiteY5" fmla="*/ 23420 h 140826"/>
                <a:gd name="connsiteX6" fmla="*/ 117407 w 140826"/>
                <a:gd name="connsiteY6" fmla="*/ 70413 h 140826"/>
                <a:gd name="connsiteX7" fmla="*/ 70414 w 140826"/>
                <a:gd name="connsiteY7" fmla="*/ 117407 h 140826"/>
                <a:gd name="connsiteX8" fmla="*/ 23420 w 140826"/>
                <a:gd name="connsiteY8" fmla="*/ 70413 h 140826"/>
                <a:gd name="connsiteX9" fmla="*/ 70414 w 140826"/>
                <a:gd name="connsiteY9" fmla="*/ 23420 h 140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826" h="140826">
                  <a:moveTo>
                    <a:pt x="70414" y="140827"/>
                  </a:moveTo>
                  <a:cubicBezTo>
                    <a:pt x="109241" y="140827"/>
                    <a:pt x="140827" y="109241"/>
                    <a:pt x="140827" y="70413"/>
                  </a:cubicBezTo>
                  <a:cubicBezTo>
                    <a:pt x="140827" y="31586"/>
                    <a:pt x="109241" y="0"/>
                    <a:pt x="70414" y="0"/>
                  </a:cubicBezTo>
                  <a:cubicBezTo>
                    <a:pt x="31586" y="0"/>
                    <a:pt x="0" y="31586"/>
                    <a:pt x="0" y="70413"/>
                  </a:cubicBezTo>
                  <a:cubicBezTo>
                    <a:pt x="0" y="109241"/>
                    <a:pt x="31586" y="140827"/>
                    <a:pt x="70414" y="140827"/>
                  </a:cubicBezTo>
                  <a:close/>
                  <a:moveTo>
                    <a:pt x="70414" y="23420"/>
                  </a:moveTo>
                  <a:cubicBezTo>
                    <a:pt x="96298" y="23420"/>
                    <a:pt x="117407" y="44451"/>
                    <a:pt x="117407" y="70413"/>
                  </a:cubicBezTo>
                  <a:cubicBezTo>
                    <a:pt x="117407" y="96376"/>
                    <a:pt x="96376" y="117407"/>
                    <a:pt x="70414" y="117407"/>
                  </a:cubicBezTo>
                  <a:cubicBezTo>
                    <a:pt x="44451" y="117407"/>
                    <a:pt x="23420" y="96376"/>
                    <a:pt x="23420" y="70413"/>
                  </a:cubicBezTo>
                  <a:cubicBezTo>
                    <a:pt x="23420" y="44451"/>
                    <a:pt x="44451" y="23420"/>
                    <a:pt x="70414" y="23420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097BBCF3-41A7-47DA-A22A-07575BDBB4B5}"/>
                </a:ext>
              </a:extLst>
            </p:cNvPr>
            <p:cNvSpPr/>
            <p:nvPr/>
          </p:nvSpPr>
          <p:spPr>
            <a:xfrm>
              <a:off x="9942170" y="5787361"/>
              <a:ext cx="553710" cy="278570"/>
            </a:xfrm>
            <a:custGeom>
              <a:avLst/>
              <a:gdLst>
                <a:gd name="connsiteX0" fmla="*/ 541351 w 553710"/>
                <a:gd name="connsiteY0" fmla="*/ 113322 h 278570"/>
                <a:gd name="connsiteX1" fmla="*/ 472710 w 553710"/>
                <a:gd name="connsiteY1" fmla="*/ 93215 h 278570"/>
                <a:gd name="connsiteX2" fmla="*/ 351220 w 553710"/>
                <a:gd name="connsiteY2" fmla="*/ 134739 h 278570"/>
                <a:gd name="connsiteX3" fmla="*/ 255229 w 553710"/>
                <a:gd name="connsiteY3" fmla="*/ 46145 h 278570"/>
                <a:gd name="connsiteX4" fmla="*/ 156157 w 553710"/>
                <a:gd name="connsiteY4" fmla="*/ 46145 h 278570"/>
                <a:gd name="connsiteX5" fmla="*/ 38750 w 553710"/>
                <a:gd name="connsiteY5" fmla="*/ 152 h 278570"/>
                <a:gd name="connsiteX6" fmla="*/ 11479 w 553710"/>
                <a:gd name="connsiteY6" fmla="*/ 9243 h 278570"/>
                <a:gd name="connsiteX7" fmla="*/ 0 w 553710"/>
                <a:gd name="connsiteY7" fmla="*/ 35205 h 278570"/>
                <a:gd name="connsiteX8" fmla="*/ 0 w 553710"/>
                <a:gd name="connsiteY8" fmla="*/ 162165 h 278570"/>
                <a:gd name="connsiteX9" fmla="*/ 20261 w 553710"/>
                <a:gd name="connsiteY9" fmla="*/ 194059 h 278570"/>
                <a:gd name="connsiteX10" fmla="*/ 181889 w 553710"/>
                <a:gd name="connsiteY10" fmla="*/ 269711 h 278570"/>
                <a:gd name="connsiteX11" fmla="*/ 221486 w 553710"/>
                <a:gd name="connsiteY11" fmla="*/ 278571 h 278570"/>
                <a:gd name="connsiteX12" fmla="*/ 253226 w 553710"/>
                <a:gd name="connsiteY12" fmla="*/ 273024 h 278570"/>
                <a:gd name="connsiteX13" fmla="*/ 530258 w 553710"/>
                <a:gd name="connsiteY13" fmla="*/ 173259 h 278570"/>
                <a:gd name="connsiteX14" fmla="*/ 553138 w 553710"/>
                <a:gd name="connsiteY14" fmla="*/ 146141 h 278570"/>
                <a:gd name="connsiteX15" fmla="*/ 541351 w 553710"/>
                <a:gd name="connsiteY15" fmla="*/ 113399 h 278570"/>
                <a:gd name="connsiteX16" fmla="*/ 530027 w 553710"/>
                <a:gd name="connsiteY16" fmla="*/ 141904 h 278570"/>
                <a:gd name="connsiteX17" fmla="*/ 522323 w 553710"/>
                <a:gd name="connsiteY17" fmla="*/ 151071 h 278570"/>
                <a:gd name="connsiteX18" fmla="*/ 245291 w 553710"/>
                <a:gd name="connsiteY18" fmla="*/ 250837 h 278570"/>
                <a:gd name="connsiteX19" fmla="*/ 191904 w 553710"/>
                <a:gd name="connsiteY19" fmla="*/ 248371 h 278570"/>
                <a:gd name="connsiteX20" fmla="*/ 30276 w 553710"/>
                <a:gd name="connsiteY20" fmla="*/ 172719 h 278570"/>
                <a:gd name="connsiteX21" fmla="*/ 23497 w 553710"/>
                <a:gd name="connsiteY21" fmla="*/ 162088 h 278570"/>
                <a:gd name="connsiteX22" fmla="*/ 23497 w 553710"/>
                <a:gd name="connsiteY22" fmla="*/ 35128 h 278570"/>
                <a:gd name="connsiteX23" fmla="*/ 27272 w 553710"/>
                <a:gd name="connsiteY23" fmla="*/ 26500 h 278570"/>
                <a:gd name="connsiteX24" fmla="*/ 35361 w 553710"/>
                <a:gd name="connsiteY24" fmla="*/ 23341 h 278570"/>
                <a:gd name="connsiteX25" fmla="*/ 36516 w 553710"/>
                <a:gd name="connsiteY25" fmla="*/ 23341 h 278570"/>
                <a:gd name="connsiteX26" fmla="*/ 146065 w 553710"/>
                <a:gd name="connsiteY26" fmla="*/ 67484 h 278570"/>
                <a:gd name="connsiteX27" fmla="*/ 152614 w 553710"/>
                <a:gd name="connsiteY27" fmla="*/ 69487 h 278570"/>
                <a:gd name="connsiteX28" fmla="*/ 255229 w 553710"/>
                <a:gd name="connsiteY28" fmla="*/ 69487 h 278570"/>
                <a:gd name="connsiteX29" fmla="*/ 328108 w 553710"/>
                <a:gd name="connsiteY29" fmla="*/ 139978 h 278570"/>
                <a:gd name="connsiteX30" fmla="*/ 152614 w 553710"/>
                <a:gd name="connsiteY30" fmla="*/ 139978 h 278570"/>
                <a:gd name="connsiteX31" fmla="*/ 140904 w 553710"/>
                <a:gd name="connsiteY31" fmla="*/ 151688 h 278570"/>
                <a:gd name="connsiteX32" fmla="*/ 152614 w 553710"/>
                <a:gd name="connsiteY32" fmla="*/ 163398 h 278570"/>
                <a:gd name="connsiteX33" fmla="*/ 340203 w 553710"/>
                <a:gd name="connsiteY33" fmla="*/ 163398 h 278570"/>
                <a:gd name="connsiteX34" fmla="*/ 342745 w 553710"/>
                <a:gd name="connsiteY34" fmla="*/ 163166 h 278570"/>
                <a:gd name="connsiteX35" fmla="*/ 345211 w 553710"/>
                <a:gd name="connsiteY35" fmla="*/ 162396 h 278570"/>
                <a:gd name="connsiteX36" fmla="*/ 476639 w 553710"/>
                <a:gd name="connsiteY36" fmla="*/ 116250 h 278570"/>
                <a:gd name="connsiteX37" fmla="*/ 526252 w 553710"/>
                <a:gd name="connsiteY37" fmla="*/ 131195 h 278570"/>
                <a:gd name="connsiteX38" fmla="*/ 530027 w 553710"/>
                <a:gd name="connsiteY38" fmla="*/ 141827 h 2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53710" h="278570">
                  <a:moveTo>
                    <a:pt x="541351" y="113322"/>
                  </a:moveTo>
                  <a:cubicBezTo>
                    <a:pt x="527869" y="101998"/>
                    <a:pt x="506068" y="87514"/>
                    <a:pt x="472710" y="93215"/>
                  </a:cubicBezTo>
                  <a:cubicBezTo>
                    <a:pt x="444899" y="97915"/>
                    <a:pt x="380726" y="122875"/>
                    <a:pt x="351220" y="134739"/>
                  </a:cubicBezTo>
                  <a:cubicBezTo>
                    <a:pt x="344826" y="81043"/>
                    <a:pt x="307847" y="46145"/>
                    <a:pt x="255229" y="46145"/>
                  </a:cubicBezTo>
                  <a:lnTo>
                    <a:pt x="156157" y="46145"/>
                  </a:lnTo>
                  <a:cubicBezTo>
                    <a:pt x="113632" y="18257"/>
                    <a:pt x="76268" y="3619"/>
                    <a:pt x="38750" y="152"/>
                  </a:cubicBezTo>
                  <a:cubicBezTo>
                    <a:pt x="28736" y="-772"/>
                    <a:pt x="18797" y="2541"/>
                    <a:pt x="11479" y="9243"/>
                  </a:cubicBezTo>
                  <a:cubicBezTo>
                    <a:pt x="4160" y="15868"/>
                    <a:pt x="0" y="25344"/>
                    <a:pt x="0" y="35205"/>
                  </a:cubicBezTo>
                  <a:lnTo>
                    <a:pt x="0" y="162165"/>
                  </a:lnTo>
                  <a:cubicBezTo>
                    <a:pt x="0" y="175801"/>
                    <a:pt x="7935" y="188281"/>
                    <a:pt x="20261" y="194059"/>
                  </a:cubicBezTo>
                  <a:lnTo>
                    <a:pt x="181889" y="269711"/>
                  </a:lnTo>
                  <a:cubicBezTo>
                    <a:pt x="194523" y="275643"/>
                    <a:pt x="207928" y="278571"/>
                    <a:pt x="221486" y="278571"/>
                  </a:cubicBezTo>
                  <a:cubicBezTo>
                    <a:pt x="232195" y="278571"/>
                    <a:pt x="242903" y="276722"/>
                    <a:pt x="253226" y="273024"/>
                  </a:cubicBezTo>
                  <a:lnTo>
                    <a:pt x="530258" y="173259"/>
                  </a:lnTo>
                  <a:cubicBezTo>
                    <a:pt x="542353" y="168944"/>
                    <a:pt x="550904" y="158775"/>
                    <a:pt x="553138" y="146141"/>
                  </a:cubicBezTo>
                  <a:cubicBezTo>
                    <a:pt x="555372" y="133738"/>
                    <a:pt x="550981" y="121488"/>
                    <a:pt x="541351" y="113399"/>
                  </a:cubicBezTo>
                  <a:close/>
                  <a:moveTo>
                    <a:pt x="530027" y="141904"/>
                  </a:moveTo>
                  <a:cubicBezTo>
                    <a:pt x="529256" y="146218"/>
                    <a:pt x="526406" y="149608"/>
                    <a:pt x="522323" y="151071"/>
                  </a:cubicBezTo>
                  <a:lnTo>
                    <a:pt x="245291" y="250837"/>
                  </a:lnTo>
                  <a:cubicBezTo>
                    <a:pt x="227727" y="257154"/>
                    <a:pt x="208775" y="256306"/>
                    <a:pt x="191904" y="248371"/>
                  </a:cubicBezTo>
                  <a:lnTo>
                    <a:pt x="30276" y="172719"/>
                  </a:lnTo>
                  <a:cubicBezTo>
                    <a:pt x="26193" y="170793"/>
                    <a:pt x="23497" y="166633"/>
                    <a:pt x="23497" y="162088"/>
                  </a:cubicBezTo>
                  <a:lnTo>
                    <a:pt x="23497" y="35128"/>
                  </a:lnTo>
                  <a:cubicBezTo>
                    <a:pt x="23497" y="31815"/>
                    <a:pt x="24884" y="28734"/>
                    <a:pt x="27272" y="26500"/>
                  </a:cubicBezTo>
                  <a:cubicBezTo>
                    <a:pt x="29506" y="24497"/>
                    <a:pt x="32356" y="23341"/>
                    <a:pt x="35361" y="23341"/>
                  </a:cubicBezTo>
                  <a:cubicBezTo>
                    <a:pt x="35746" y="23341"/>
                    <a:pt x="36131" y="23341"/>
                    <a:pt x="36516" y="23341"/>
                  </a:cubicBezTo>
                  <a:cubicBezTo>
                    <a:pt x="58164" y="25344"/>
                    <a:pt x="93063" y="32124"/>
                    <a:pt x="146065" y="67484"/>
                  </a:cubicBezTo>
                  <a:cubicBezTo>
                    <a:pt x="147991" y="68794"/>
                    <a:pt x="150226" y="69487"/>
                    <a:pt x="152614" y="69487"/>
                  </a:cubicBezTo>
                  <a:lnTo>
                    <a:pt x="255229" y="69487"/>
                  </a:lnTo>
                  <a:cubicBezTo>
                    <a:pt x="303918" y="69487"/>
                    <a:pt x="324410" y="105233"/>
                    <a:pt x="328108" y="139978"/>
                  </a:cubicBezTo>
                  <a:lnTo>
                    <a:pt x="152614" y="139978"/>
                  </a:lnTo>
                  <a:cubicBezTo>
                    <a:pt x="146143" y="139978"/>
                    <a:pt x="140904" y="145216"/>
                    <a:pt x="140904" y="151688"/>
                  </a:cubicBezTo>
                  <a:cubicBezTo>
                    <a:pt x="140904" y="158159"/>
                    <a:pt x="146143" y="163398"/>
                    <a:pt x="152614" y="163398"/>
                  </a:cubicBezTo>
                  <a:lnTo>
                    <a:pt x="340203" y="163398"/>
                  </a:lnTo>
                  <a:cubicBezTo>
                    <a:pt x="341051" y="163398"/>
                    <a:pt x="341898" y="163398"/>
                    <a:pt x="342745" y="163166"/>
                  </a:cubicBezTo>
                  <a:cubicBezTo>
                    <a:pt x="343593" y="163012"/>
                    <a:pt x="344440" y="162704"/>
                    <a:pt x="345211" y="162396"/>
                  </a:cubicBezTo>
                  <a:cubicBezTo>
                    <a:pt x="350603" y="160162"/>
                    <a:pt x="444128" y="121797"/>
                    <a:pt x="476639" y="116250"/>
                  </a:cubicBezTo>
                  <a:cubicBezTo>
                    <a:pt x="500136" y="112244"/>
                    <a:pt x="515466" y="122105"/>
                    <a:pt x="526252" y="131195"/>
                  </a:cubicBezTo>
                  <a:cubicBezTo>
                    <a:pt x="530720" y="134970"/>
                    <a:pt x="530412" y="139901"/>
                    <a:pt x="530027" y="141827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1" name="Graphic 116">
            <a:extLst>
              <a:ext uri="{FF2B5EF4-FFF2-40B4-BE49-F238E27FC236}">
                <a16:creationId xmlns:a16="http://schemas.microsoft.com/office/drawing/2014/main" id="{E379A281-8268-46BC-9D19-ED1740EBB09E}"/>
              </a:ext>
            </a:extLst>
          </p:cNvPr>
          <p:cNvGrpSpPr/>
          <p:nvPr/>
        </p:nvGrpSpPr>
        <p:grpSpPr>
          <a:xfrm>
            <a:off x="6814781" y="4659357"/>
            <a:ext cx="493048" cy="563692"/>
            <a:chOff x="6814781" y="4659357"/>
            <a:chExt cx="493048" cy="563692"/>
          </a:xfrm>
          <a:solidFill>
            <a:schemeClr val="bg1"/>
          </a:solidFill>
        </p:grpSpPr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69C95020-2BF6-4B68-AB02-C3ADB6F19D0C}"/>
                </a:ext>
              </a:extLst>
            </p:cNvPr>
            <p:cNvSpPr/>
            <p:nvPr/>
          </p:nvSpPr>
          <p:spPr>
            <a:xfrm>
              <a:off x="6955608" y="4659357"/>
              <a:ext cx="211394" cy="258388"/>
            </a:xfrm>
            <a:custGeom>
              <a:avLst/>
              <a:gdLst>
                <a:gd name="connsiteX0" fmla="*/ 105697 w 211394"/>
                <a:gd name="connsiteY0" fmla="*/ 258388 h 258388"/>
                <a:gd name="connsiteX1" fmla="*/ 211394 w 211394"/>
                <a:gd name="connsiteY1" fmla="*/ 152691 h 258388"/>
                <a:gd name="connsiteX2" fmla="*/ 211394 w 211394"/>
                <a:gd name="connsiteY2" fmla="*/ 105697 h 258388"/>
                <a:gd name="connsiteX3" fmla="*/ 105697 w 211394"/>
                <a:gd name="connsiteY3" fmla="*/ 0 h 258388"/>
                <a:gd name="connsiteX4" fmla="*/ 0 w 211394"/>
                <a:gd name="connsiteY4" fmla="*/ 105697 h 258388"/>
                <a:gd name="connsiteX5" fmla="*/ 0 w 211394"/>
                <a:gd name="connsiteY5" fmla="*/ 152691 h 258388"/>
                <a:gd name="connsiteX6" fmla="*/ 105697 w 211394"/>
                <a:gd name="connsiteY6" fmla="*/ 258388 h 258388"/>
                <a:gd name="connsiteX7" fmla="*/ 23497 w 211394"/>
                <a:gd name="connsiteY7" fmla="*/ 105774 h 258388"/>
                <a:gd name="connsiteX8" fmla="*/ 105697 w 211394"/>
                <a:gd name="connsiteY8" fmla="*/ 23574 h 258388"/>
                <a:gd name="connsiteX9" fmla="*/ 187898 w 211394"/>
                <a:gd name="connsiteY9" fmla="*/ 105774 h 258388"/>
                <a:gd name="connsiteX10" fmla="*/ 187898 w 211394"/>
                <a:gd name="connsiteY10" fmla="*/ 152768 h 258388"/>
                <a:gd name="connsiteX11" fmla="*/ 105697 w 211394"/>
                <a:gd name="connsiteY11" fmla="*/ 234968 h 258388"/>
                <a:gd name="connsiteX12" fmla="*/ 23497 w 211394"/>
                <a:gd name="connsiteY12" fmla="*/ 152768 h 258388"/>
                <a:gd name="connsiteX13" fmla="*/ 23497 w 211394"/>
                <a:gd name="connsiteY13" fmla="*/ 105774 h 25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1394" h="258388">
                  <a:moveTo>
                    <a:pt x="105697" y="258388"/>
                  </a:moveTo>
                  <a:cubicBezTo>
                    <a:pt x="163938" y="258388"/>
                    <a:pt x="211394" y="211009"/>
                    <a:pt x="211394" y="152691"/>
                  </a:cubicBezTo>
                  <a:lnTo>
                    <a:pt x="211394" y="105697"/>
                  </a:lnTo>
                  <a:cubicBezTo>
                    <a:pt x="211394" y="47456"/>
                    <a:pt x="164016" y="0"/>
                    <a:pt x="105697" y="0"/>
                  </a:cubicBezTo>
                  <a:cubicBezTo>
                    <a:pt x="47379" y="0"/>
                    <a:pt x="0" y="47379"/>
                    <a:pt x="0" y="105697"/>
                  </a:cubicBezTo>
                  <a:lnTo>
                    <a:pt x="0" y="152691"/>
                  </a:lnTo>
                  <a:cubicBezTo>
                    <a:pt x="0" y="210932"/>
                    <a:pt x="47379" y="258388"/>
                    <a:pt x="105697" y="258388"/>
                  </a:cubicBezTo>
                  <a:close/>
                  <a:moveTo>
                    <a:pt x="23497" y="105774"/>
                  </a:moveTo>
                  <a:cubicBezTo>
                    <a:pt x="23497" y="60475"/>
                    <a:pt x="60398" y="23574"/>
                    <a:pt x="105697" y="23574"/>
                  </a:cubicBezTo>
                  <a:cubicBezTo>
                    <a:pt x="150996" y="23574"/>
                    <a:pt x="187898" y="60475"/>
                    <a:pt x="187898" y="105774"/>
                  </a:cubicBezTo>
                  <a:lnTo>
                    <a:pt x="187898" y="152768"/>
                  </a:lnTo>
                  <a:cubicBezTo>
                    <a:pt x="187898" y="198067"/>
                    <a:pt x="150996" y="234968"/>
                    <a:pt x="105697" y="234968"/>
                  </a:cubicBezTo>
                  <a:cubicBezTo>
                    <a:pt x="60398" y="234968"/>
                    <a:pt x="23497" y="198067"/>
                    <a:pt x="23497" y="152768"/>
                  </a:cubicBezTo>
                  <a:lnTo>
                    <a:pt x="23497" y="105774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89B00F0C-9DAA-4746-9158-240F65172CE9}"/>
                </a:ext>
              </a:extLst>
            </p:cNvPr>
            <p:cNvSpPr/>
            <p:nvPr/>
          </p:nvSpPr>
          <p:spPr>
            <a:xfrm>
              <a:off x="6814781" y="4964739"/>
              <a:ext cx="493048" cy="258310"/>
            </a:xfrm>
            <a:custGeom>
              <a:avLst/>
              <a:gdLst>
                <a:gd name="connsiteX0" fmla="*/ 336659 w 493048"/>
                <a:gd name="connsiteY0" fmla="*/ 0 h 258310"/>
                <a:gd name="connsiteX1" fmla="*/ 313394 w 493048"/>
                <a:gd name="connsiteY1" fmla="*/ 12403 h 258310"/>
                <a:gd name="connsiteX2" fmla="*/ 246524 w 493048"/>
                <a:gd name="connsiteY2" fmla="*/ 46917 h 258310"/>
                <a:gd name="connsiteX3" fmla="*/ 179654 w 493048"/>
                <a:gd name="connsiteY3" fmla="*/ 12403 h 258310"/>
                <a:gd name="connsiteX4" fmla="*/ 156389 w 493048"/>
                <a:gd name="connsiteY4" fmla="*/ 0 h 258310"/>
                <a:gd name="connsiteX5" fmla="*/ 156389 w 493048"/>
                <a:gd name="connsiteY5" fmla="*/ 0 h 258310"/>
                <a:gd name="connsiteX6" fmla="*/ 0 w 493048"/>
                <a:gd name="connsiteY6" fmla="*/ 156389 h 258310"/>
                <a:gd name="connsiteX7" fmla="*/ 0 w 493048"/>
                <a:gd name="connsiteY7" fmla="*/ 222411 h 258310"/>
                <a:gd name="connsiteX8" fmla="*/ 35900 w 493048"/>
                <a:gd name="connsiteY8" fmla="*/ 258311 h 258310"/>
                <a:gd name="connsiteX9" fmla="*/ 457148 w 493048"/>
                <a:gd name="connsiteY9" fmla="*/ 258311 h 258310"/>
                <a:gd name="connsiteX10" fmla="*/ 493048 w 493048"/>
                <a:gd name="connsiteY10" fmla="*/ 222411 h 258310"/>
                <a:gd name="connsiteX11" fmla="*/ 493048 w 493048"/>
                <a:gd name="connsiteY11" fmla="*/ 156389 h 258310"/>
                <a:gd name="connsiteX12" fmla="*/ 336582 w 493048"/>
                <a:gd name="connsiteY12" fmla="*/ 0 h 258310"/>
                <a:gd name="connsiteX13" fmla="*/ 469628 w 493048"/>
                <a:gd name="connsiteY13" fmla="*/ 222411 h 258310"/>
                <a:gd name="connsiteX14" fmla="*/ 457148 w 493048"/>
                <a:gd name="connsiteY14" fmla="*/ 234891 h 258310"/>
                <a:gd name="connsiteX15" fmla="*/ 35900 w 493048"/>
                <a:gd name="connsiteY15" fmla="*/ 234891 h 258310"/>
                <a:gd name="connsiteX16" fmla="*/ 23420 w 493048"/>
                <a:gd name="connsiteY16" fmla="*/ 222411 h 258310"/>
                <a:gd name="connsiteX17" fmla="*/ 23420 w 493048"/>
                <a:gd name="connsiteY17" fmla="*/ 156389 h 258310"/>
                <a:gd name="connsiteX18" fmla="*/ 156312 w 493048"/>
                <a:gd name="connsiteY18" fmla="*/ 23497 h 258310"/>
                <a:gd name="connsiteX19" fmla="*/ 156312 w 493048"/>
                <a:gd name="connsiteY19" fmla="*/ 23497 h 258310"/>
                <a:gd name="connsiteX20" fmla="*/ 160395 w 493048"/>
                <a:gd name="connsiteY20" fmla="*/ 26039 h 258310"/>
                <a:gd name="connsiteX21" fmla="*/ 246447 w 493048"/>
                <a:gd name="connsiteY21" fmla="*/ 70490 h 258310"/>
                <a:gd name="connsiteX22" fmla="*/ 332499 w 493048"/>
                <a:gd name="connsiteY22" fmla="*/ 26039 h 258310"/>
                <a:gd name="connsiteX23" fmla="*/ 336659 w 493048"/>
                <a:gd name="connsiteY23" fmla="*/ 23497 h 258310"/>
                <a:gd name="connsiteX24" fmla="*/ 469551 w 493048"/>
                <a:gd name="connsiteY24" fmla="*/ 156389 h 258310"/>
                <a:gd name="connsiteX25" fmla="*/ 469551 w 493048"/>
                <a:gd name="connsiteY25" fmla="*/ 222411 h 25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93048" h="258310">
                  <a:moveTo>
                    <a:pt x="336659" y="0"/>
                  </a:moveTo>
                  <a:cubicBezTo>
                    <a:pt x="327492" y="0"/>
                    <a:pt x="319018" y="4545"/>
                    <a:pt x="313394" y="12403"/>
                  </a:cubicBezTo>
                  <a:cubicBezTo>
                    <a:pt x="298063" y="34051"/>
                    <a:pt x="273102" y="46917"/>
                    <a:pt x="246524" y="46917"/>
                  </a:cubicBezTo>
                  <a:cubicBezTo>
                    <a:pt x="219946" y="46917"/>
                    <a:pt x="194985" y="33974"/>
                    <a:pt x="179654" y="12403"/>
                  </a:cubicBezTo>
                  <a:cubicBezTo>
                    <a:pt x="174031" y="4468"/>
                    <a:pt x="165556" y="0"/>
                    <a:pt x="156389" y="0"/>
                  </a:cubicBezTo>
                  <a:lnTo>
                    <a:pt x="156389" y="0"/>
                  </a:lnTo>
                  <a:cubicBezTo>
                    <a:pt x="70182" y="0"/>
                    <a:pt x="0" y="70182"/>
                    <a:pt x="0" y="156389"/>
                  </a:cubicBezTo>
                  <a:lnTo>
                    <a:pt x="0" y="222411"/>
                  </a:lnTo>
                  <a:cubicBezTo>
                    <a:pt x="0" y="242210"/>
                    <a:pt x="16101" y="258311"/>
                    <a:pt x="35900" y="258311"/>
                  </a:cubicBezTo>
                  <a:lnTo>
                    <a:pt x="457148" y="258311"/>
                  </a:lnTo>
                  <a:cubicBezTo>
                    <a:pt x="476947" y="258311"/>
                    <a:pt x="493048" y="242210"/>
                    <a:pt x="493048" y="222411"/>
                  </a:cubicBezTo>
                  <a:lnTo>
                    <a:pt x="493048" y="156389"/>
                  </a:lnTo>
                  <a:cubicBezTo>
                    <a:pt x="493048" y="70182"/>
                    <a:pt x="422866" y="0"/>
                    <a:pt x="336582" y="0"/>
                  </a:cubicBezTo>
                  <a:close/>
                  <a:moveTo>
                    <a:pt x="469628" y="222411"/>
                  </a:moveTo>
                  <a:cubicBezTo>
                    <a:pt x="469628" y="229267"/>
                    <a:pt x="464004" y="234891"/>
                    <a:pt x="457148" y="234891"/>
                  </a:cubicBezTo>
                  <a:lnTo>
                    <a:pt x="35900" y="234891"/>
                  </a:lnTo>
                  <a:cubicBezTo>
                    <a:pt x="29044" y="234891"/>
                    <a:pt x="23420" y="229267"/>
                    <a:pt x="23420" y="222411"/>
                  </a:cubicBezTo>
                  <a:lnTo>
                    <a:pt x="23420" y="156389"/>
                  </a:lnTo>
                  <a:cubicBezTo>
                    <a:pt x="23420" y="83125"/>
                    <a:pt x="83048" y="23497"/>
                    <a:pt x="156312" y="23497"/>
                  </a:cubicBezTo>
                  <a:lnTo>
                    <a:pt x="156312" y="23497"/>
                  </a:lnTo>
                  <a:cubicBezTo>
                    <a:pt x="158392" y="23497"/>
                    <a:pt x="159855" y="25269"/>
                    <a:pt x="160395" y="26039"/>
                  </a:cubicBezTo>
                  <a:cubicBezTo>
                    <a:pt x="180117" y="53850"/>
                    <a:pt x="212242" y="70490"/>
                    <a:pt x="246447" y="70490"/>
                  </a:cubicBezTo>
                  <a:cubicBezTo>
                    <a:pt x="280652" y="70490"/>
                    <a:pt x="312777" y="53850"/>
                    <a:pt x="332499" y="26039"/>
                  </a:cubicBezTo>
                  <a:cubicBezTo>
                    <a:pt x="333039" y="25269"/>
                    <a:pt x="334502" y="23497"/>
                    <a:pt x="336659" y="23497"/>
                  </a:cubicBezTo>
                  <a:cubicBezTo>
                    <a:pt x="409923" y="23497"/>
                    <a:pt x="469551" y="83125"/>
                    <a:pt x="469551" y="156389"/>
                  </a:cubicBezTo>
                  <a:lnTo>
                    <a:pt x="469551" y="222411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4" name="Graphic 116">
            <a:extLst>
              <a:ext uri="{FF2B5EF4-FFF2-40B4-BE49-F238E27FC236}">
                <a16:creationId xmlns:a16="http://schemas.microsoft.com/office/drawing/2014/main" id="{F4560B37-9FC8-48B2-97EE-BA8C2CAB635E}"/>
              </a:ext>
            </a:extLst>
          </p:cNvPr>
          <p:cNvGrpSpPr/>
          <p:nvPr/>
        </p:nvGrpSpPr>
        <p:grpSpPr>
          <a:xfrm>
            <a:off x="8990279" y="5521113"/>
            <a:ext cx="352221" cy="563538"/>
            <a:chOff x="8990279" y="5521113"/>
            <a:chExt cx="352221" cy="563538"/>
          </a:xfrm>
          <a:solidFill>
            <a:schemeClr val="bg1"/>
          </a:solidFill>
        </p:grpSpPr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617CE047-ED77-4ACA-8025-9B5BE398C3E5}"/>
                </a:ext>
              </a:extLst>
            </p:cNvPr>
            <p:cNvSpPr/>
            <p:nvPr/>
          </p:nvSpPr>
          <p:spPr>
            <a:xfrm>
              <a:off x="8990279" y="5521113"/>
              <a:ext cx="352221" cy="563538"/>
            </a:xfrm>
            <a:custGeom>
              <a:avLst/>
              <a:gdLst>
                <a:gd name="connsiteX0" fmla="*/ 176110 w 352221"/>
                <a:gd name="connsiteY0" fmla="*/ 211317 h 563538"/>
                <a:gd name="connsiteX1" fmla="*/ 70413 w 352221"/>
                <a:gd name="connsiteY1" fmla="*/ 246601 h 563538"/>
                <a:gd name="connsiteX2" fmla="*/ 70413 w 352221"/>
                <a:gd name="connsiteY2" fmla="*/ 129117 h 563538"/>
                <a:gd name="connsiteX3" fmla="*/ 176110 w 352221"/>
                <a:gd name="connsiteY3" fmla="*/ 23420 h 563538"/>
                <a:gd name="connsiteX4" fmla="*/ 250915 w 352221"/>
                <a:gd name="connsiteY4" fmla="*/ 54235 h 563538"/>
                <a:gd name="connsiteX5" fmla="*/ 281808 w 352221"/>
                <a:gd name="connsiteY5" fmla="*/ 129117 h 563538"/>
                <a:gd name="connsiteX6" fmla="*/ 281808 w 352221"/>
                <a:gd name="connsiteY6" fmla="*/ 152614 h 563538"/>
                <a:gd name="connsiteX7" fmla="*/ 293518 w 352221"/>
                <a:gd name="connsiteY7" fmla="*/ 164324 h 563538"/>
                <a:gd name="connsiteX8" fmla="*/ 305228 w 352221"/>
                <a:gd name="connsiteY8" fmla="*/ 152614 h 563538"/>
                <a:gd name="connsiteX9" fmla="*/ 305228 w 352221"/>
                <a:gd name="connsiteY9" fmla="*/ 129117 h 563538"/>
                <a:gd name="connsiteX10" fmla="*/ 267479 w 352221"/>
                <a:gd name="connsiteY10" fmla="*/ 37672 h 563538"/>
                <a:gd name="connsiteX11" fmla="*/ 176110 w 352221"/>
                <a:gd name="connsiteY11" fmla="*/ 0 h 563538"/>
                <a:gd name="connsiteX12" fmla="*/ 46994 w 352221"/>
                <a:gd name="connsiteY12" fmla="*/ 129117 h 563538"/>
                <a:gd name="connsiteX13" fmla="*/ 46994 w 352221"/>
                <a:gd name="connsiteY13" fmla="*/ 267864 h 563538"/>
                <a:gd name="connsiteX14" fmla="*/ 0 w 352221"/>
                <a:gd name="connsiteY14" fmla="*/ 387428 h 563538"/>
                <a:gd name="connsiteX15" fmla="*/ 176110 w 352221"/>
                <a:gd name="connsiteY15" fmla="*/ 563539 h 563538"/>
                <a:gd name="connsiteX16" fmla="*/ 352221 w 352221"/>
                <a:gd name="connsiteY16" fmla="*/ 387428 h 563538"/>
                <a:gd name="connsiteX17" fmla="*/ 176110 w 352221"/>
                <a:gd name="connsiteY17" fmla="*/ 211317 h 563538"/>
                <a:gd name="connsiteX18" fmla="*/ 176110 w 352221"/>
                <a:gd name="connsiteY18" fmla="*/ 540042 h 563538"/>
                <a:gd name="connsiteX19" fmla="*/ 23497 w 352221"/>
                <a:gd name="connsiteY19" fmla="*/ 387428 h 563538"/>
                <a:gd name="connsiteX20" fmla="*/ 67024 w 352221"/>
                <a:gd name="connsiteY20" fmla="*/ 280883 h 563538"/>
                <a:gd name="connsiteX21" fmla="*/ 67024 w 352221"/>
                <a:gd name="connsiteY21" fmla="*/ 280883 h 563538"/>
                <a:gd name="connsiteX22" fmla="*/ 176110 w 352221"/>
                <a:gd name="connsiteY22" fmla="*/ 234814 h 563538"/>
                <a:gd name="connsiteX23" fmla="*/ 328724 w 352221"/>
                <a:gd name="connsiteY23" fmla="*/ 387428 h 563538"/>
                <a:gd name="connsiteX24" fmla="*/ 176110 w 352221"/>
                <a:gd name="connsiteY24" fmla="*/ 540042 h 563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2221" h="563538">
                  <a:moveTo>
                    <a:pt x="176110" y="211317"/>
                  </a:moveTo>
                  <a:cubicBezTo>
                    <a:pt x="136513" y="211317"/>
                    <a:pt x="99919" y="224491"/>
                    <a:pt x="70413" y="246601"/>
                  </a:cubicBezTo>
                  <a:lnTo>
                    <a:pt x="70413" y="129117"/>
                  </a:lnTo>
                  <a:cubicBezTo>
                    <a:pt x="70413" y="70876"/>
                    <a:pt x="117792" y="23420"/>
                    <a:pt x="176110" y="23420"/>
                  </a:cubicBezTo>
                  <a:cubicBezTo>
                    <a:pt x="204230" y="23420"/>
                    <a:pt x="230808" y="34359"/>
                    <a:pt x="250915" y="54235"/>
                  </a:cubicBezTo>
                  <a:cubicBezTo>
                    <a:pt x="270868" y="74342"/>
                    <a:pt x="281808" y="100998"/>
                    <a:pt x="281808" y="129117"/>
                  </a:cubicBezTo>
                  <a:lnTo>
                    <a:pt x="281808" y="152614"/>
                  </a:lnTo>
                  <a:cubicBezTo>
                    <a:pt x="281808" y="159085"/>
                    <a:pt x="287046" y="164324"/>
                    <a:pt x="293518" y="164324"/>
                  </a:cubicBezTo>
                  <a:cubicBezTo>
                    <a:pt x="299989" y="164324"/>
                    <a:pt x="305228" y="159085"/>
                    <a:pt x="305228" y="152614"/>
                  </a:cubicBezTo>
                  <a:lnTo>
                    <a:pt x="305228" y="129117"/>
                  </a:lnTo>
                  <a:cubicBezTo>
                    <a:pt x="305228" y="94758"/>
                    <a:pt x="291823" y="62324"/>
                    <a:pt x="267479" y="37672"/>
                  </a:cubicBezTo>
                  <a:cubicBezTo>
                    <a:pt x="242903" y="13405"/>
                    <a:pt x="210470" y="0"/>
                    <a:pt x="176110" y="0"/>
                  </a:cubicBezTo>
                  <a:cubicBezTo>
                    <a:pt x="104927" y="0"/>
                    <a:pt x="46994" y="57933"/>
                    <a:pt x="46994" y="129117"/>
                  </a:cubicBezTo>
                  <a:lnTo>
                    <a:pt x="46994" y="267864"/>
                  </a:lnTo>
                  <a:cubicBezTo>
                    <a:pt x="17873" y="299296"/>
                    <a:pt x="0" y="341282"/>
                    <a:pt x="0" y="387428"/>
                  </a:cubicBezTo>
                  <a:cubicBezTo>
                    <a:pt x="0" y="484574"/>
                    <a:pt x="79042" y="563539"/>
                    <a:pt x="176110" y="563539"/>
                  </a:cubicBezTo>
                  <a:cubicBezTo>
                    <a:pt x="273179" y="563539"/>
                    <a:pt x="352221" y="484497"/>
                    <a:pt x="352221" y="387428"/>
                  </a:cubicBezTo>
                  <a:cubicBezTo>
                    <a:pt x="352221" y="290359"/>
                    <a:pt x="273179" y="211317"/>
                    <a:pt x="176110" y="211317"/>
                  </a:cubicBezTo>
                  <a:close/>
                  <a:moveTo>
                    <a:pt x="176110" y="540042"/>
                  </a:moveTo>
                  <a:cubicBezTo>
                    <a:pt x="91907" y="540042"/>
                    <a:pt x="23497" y="471554"/>
                    <a:pt x="23497" y="387428"/>
                  </a:cubicBezTo>
                  <a:cubicBezTo>
                    <a:pt x="23497" y="345981"/>
                    <a:pt x="40137" y="308463"/>
                    <a:pt x="67024" y="280883"/>
                  </a:cubicBezTo>
                  <a:cubicBezTo>
                    <a:pt x="67024" y="280883"/>
                    <a:pt x="67024" y="280883"/>
                    <a:pt x="67024" y="280883"/>
                  </a:cubicBezTo>
                  <a:cubicBezTo>
                    <a:pt x="94758" y="252533"/>
                    <a:pt x="133354" y="234814"/>
                    <a:pt x="176110" y="234814"/>
                  </a:cubicBezTo>
                  <a:cubicBezTo>
                    <a:pt x="260314" y="234814"/>
                    <a:pt x="328724" y="303302"/>
                    <a:pt x="328724" y="387428"/>
                  </a:cubicBezTo>
                  <a:cubicBezTo>
                    <a:pt x="328724" y="471554"/>
                    <a:pt x="260237" y="540042"/>
                    <a:pt x="176110" y="540042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2B728C17-3718-48B3-AFE2-46E2F80BB7EC}"/>
                </a:ext>
              </a:extLst>
            </p:cNvPr>
            <p:cNvSpPr/>
            <p:nvPr/>
          </p:nvSpPr>
          <p:spPr>
            <a:xfrm>
              <a:off x="9119396" y="5838051"/>
              <a:ext cx="93833" cy="142906"/>
            </a:xfrm>
            <a:custGeom>
              <a:avLst/>
              <a:gdLst>
                <a:gd name="connsiteX0" fmla="*/ 46993 w 93833"/>
                <a:gd name="connsiteY0" fmla="*/ 0 h 142906"/>
                <a:gd name="connsiteX1" fmla="*/ 0 w 93833"/>
                <a:gd name="connsiteY1" fmla="*/ 46994 h 142906"/>
                <a:gd name="connsiteX2" fmla="*/ 35207 w 93833"/>
                <a:gd name="connsiteY2" fmla="*/ 92447 h 142906"/>
                <a:gd name="connsiteX3" fmla="*/ 35207 w 93833"/>
                <a:gd name="connsiteY3" fmla="*/ 131197 h 142906"/>
                <a:gd name="connsiteX4" fmla="*/ 46917 w 93833"/>
                <a:gd name="connsiteY4" fmla="*/ 142907 h 142906"/>
                <a:gd name="connsiteX5" fmla="*/ 58626 w 93833"/>
                <a:gd name="connsiteY5" fmla="*/ 131197 h 142906"/>
                <a:gd name="connsiteX6" fmla="*/ 58626 w 93833"/>
                <a:gd name="connsiteY6" fmla="*/ 92447 h 142906"/>
                <a:gd name="connsiteX7" fmla="*/ 93833 w 93833"/>
                <a:gd name="connsiteY7" fmla="*/ 46994 h 142906"/>
                <a:gd name="connsiteX8" fmla="*/ 46839 w 93833"/>
                <a:gd name="connsiteY8" fmla="*/ 0 h 142906"/>
                <a:gd name="connsiteX9" fmla="*/ 46993 w 93833"/>
                <a:gd name="connsiteY9" fmla="*/ 70413 h 142906"/>
                <a:gd name="connsiteX10" fmla="*/ 23497 w 93833"/>
                <a:gd name="connsiteY10" fmla="*/ 46917 h 142906"/>
                <a:gd name="connsiteX11" fmla="*/ 46993 w 93833"/>
                <a:gd name="connsiteY11" fmla="*/ 23420 h 142906"/>
                <a:gd name="connsiteX12" fmla="*/ 70490 w 93833"/>
                <a:gd name="connsiteY12" fmla="*/ 46917 h 142906"/>
                <a:gd name="connsiteX13" fmla="*/ 46993 w 93833"/>
                <a:gd name="connsiteY13" fmla="*/ 70413 h 14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833" h="142906">
                  <a:moveTo>
                    <a:pt x="46993" y="0"/>
                  </a:moveTo>
                  <a:cubicBezTo>
                    <a:pt x="21109" y="0"/>
                    <a:pt x="0" y="21032"/>
                    <a:pt x="0" y="46994"/>
                  </a:cubicBezTo>
                  <a:cubicBezTo>
                    <a:pt x="0" y="68796"/>
                    <a:pt x="15022" y="87208"/>
                    <a:pt x="35207" y="92447"/>
                  </a:cubicBezTo>
                  <a:lnTo>
                    <a:pt x="35207" y="131197"/>
                  </a:lnTo>
                  <a:cubicBezTo>
                    <a:pt x="35207" y="137668"/>
                    <a:pt x="40445" y="142907"/>
                    <a:pt x="46917" y="142907"/>
                  </a:cubicBezTo>
                  <a:cubicBezTo>
                    <a:pt x="53388" y="142907"/>
                    <a:pt x="58626" y="137668"/>
                    <a:pt x="58626" y="131197"/>
                  </a:cubicBezTo>
                  <a:lnTo>
                    <a:pt x="58626" y="92447"/>
                  </a:lnTo>
                  <a:cubicBezTo>
                    <a:pt x="78810" y="87208"/>
                    <a:pt x="93833" y="68873"/>
                    <a:pt x="93833" y="46994"/>
                  </a:cubicBezTo>
                  <a:cubicBezTo>
                    <a:pt x="93833" y="21109"/>
                    <a:pt x="72801" y="0"/>
                    <a:pt x="46839" y="0"/>
                  </a:cubicBezTo>
                  <a:close/>
                  <a:moveTo>
                    <a:pt x="46993" y="70413"/>
                  </a:moveTo>
                  <a:cubicBezTo>
                    <a:pt x="34051" y="70413"/>
                    <a:pt x="23497" y="59859"/>
                    <a:pt x="23497" y="46917"/>
                  </a:cubicBezTo>
                  <a:cubicBezTo>
                    <a:pt x="23497" y="33974"/>
                    <a:pt x="34051" y="23420"/>
                    <a:pt x="46993" y="23420"/>
                  </a:cubicBezTo>
                  <a:cubicBezTo>
                    <a:pt x="59936" y="23420"/>
                    <a:pt x="70490" y="33974"/>
                    <a:pt x="70490" y="46917"/>
                  </a:cubicBezTo>
                  <a:cubicBezTo>
                    <a:pt x="70490" y="59859"/>
                    <a:pt x="59936" y="70413"/>
                    <a:pt x="46993" y="70413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7" name="Graphic 116">
            <a:extLst>
              <a:ext uri="{FF2B5EF4-FFF2-40B4-BE49-F238E27FC236}">
                <a16:creationId xmlns:a16="http://schemas.microsoft.com/office/drawing/2014/main" id="{A65D5648-5F55-4417-BDD1-F496ED780952}"/>
              </a:ext>
            </a:extLst>
          </p:cNvPr>
          <p:cNvGrpSpPr/>
          <p:nvPr/>
        </p:nvGrpSpPr>
        <p:grpSpPr>
          <a:xfrm>
            <a:off x="7832078" y="4659435"/>
            <a:ext cx="563615" cy="563615"/>
            <a:chOff x="7832078" y="4659435"/>
            <a:chExt cx="563615" cy="563615"/>
          </a:xfrm>
          <a:solidFill>
            <a:schemeClr val="bg1"/>
          </a:solidFill>
        </p:grpSpPr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9B217792-6FCB-4394-AE12-879B6B6C44F1}"/>
                </a:ext>
              </a:extLst>
            </p:cNvPr>
            <p:cNvSpPr/>
            <p:nvPr/>
          </p:nvSpPr>
          <p:spPr>
            <a:xfrm>
              <a:off x="7832078" y="4659435"/>
              <a:ext cx="563615" cy="563615"/>
            </a:xfrm>
            <a:custGeom>
              <a:avLst/>
              <a:gdLst>
                <a:gd name="connsiteX0" fmla="*/ 554679 w 563615"/>
                <a:gd name="connsiteY0" fmla="*/ 235199 h 563615"/>
                <a:gd name="connsiteX1" fmla="*/ 482956 w 563615"/>
                <a:gd name="connsiteY1" fmla="*/ 217326 h 563615"/>
                <a:gd name="connsiteX2" fmla="*/ 469628 w 563615"/>
                <a:gd name="connsiteY2" fmla="*/ 185201 h 563615"/>
                <a:gd name="connsiteX3" fmla="*/ 507762 w 563615"/>
                <a:gd name="connsiteY3" fmla="*/ 121798 h 563615"/>
                <a:gd name="connsiteX4" fmla="*/ 505991 w 563615"/>
                <a:gd name="connsiteY4" fmla="*/ 107469 h 563615"/>
                <a:gd name="connsiteX5" fmla="*/ 456146 w 563615"/>
                <a:gd name="connsiteY5" fmla="*/ 57625 h 563615"/>
                <a:gd name="connsiteX6" fmla="*/ 441817 w 563615"/>
                <a:gd name="connsiteY6" fmla="*/ 55853 h 563615"/>
                <a:gd name="connsiteX7" fmla="*/ 378414 w 563615"/>
                <a:gd name="connsiteY7" fmla="*/ 93987 h 563615"/>
                <a:gd name="connsiteX8" fmla="*/ 346289 w 563615"/>
                <a:gd name="connsiteY8" fmla="*/ 80660 h 563615"/>
                <a:gd name="connsiteX9" fmla="*/ 328416 w 563615"/>
                <a:gd name="connsiteY9" fmla="*/ 8936 h 563615"/>
                <a:gd name="connsiteX10" fmla="*/ 317014 w 563615"/>
                <a:gd name="connsiteY10" fmla="*/ 0 h 563615"/>
                <a:gd name="connsiteX11" fmla="*/ 246601 w 563615"/>
                <a:gd name="connsiteY11" fmla="*/ 0 h 563615"/>
                <a:gd name="connsiteX12" fmla="*/ 235199 w 563615"/>
                <a:gd name="connsiteY12" fmla="*/ 8936 h 563615"/>
                <a:gd name="connsiteX13" fmla="*/ 217326 w 563615"/>
                <a:gd name="connsiteY13" fmla="*/ 80660 h 563615"/>
                <a:gd name="connsiteX14" fmla="*/ 185201 w 563615"/>
                <a:gd name="connsiteY14" fmla="*/ 93987 h 563615"/>
                <a:gd name="connsiteX15" fmla="*/ 121798 w 563615"/>
                <a:gd name="connsiteY15" fmla="*/ 55853 h 563615"/>
                <a:gd name="connsiteX16" fmla="*/ 107469 w 563615"/>
                <a:gd name="connsiteY16" fmla="*/ 57625 h 563615"/>
                <a:gd name="connsiteX17" fmla="*/ 57625 w 563615"/>
                <a:gd name="connsiteY17" fmla="*/ 107469 h 563615"/>
                <a:gd name="connsiteX18" fmla="*/ 55853 w 563615"/>
                <a:gd name="connsiteY18" fmla="*/ 121798 h 563615"/>
                <a:gd name="connsiteX19" fmla="*/ 93987 w 563615"/>
                <a:gd name="connsiteY19" fmla="*/ 185201 h 563615"/>
                <a:gd name="connsiteX20" fmla="*/ 80660 w 563615"/>
                <a:gd name="connsiteY20" fmla="*/ 217326 h 563615"/>
                <a:gd name="connsiteX21" fmla="*/ 8936 w 563615"/>
                <a:gd name="connsiteY21" fmla="*/ 235199 h 563615"/>
                <a:gd name="connsiteX22" fmla="*/ 0 w 563615"/>
                <a:gd name="connsiteY22" fmla="*/ 246601 h 563615"/>
                <a:gd name="connsiteX23" fmla="*/ 0 w 563615"/>
                <a:gd name="connsiteY23" fmla="*/ 317015 h 563615"/>
                <a:gd name="connsiteX24" fmla="*/ 8936 w 563615"/>
                <a:gd name="connsiteY24" fmla="*/ 328416 h 563615"/>
                <a:gd name="connsiteX25" fmla="*/ 80660 w 563615"/>
                <a:gd name="connsiteY25" fmla="*/ 346289 h 563615"/>
                <a:gd name="connsiteX26" fmla="*/ 93987 w 563615"/>
                <a:gd name="connsiteY26" fmla="*/ 378414 h 563615"/>
                <a:gd name="connsiteX27" fmla="*/ 55853 w 563615"/>
                <a:gd name="connsiteY27" fmla="*/ 441817 h 563615"/>
                <a:gd name="connsiteX28" fmla="*/ 57625 w 563615"/>
                <a:gd name="connsiteY28" fmla="*/ 456147 h 563615"/>
                <a:gd name="connsiteX29" fmla="*/ 107469 w 563615"/>
                <a:gd name="connsiteY29" fmla="*/ 505991 h 563615"/>
                <a:gd name="connsiteX30" fmla="*/ 121798 w 563615"/>
                <a:gd name="connsiteY30" fmla="*/ 507763 h 563615"/>
                <a:gd name="connsiteX31" fmla="*/ 185201 w 563615"/>
                <a:gd name="connsiteY31" fmla="*/ 469628 h 563615"/>
                <a:gd name="connsiteX32" fmla="*/ 217326 w 563615"/>
                <a:gd name="connsiteY32" fmla="*/ 482956 h 563615"/>
                <a:gd name="connsiteX33" fmla="*/ 235199 w 563615"/>
                <a:gd name="connsiteY33" fmla="*/ 554679 h 563615"/>
                <a:gd name="connsiteX34" fmla="*/ 246601 w 563615"/>
                <a:gd name="connsiteY34" fmla="*/ 563616 h 563615"/>
                <a:gd name="connsiteX35" fmla="*/ 317014 w 563615"/>
                <a:gd name="connsiteY35" fmla="*/ 563616 h 563615"/>
                <a:gd name="connsiteX36" fmla="*/ 328416 w 563615"/>
                <a:gd name="connsiteY36" fmla="*/ 554679 h 563615"/>
                <a:gd name="connsiteX37" fmla="*/ 346289 w 563615"/>
                <a:gd name="connsiteY37" fmla="*/ 482956 h 563615"/>
                <a:gd name="connsiteX38" fmla="*/ 378414 w 563615"/>
                <a:gd name="connsiteY38" fmla="*/ 469628 h 563615"/>
                <a:gd name="connsiteX39" fmla="*/ 441817 w 563615"/>
                <a:gd name="connsiteY39" fmla="*/ 507763 h 563615"/>
                <a:gd name="connsiteX40" fmla="*/ 456146 w 563615"/>
                <a:gd name="connsiteY40" fmla="*/ 505991 h 563615"/>
                <a:gd name="connsiteX41" fmla="*/ 505991 w 563615"/>
                <a:gd name="connsiteY41" fmla="*/ 456147 h 563615"/>
                <a:gd name="connsiteX42" fmla="*/ 507762 w 563615"/>
                <a:gd name="connsiteY42" fmla="*/ 441817 h 563615"/>
                <a:gd name="connsiteX43" fmla="*/ 469628 w 563615"/>
                <a:gd name="connsiteY43" fmla="*/ 378414 h 563615"/>
                <a:gd name="connsiteX44" fmla="*/ 482956 w 563615"/>
                <a:gd name="connsiteY44" fmla="*/ 346289 h 563615"/>
                <a:gd name="connsiteX45" fmla="*/ 554679 w 563615"/>
                <a:gd name="connsiteY45" fmla="*/ 328416 h 563615"/>
                <a:gd name="connsiteX46" fmla="*/ 563615 w 563615"/>
                <a:gd name="connsiteY46" fmla="*/ 317015 h 563615"/>
                <a:gd name="connsiteX47" fmla="*/ 563615 w 563615"/>
                <a:gd name="connsiteY47" fmla="*/ 246601 h 563615"/>
                <a:gd name="connsiteX48" fmla="*/ 554679 w 563615"/>
                <a:gd name="connsiteY48" fmla="*/ 235199 h 563615"/>
                <a:gd name="connsiteX49" fmla="*/ 540119 w 563615"/>
                <a:gd name="connsiteY49" fmla="*/ 307847 h 563615"/>
                <a:gd name="connsiteX50" fmla="*/ 470784 w 563615"/>
                <a:gd name="connsiteY50" fmla="*/ 325104 h 563615"/>
                <a:gd name="connsiteX51" fmla="*/ 462310 w 563615"/>
                <a:gd name="connsiteY51" fmla="*/ 333347 h 563615"/>
                <a:gd name="connsiteX52" fmla="*/ 445823 w 563615"/>
                <a:gd name="connsiteY52" fmla="*/ 372945 h 563615"/>
                <a:gd name="connsiteX53" fmla="*/ 446208 w 563615"/>
                <a:gd name="connsiteY53" fmla="*/ 385194 h 563615"/>
                <a:gd name="connsiteX54" fmla="*/ 446594 w 563615"/>
                <a:gd name="connsiteY54" fmla="*/ 385733 h 563615"/>
                <a:gd name="connsiteX55" fmla="*/ 482802 w 563615"/>
                <a:gd name="connsiteY55" fmla="*/ 446054 h 563615"/>
                <a:gd name="connsiteX56" fmla="*/ 445977 w 563615"/>
                <a:gd name="connsiteY56" fmla="*/ 482879 h 563615"/>
                <a:gd name="connsiteX57" fmla="*/ 386041 w 563615"/>
                <a:gd name="connsiteY57" fmla="*/ 446825 h 563615"/>
                <a:gd name="connsiteX58" fmla="*/ 385117 w 563615"/>
                <a:gd name="connsiteY58" fmla="*/ 446209 h 563615"/>
                <a:gd name="connsiteX59" fmla="*/ 372868 w 563615"/>
                <a:gd name="connsiteY59" fmla="*/ 445823 h 563615"/>
                <a:gd name="connsiteX60" fmla="*/ 333270 w 563615"/>
                <a:gd name="connsiteY60" fmla="*/ 462310 h 563615"/>
                <a:gd name="connsiteX61" fmla="*/ 325027 w 563615"/>
                <a:gd name="connsiteY61" fmla="*/ 470784 h 563615"/>
                <a:gd name="connsiteX62" fmla="*/ 307770 w 563615"/>
                <a:gd name="connsiteY62" fmla="*/ 540119 h 563615"/>
                <a:gd name="connsiteX63" fmla="*/ 255692 w 563615"/>
                <a:gd name="connsiteY63" fmla="*/ 540119 h 563615"/>
                <a:gd name="connsiteX64" fmla="*/ 238435 w 563615"/>
                <a:gd name="connsiteY64" fmla="*/ 470784 h 563615"/>
                <a:gd name="connsiteX65" fmla="*/ 230192 w 563615"/>
                <a:gd name="connsiteY65" fmla="*/ 462310 h 563615"/>
                <a:gd name="connsiteX66" fmla="*/ 190594 w 563615"/>
                <a:gd name="connsiteY66" fmla="*/ 445823 h 563615"/>
                <a:gd name="connsiteX67" fmla="*/ 178345 w 563615"/>
                <a:gd name="connsiteY67" fmla="*/ 446209 h 563615"/>
                <a:gd name="connsiteX68" fmla="*/ 177805 w 563615"/>
                <a:gd name="connsiteY68" fmla="*/ 446594 h 563615"/>
                <a:gd name="connsiteX69" fmla="*/ 117484 w 563615"/>
                <a:gd name="connsiteY69" fmla="*/ 482802 h 563615"/>
                <a:gd name="connsiteX70" fmla="*/ 80660 w 563615"/>
                <a:gd name="connsiteY70" fmla="*/ 445977 h 563615"/>
                <a:gd name="connsiteX71" fmla="*/ 116714 w 563615"/>
                <a:gd name="connsiteY71" fmla="*/ 386041 h 563615"/>
                <a:gd name="connsiteX72" fmla="*/ 117330 w 563615"/>
                <a:gd name="connsiteY72" fmla="*/ 385117 h 563615"/>
                <a:gd name="connsiteX73" fmla="*/ 117715 w 563615"/>
                <a:gd name="connsiteY73" fmla="*/ 372868 h 563615"/>
                <a:gd name="connsiteX74" fmla="*/ 101229 w 563615"/>
                <a:gd name="connsiteY74" fmla="*/ 333270 h 563615"/>
                <a:gd name="connsiteX75" fmla="*/ 92755 w 563615"/>
                <a:gd name="connsiteY75" fmla="*/ 325027 h 563615"/>
                <a:gd name="connsiteX76" fmla="*/ 23420 w 563615"/>
                <a:gd name="connsiteY76" fmla="*/ 307770 h 563615"/>
                <a:gd name="connsiteX77" fmla="*/ 23420 w 563615"/>
                <a:gd name="connsiteY77" fmla="*/ 255692 h 563615"/>
                <a:gd name="connsiteX78" fmla="*/ 92755 w 563615"/>
                <a:gd name="connsiteY78" fmla="*/ 238435 h 563615"/>
                <a:gd name="connsiteX79" fmla="*/ 101229 w 563615"/>
                <a:gd name="connsiteY79" fmla="*/ 230192 h 563615"/>
                <a:gd name="connsiteX80" fmla="*/ 117715 w 563615"/>
                <a:gd name="connsiteY80" fmla="*/ 190594 h 563615"/>
                <a:gd name="connsiteX81" fmla="*/ 117330 w 563615"/>
                <a:gd name="connsiteY81" fmla="*/ 178345 h 563615"/>
                <a:gd name="connsiteX82" fmla="*/ 116714 w 563615"/>
                <a:gd name="connsiteY82" fmla="*/ 177420 h 563615"/>
                <a:gd name="connsiteX83" fmla="*/ 80660 w 563615"/>
                <a:gd name="connsiteY83" fmla="*/ 117484 h 563615"/>
                <a:gd name="connsiteX84" fmla="*/ 117484 w 563615"/>
                <a:gd name="connsiteY84" fmla="*/ 80660 h 563615"/>
                <a:gd name="connsiteX85" fmla="*/ 177420 w 563615"/>
                <a:gd name="connsiteY85" fmla="*/ 116714 h 563615"/>
                <a:gd name="connsiteX86" fmla="*/ 178345 w 563615"/>
                <a:gd name="connsiteY86" fmla="*/ 117330 h 563615"/>
                <a:gd name="connsiteX87" fmla="*/ 190594 w 563615"/>
                <a:gd name="connsiteY87" fmla="*/ 117715 h 563615"/>
                <a:gd name="connsiteX88" fmla="*/ 230192 w 563615"/>
                <a:gd name="connsiteY88" fmla="*/ 101229 h 563615"/>
                <a:gd name="connsiteX89" fmla="*/ 238435 w 563615"/>
                <a:gd name="connsiteY89" fmla="*/ 92755 h 563615"/>
                <a:gd name="connsiteX90" fmla="*/ 255692 w 563615"/>
                <a:gd name="connsiteY90" fmla="*/ 23420 h 563615"/>
                <a:gd name="connsiteX91" fmla="*/ 307770 w 563615"/>
                <a:gd name="connsiteY91" fmla="*/ 23420 h 563615"/>
                <a:gd name="connsiteX92" fmla="*/ 325027 w 563615"/>
                <a:gd name="connsiteY92" fmla="*/ 92755 h 563615"/>
                <a:gd name="connsiteX93" fmla="*/ 333270 w 563615"/>
                <a:gd name="connsiteY93" fmla="*/ 101229 h 563615"/>
                <a:gd name="connsiteX94" fmla="*/ 372868 w 563615"/>
                <a:gd name="connsiteY94" fmla="*/ 117715 h 563615"/>
                <a:gd name="connsiteX95" fmla="*/ 385117 w 563615"/>
                <a:gd name="connsiteY95" fmla="*/ 117330 h 563615"/>
                <a:gd name="connsiteX96" fmla="*/ 385656 w 563615"/>
                <a:gd name="connsiteY96" fmla="*/ 116945 h 563615"/>
                <a:gd name="connsiteX97" fmla="*/ 445977 w 563615"/>
                <a:gd name="connsiteY97" fmla="*/ 80737 h 563615"/>
                <a:gd name="connsiteX98" fmla="*/ 482802 w 563615"/>
                <a:gd name="connsiteY98" fmla="*/ 117561 h 563615"/>
                <a:gd name="connsiteX99" fmla="*/ 446748 w 563615"/>
                <a:gd name="connsiteY99" fmla="*/ 177497 h 563615"/>
                <a:gd name="connsiteX100" fmla="*/ 446131 w 563615"/>
                <a:gd name="connsiteY100" fmla="*/ 178422 h 563615"/>
                <a:gd name="connsiteX101" fmla="*/ 445746 w 563615"/>
                <a:gd name="connsiteY101" fmla="*/ 190671 h 563615"/>
                <a:gd name="connsiteX102" fmla="*/ 462233 w 563615"/>
                <a:gd name="connsiteY102" fmla="*/ 230269 h 563615"/>
                <a:gd name="connsiteX103" fmla="*/ 470707 w 563615"/>
                <a:gd name="connsiteY103" fmla="*/ 238512 h 563615"/>
                <a:gd name="connsiteX104" fmla="*/ 540042 w 563615"/>
                <a:gd name="connsiteY104" fmla="*/ 255769 h 563615"/>
                <a:gd name="connsiteX105" fmla="*/ 540042 w 563615"/>
                <a:gd name="connsiteY105" fmla="*/ 307847 h 56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563615" h="563615">
                  <a:moveTo>
                    <a:pt x="554679" y="235199"/>
                  </a:moveTo>
                  <a:lnTo>
                    <a:pt x="482956" y="217326"/>
                  </a:lnTo>
                  <a:cubicBezTo>
                    <a:pt x="479412" y="206156"/>
                    <a:pt x="474944" y="195370"/>
                    <a:pt x="469628" y="185201"/>
                  </a:cubicBezTo>
                  <a:lnTo>
                    <a:pt x="507762" y="121798"/>
                  </a:lnTo>
                  <a:cubicBezTo>
                    <a:pt x="510536" y="117176"/>
                    <a:pt x="509842" y="111244"/>
                    <a:pt x="505991" y="107469"/>
                  </a:cubicBezTo>
                  <a:lnTo>
                    <a:pt x="456146" y="57625"/>
                  </a:lnTo>
                  <a:cubicBezTo>
                    <a:pt x="452372" y="53850"/>
                    <a:pt x="446440" y="53080"/>
                    <a:pt x="441817" y="55853"/>
                  </a:cubicBezTo>
                  <a:lnTo>
                    <a:pt x="378414" y="93987"/>
                  </a:lnTo>
                  <a:cubicBezTo>
                    <a:pt x="368245" y="88672"/>
                    <a:pt x="357460" y="84203"/>
                    <a:pt x="346289" y="80660"/>
                  </a:cubicBezTo>
                  <a:lnTo>
                    <a:pt x="328416" y="8936"/>
                  </a:lnTo>
                  <a:cubicBezTo>
                    <a:pt x="327107" y="3698"/>
                    <a:pt x="322407" y="0"/>
                    <a:pt x="317014" y="0"/>
                  </a:cubicBezTo>
                  <a:lnTo>
                    <a:pt x="246601" y="0"/>
                  </a:lnTo>
                  <a:cubicBezTo>
                    <a:pt x="241208" y="0"/>
                    <a:pt x="236509" y="3698"/>
                    <a:pt x="235199" y="8936"/>
                  </a:cubicBezTo>
                  <a:lnTo>
                    <a:pt x="217326" y="80660"/>
                  </a:lnTo>
                  <a:cubicBezTo>
                    <a:pt x="206156" y="84203"/>
                    <a:pt x="195370" y="88672"/>
                    <a:pt x="185201" y="93987"/>
                  </a:cubicBezTo>
                  <a:lnTo>
                    <a:pt x="121798" y="55853"/>
                  </a:lnTo>
                  <a:cubicBezTo>
                    <a:pt x="117176" y="53080"/>
                    <a:pt x="111244" y="53773"/>
                    <a:pt x="107469" y="57625"/>
                  </a:cubicBezTo>
                  <a:lnTo>
                    <a:pt x="57625" y="107469"/>
                  </a:lnTo>
                  <a:cubicBezTo>
                    <a:pt x="53773" y="111244"/>
                    <a:pt x="53080" y="117176"/>
                    <a:pt x="55853" y="121798"/>
                  </a:cubicBezTo>
                  <a:lnTo>
                    <a:pt x="93987" y="185201"/>
                  </a:lnTo>
                  <a:cubicBezTo>
                    <a:pt x="88672" y="195370"/>
                    <a:pt x="84203" y="206156"/>
                    <a:pt x="80660" y="217326"/>
                  </a:cubicBezTo>
                  <a:lnTo>
                    <a:pt x="8936" y="235199"/>
                  </a:lnTo>
                  <a:cubicBezTo>
                    <a:pt x="3698" y="236509"/>
                    <a:pt x="0" y="241208"/>
                    <a:pt x="0" y="246601"/>
                  </a:cubicBezTo>
                  <a:lnTo>
                    <a:pt x="0" y="317015"/>
                  </a:lnTo>
                  <a:cubicBezTo>
                    <a:pt x="0" y="322407"/>
                    <a:pt x="3698" y="327107"/>
                    <a:pt x="8936" y="328416"/>
                  </a:cubicBezTo>
                  <a:lnTo>
                    <a:pt x="80660" y="346289"/>
                  </a:lnTo>
                  <a:cubicBezTo>
                    <a:pt x="84203" y="357460"/>
                    <a:pt x="88672" y="368245"/>
                    <a:pt x="93987" y="378414"/>
                  </a:cubicBezTo>
                  <a:lnTo>
                    <a:pt x="55853" y="441817"/>
                  </a:lnTo>
                  <a:cubicBezTo>
                    <a:pt x="53080" y="446440"/>
                    <a:pt x="53773" y="452372"/>
                    <a:pt x="57625" y="456147"/>
                  </a:cubicBezTo>
                  <a:lnTo>
                    <a:pt x="107469" y="505991"/>
                  </a:lnTo>
                  <a:cubicBezTo>
                    <a:pt x="111321" y="509843"/>
                    <a:pt x="117176" y="510536"/>
                    <a:pt x="121798" y="507763"/>
                  </a:cubicBezTo>
                  <a:lnTo>
                    <a:pt x="185201" y="469628"/>
                  </a:lnTo>
                  <a:cubicBezTo>
                    <a:pt x="195370" y="474944"/>
                    <a:pt x="206156" y="479412"/>
                    <a:pt x="217326" y="482956"/>
                  </a:cubicBezTo>
                  <a:lnTo>
                    <a:pt x="235199" y="554679"/>
                  </a:lnTo>
                  <a:cubicBezTo>
                    <a:pt x="236509" y="559918"/>
                    <a:pt x="241208" y="563616"/>
                    <a:pt x="246601" y="563616"/>
                  </a:cubicBezTo>
                  <a:lnTo>
                    <a:pt x="317014" y="563616"/>
                  </a:lnTo>
                  <a:cubicBezTo>
                    <a:pt x="322407" y="563616"/>
                    <a:pt x="327107" y="559918"/>
                    <a:pt x="328416" y="554679"/>
                  </a:cubicBezTo>
                  <a:lnTo>
                    <a:pt x="346289" y="482956"/>
                  </a:lnTo>
                  <a:cubicBezTo>
                    <a:pt x="357460" y="479412"/>
                    <a:pt x="368245" y="474944"/>
                    <a:pt x="378414" y="469628"/>
                  </a:cubicBezTo>
                  <a:lnTo>
                    <a:pt x="441817" y="507763"/>
                  </a:lnTo>
                  <a:cubicBezTo>
                    <a:pt x="446440" y="510536"/>
                    <a:pt x="452372" y="509843"/>
                    <a:pt x="456146" y="505991"/>
                  </a:cubicBezTo>
                  <a:lnTo>
                    <a:pt x="505991" y="456147"/>
                  </a:lnTo>
                  <a:cubicBezTo>
                    <a:pt x="509842" y="452372"/>
                    <a:pt x="510536" y="446440"/>
                    <a:pt x="507762" y="441817"/>
                  </a:cubicBezTo>
                  <a:lnTo>
                    <a:pt x="469628" y="378414"/>
                  </a:lnTo>
                  <a:cubicBezTo>
                    <a:pt x="474944" y="368245"/>
                    <a:pt x="479412" y="357460"/>
                    <a:pt x="482956" y="346289"/>
                  </a:cubicBezTo>
                  <a:lnTo>
                    <a:pt x="554679" y="328416"/>
                  </a:lnTo>
                  <a:cubicBezTo>
                    <a:pt x="559918" y="327107"/>
                    <a:pt x="563615" y="322407"/>
                    <a:pt x="563615" y="317015"/>
                  </a:cubicBezTo>
                  <a:lnTo>
                    <a:pt x="563615" y="246601"/>
                  </a:lnTo>
                  <a:cubicBezTo>
                    <a:pt x="563615" y="241208"/>
                    <a:pt x="559918" y="236509"/>
                    <a:pt x="554679" y="235199"/>
                  </a:cubicBezTo>
                  <a:close/>
                  <a:moveTo>
                    <a:pt x="540119" y="307847"/>
                  </a:moveTo>
                  <a:lnTo>
                    <a:pt x="470784" y="325104"/>
                  </a:lnTo>
                  <a:cubicBezTo>
                    <a:pt x="466701" y="326105"/>
                    <a:pt x="463465" y="329264"/>
                    <a:pt x="462310" y="333347"/>
                  </a:cubicBezTo>
                  <a:cubicBezTo>
                    <a:pt x="458381" y="347368"/>
                    <a:pt x="452834" y="360696"/>
                    <a:pt x="445823" y="372945"/>
                  </a:cubicBezTo>
                  <a:cubicBezTo>
                    <a:pt x="443666" y="376797"/>
                    <a:pt x="443820" y="381496"/>
                    <a:pt x="446208" y="385194"/>
                  </a:cubicBezTo>
                  <a:cubicBezTo>
                    <a:pt x="446363" y="385348"/>
                    <a:pt x="446440" y="385579"/>
                    <a:pt x="446594" y="385733"/>
                  </a:cubicBezTo>
                  <a:lnTo>
                    <a:pt x="482802" y="446054"/>
                  </a:lnTo>
                  <a:lnTo>
                    <a:pt x="445977" y="482879"/>
                  </a:lnTo>
                  <a:lnTo>
                    <a:pt x="386041" y="446825"/>
                  </a:lnTo>
                  <a:cubicBezTo>
                    <a:pt x="386041" y="446825"/>
                    <a:pt x="385425" y="446363"/>
                    <a:pt x="385117" y="446209"/>
                  </a:cubicBezTo>
                  <a:cubicBezTo>
                    <a:pt x="381419" y="443820"/>
                    <a:pt x="376719" y="443666"/>
                    <a:pt x="372868" y="445823"/>
                  </a:cubicBezTo>
                  <a:cubicBezTo>
                    <a:pt x="360618" y="452834"/>
                    <a:pt x="347291" y="458381"/>
                    <a:pt x="333270" y="462310"/>
                  </a:cubicBezTo>
                  <a:cubicBezTo>
                    <a:pt x="329187" y="463465"/>
                    <a:pt x="326105" y="466701"/>
                    <a:pt x="325027" y="470784"/>
                  </a:cubicBezTo>
                  <a:lnTo>
                    <a:pt x="307770" y="540119"/>
                  </a:lnTo>
                  <a:lnTo>
                    <a:pt x="255692" y="540119"/>
                  </a:lnTo>
                  <a:lnTo>
                    <a:pt x="238435" y="470784"/>
                  </a:lnTo>
                  <a:cubicBezTo>
                    <a:pt x="237433" y="466701"/>
                    <a:pt x="234275" y="463465"/>
                    <a:pt x="230192" y="462310"/>
                  </a:cubicBezTo>
                  <a:cubicBezTo>
                    <a:pt x="216171" y="458381"/>
                    <a:pt x="202843" y="452834"/>
                    <a:pt x="190594" y="445823"/>
                  </a:cubicBezTo>
                  <a:cubicBezTo>
                    <a:pt x="186742" y="443666"/>
                    <a:pt x="182043" y="443820"/>
                    <a:pt x="178345" y="446209"/>
                  </a:cubicBezTo>
                  <a:cubicBezTo>
                    <a:pt x="178191" y="446363"/>
                    <a:pt x="177959" y="446440"/>
                    <a:pt x="177805" y="446594"/>
                  </a:cubicBezTo>
                  <a:lnTo>
                    <a:pt x="117484" y="482802"/>
                  </a:lnTo>
                  <a:lnTo>
                    <a:pt x="80660" y="445977"/>
                  </a:lnTo>
                  <a:lnTo>
                    <a:pt x="116714" y="386041"/>
                  </a:lnTo>
                  <a:cubicBezTo>
                    <a:pt x="116714" y="386041"/>
                    <a:pt x="117176" y="385425"/>
                    <a:pt x="117330" y="385117"/>
                  </a:cubicBezTo>
                  <a:cubicBezTo>
                    <a:pt x="119718" y="381419"/>
                    <a:pt x="119872" y="376720"/>
                    <a:pt x="117715" y="372868"/>
                  </a:cubicBezTo>
                  <a:cubicBezTo>
                    <a:pt x="110705" y="360618"/>
                    <a:pt x="105158" y="347291"/>
                    <a:pt x="101229" y="333270"/>
                  </a:cubicBezTo>
                  <a:cubicBezTo>
                    <a:pt x="100073" y="329187"/>
                    <a:pt x="96838" y="326105"/>
                    <a:pt x="92755" y="325027"/>
                  </a:cubicBezTo>
                  <a:lnTo>
                    <a:pt x="23420" y="307770"/>
                  </a:lnTo>
                  <a:lnTo>
                    <a:pt x="23420" y="255692"/>
                  </a:lnTo>
                  <a:lnTo>
                    <a:pt x="92755" y="238435"/>
                  </a:lnTo>
                  <a:cubicBezTo>
                    <a:pt x="96838" y="237433"/>
                    <a:pt x="100073" y="234275"/>
                    <a:pt x="101229" y="230192"/>
                  </a:cubicBezTo>
                  <a:cubicBezTo>
                    <a:pt x="105158" y="216171"/>
                    <a:pt x="110705" y="202843"/>
                    <a:pt x="117715" y="190594"/>
                  </a:cubicBezTo>
                  <a:cubicBezTo>
                    <a:pt x="119872" y="186742"/>
                    <a:pt x="119795" y="182043"/>
                    <a:pt x="117330" y="178345"/>
                  </a:cubicBezTo>
                  <a:cubicBezTo>
                    <a:pt x="117099" y="178037"/>
                    <a:pt x="116945" y="177728"/>
                    <a:pt x="116714" y="177420"/>
                  </a:cubicBezTo>
                  <a:lnTo>
                    <a:pt x="80660" y="117484"/>
                  </a:lnTo>
                  <a:lnTo>
                    <a:pt x="117484" y="80660"/>
                  </a:lnTo>
                  <a:lnTo>
                    <a:pt x="177420" y="116714"/>
                  </a:lnTo>
                  <a:cubicBezTo>
                    <a:pt x="177420" y="116714"/>
                    <a:pt x="178037" y="117176"/>
                    <a:pt x="178345" y="117330"/>
                  </a:cubicBezTo>
                  <a:cubicBezTo>
                    <a:pt x="182043" y="119718"/>
                    <a:pt x="186742" y="119872"/>
                    <a:pt x="190594" y="117715"/>
                  </a:cubicBezTo>
                  <a:cubicBezTo>
                    <a:pt x="202843" y="110705"/>
                    <a:pt x="216171" y="105158"/>
                    <a:pt x="230192" y="101229"/>
                  </a:cubicBezTo>
                  <a:cubicBezTo>
                    <a:pt x="234275" y="100073"/>
                    <a:pt x="237356" y="96838"/>
                    <a:pt x="238435" y="92755"/>
                  </a:cubicBezTo>
                  <a:lnTo>
                    <a:pt x="255692" y="23420"/>
                  </a:lnTo>
                  <a:lnTo>
                    <a:pt x="307770" y="23420"/>
                  </a:lnTo>
                  <a:lnTo>
                    <a:pt x="325027" y="92755"/>
                  </a:lnTo>
                  <a:cubicBezTo>
                    <a:pt x="326028" y="96838"/>
                    <a:pt x="329187" y="100073"/>
                    <a:pt x="333270" y="101229"/>
                  </a:cubicBezTo>
                  <a:cubicBezTo>
                    <a:pt x="347291" y="105158"/>
                    <a:pt x="360618" y="110705"/>
                    <a:pt x="372868" y="117715"/>
                  </a:cubicBezTo>
                  <a:cubicBezTo>
                    <a:pt x="376719" y="119872"/>
                    <a:pt x="381419" y="119718"/>
                    <a:pt x="385117" y="117330"/>
                  </a:cubicBezTo>
                  <a:cubicBezTo>
                    <a:pt x="385271" y="117176"/>
                    <a:pt x="385502" y="117099"/>
                    <a:pt x="385656" y="116945"/>
                  </a:cubicBezTo>
                  <a:lnTo>
                    <a:pt x="445977" y="80737"/>
                  </a:lnTo>
                  <a:lnTo>
                    <a:pt x="482802" y="117561"/>
                  </a:lnTo>
                  <a:lnTo>
                    <a:pt x="446748" y="177497"/>
                  </a:lnTo>
                  <a:cubicBezTo>
                    <a:pt x="446748" y="177497"/>
                    <a:pt x="446285" y="178114"/>
                    <a:pt x="446131" y="178422"/>
                  </a:cubicBezTo>
                  <a:cubicBezTo>
                    <a:pt x="443743" y="182120"/>
                    <a:pt x="443589" y="186819"/>
                    <a:pt x="445746" y="190671"/>
                  </a:cubicBezTo>
                  <a:cubicBezTo>
                    <a:pt x="452757" y="202920"/>
                    <a:pt x="458303" y="216248"/>
                    <a:pt x="462233" y="230269"/>
                  </a:cubicBezTo>
                  <a:cubicBezTo>
                    <a:pt x="463388" y="234352"/>
                    <a:pt x="466624" y="237433"/>
                    <a:pt x="470707" y="238512"/>
                  </a:cubicBezTo>
                  <a:lnTo>
                    <a:pt x="540042" y="255769"/>
                  </a:lnTo>
                  <a:lnTo>
                    <a:pt x="540042" y="307847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C5BBAC4B-ACE5-479F-A262-6F7817D9D99A}"/>
                </a:ext>
              </a:extLst>
            </p:cNvPr>
            <p:cNvSpPr/>
            <p:nvPr/>
          </p:nvSpPr>
          <p:spPr>
            <a:xfrm>
              <a:off x="7984692" y="4812048"/>
              <a:ext cx="258310" cy="258310"/>
            </a:xfrm>
            <a:custGeom>
              <a:avLst/>
              <a:gdLst>
                <a:gd name="connsiteX0" fmla="*/ 129117 w 258310"/>
                <a:gd name="connsiteY0" fmla="*/ 0 h 258310"/>
                <a:gd name="connsiteX1" fmla="*/ 0 w 258310"/>
                <a:gd name="connsiteY1" fmla="*/ 129194 h 258310"/>
                <a:gd name="connsiteX2" fmla="*/ 129117 w 258310"/>
                <a:gd name="connsiteY2" fmla="*/ 258311 h 258310"/>
                <a:gd name="connsiteX3" fmla="*/ 258311 w 258310"/>
                <a:gd name="connsiteY3" fmla="*/ 129194 h 258310"/>
                <a:gd name="connsiteX4" fmla="*/ 129117 w 258310"/>
                <a:gd name="connsiteY4" fmla="*/ 0 h 258310"/>
                <a:gd name="connsiteX5" fmla="*/ 129117 w 258310"/>
                <a:gd name="connsiteY5" fmla="*/ 234814 h 258310"/>
                <a:gd name="connsiteX6" fmla="*/ 23420 w 258310"/>
                <a:gd name="connsiteY6" fmla="*/ 129117 h 258310"/>
                <a:gd name="connsiteX7" fmla="*/ 129117 w 258310"/>
                <a:gd name="connsiteY7" fmla="*/ 23420 h 258310"/>
                <a:gd name="connsiteX8" fmla="*/ 234814 w 258310"/>
                <a:gd name="connsiteY8" fmla="*/ 129117 h 258310"/>
                <a:gd name="connsiteX9" fmla="*/ 129117 w 258310"/>
                <a:gd name="connsiteY9" fmla="*/ 234814 h 25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310" h="258310">
                  <a:moveTo>
                    <a:pt x="129117" y="0"/>
                  </a:moveTo>
                  <a:cubicBezTo>
                    <a:pt x="57933" y="0"/>
                    <a:pt x="0" y="57933"/>
                    <a:pt x="0" y="129194"/>
                  </a:cubicBezTo>
                  <a:cubicBezTo>
                    <a:pt x="0" y="200455"/>
                    <a:pt x="57933" y="258311"/>
                    <a:pt x="129117" y="258311"/>
                  </a:cubicBezTo>
                  <a:cubicBezTo>
                    <a:pt x="200301" y="258311"/>
                    <a:pt x="258311" y="200378"/>
                    <a:pt x="258311" y="129194"/>
                  </a:cubicBezTo>
                  <a:cubicBezTo>
                    <a:pt x="258311" y="58010"/>
                    <a:pt x="200378" y="0"/>
                    <a:pt x="129117" y="0"/>
                  </a:cubicBezTo>
                  <a:close/>
                  <a:moveTo>
                    <a:pt x="129117" y="234814"/>
                  </a:moveTo>
                  <a:cubicBezTo>
                    <a:pt x="70876" y="234814"/>
                    <a:pt x="23420" y="187435"/>
                    <a:pt x="23420" y="129117"/>
                  </a:cubicBezTo>
                  <a:cubicBezTo>
                    <a:pt x="23420" y="70799"/>
                    <a:pt x="70799" y="23420"/>
                    <a:pt x="129117" y="23420"/>
                  </a:cubicBezTo>
                  <a:cubicBezTo>
                    <a:pt x="187435" y="23420"/>
                    <a:pt x="234814" y="70799"/>
                    <a:pt x="234814" y="129117"/>
                  </a:cubicBezTo>
                  <a:cubicBezTo>
                    <a:pt x="234814" y="187435"/>
                    <a:pt x="187435" y="234814"/>
                    <a:pt x="129117" y="234814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0" name="Graphic 116">
            <a:extLst>
              <a:ext uri="{FF2B5EF4-FFF2-40B4-BE49-F238E27FC236}">
                <a16:creationId xmlns:a16="http://schemas.microsoft.com/office/drawing/2014/main" id="{6EA82D33-ABB7-4117-AF87-95CFABD052F8}"/>
              </a:ext>
            </a:extLst>
          </p:cNvPr>
          <p:cNvGrpSpPr/>
          <p:nvPr/>
        </p:nvGrpSpPr>
        <p:grpSpPr>
          <a:xfrm>
            <a:off x="8884581" y="4659435"/>
            <a:ext cx="563615" cy="563615"/>
            <a:chOff x="8884581" y="4659435"/>
            <a:chExt cx="563615" cy="563615"/>
          </a:xfrm>
          <a:solidFill>
            <a:schemeClr val="bg1"/>
          </a:solidFill>
        </p:grpSpPr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B36D930B-C58A-474D-9EB1-D9BEE42CC2C9}"/>
                </a:ext>
              </a:extLst>
            </p:cNvPr>
            <p:cNvSpPr/>
            <p:nvPr/>
          </p:nvSpPr>
          <p:spPr>
            <a:xfrm>
              <a:off x="8884581" y="4659435"/>
              <a:ext cx="563615" cy="563615"/>
            </a:xfrm>
            <a:custGeom>
              <a:avLst/>
              <a:gdLst>
                <a:gd name="connsiteX0" fmla="*/ 281808 w 563615"/>
                <a:gd name="connsiteY0" fmla="*/ 0 h 563615"/>
                <a:gd name="connsiteX1" fmla="*/ 0 w 563615"/>
                <a:gd name="connsiteY1" fmla="*/ 281808 h 563615"/>
                <a:gd name="connsiteX2" fmla="*/ 40908 w 563615"/>
                <a:gd name="connsiteY2" fmla="*/ 427565 h 563615"/>
                <a:gd name="connsiteX3" fmla="*/ 616 w 563615"/>
                <a:gd name="connsiteY3" fmla="*/ 548131 h 563615"/>
                <a:gd name="connsiteX4" fmla="*/ 3236 w 563615"/>
                <a:gd name="connsiteY4" fmla="*/ 559995 h 563615"/>
                <a:gd name="connsiteX5" fmla="*/ 11710 w 563615"/>
                <a:gd name="connsiteY5" fmla="*/ 563616 h 563615"/>
                <a:gd name="connsiteX6" fmla="*/ 14946 w 563615"/>
                <a:gd name="connsiteY6" fmla="*/ 563153 h 563615"/>
                <a:gd name="connsiteX7" fmla="*/ 142599 w 563615"/>
                <a:gd name="connsiteY7" fmla="*/ 526714 h 563615"/>
                <a:gd name="connsiteX8" fmla="*/ 281808 w 563615"/>
                <a:gd name="connsiteY8" fmla="*/ 563616 h 563615"/>
                <a:gd name="connsiteX9" fmla="*/ 563616 w 563615"/>
                <a:gd name="connsiteY9" fmla="*/ 281808 h 563615"/>
                <a:gd name="connsiteX10" fmla="*/ 281808 w 563615"/>
                <a:gd name="connsiteY10" fmla="*/ 0 h 563615"/>
                <a:gd name="connsiteX11" fmla="*/ 281808 w 563615"/>
                <a:gd name="connsiteY11" fmla="*/ 540119 h 563615"/>
                <a:gd name="connsiteX12" fmla="*/ 150226 w 563615"/>
                <a:gd name="connsiteY12" fmla="*/ 503988 h 563615"/>
                <a:gd name="connsiteX13" fmla="*/ 144217 w 563615"/>
                <a:gd name="connsiteY13" fmla="*/ 502370 h 563615"/>
                <a:gd name="connsiteX14" fmla="*/ 140981 w 563615"/>
                <a:gd name="connsiteY14" fmla="*/ 502832 h 563615"/>
                <a:gd name="connsiteX15" fmla="*/ 29968 w 563615"/>
                <a:gd name="connsiteY15" fmla="*/ 534495 h 563615"/>
                <a:gd name="connsiteX16" fmla="*/ 64944 w 563615"/>
                <a:gd name="connsiteY16" fmla="*/ 429722 h 563615"/>
                <a:gd name="connsiteX17" fmla="*/ 63711 w 563615"/>
                <a:gd name="connsiteY17" fmla="*/ 419630 h 563615"/>
                <a:gd name="connsiteX18" fmla="*/ 23574 w 563615"/>
                <a:gd name="connsiteY18" fmla="*/ 281808 h 563615"/>
                <a:gd name="connsiteX19" fmla="*/ 281885 w 563615"/>
                <a:gd name="connsiteY19" fmla="*/ 23497 h 563615"/>
                <a:gd name="connsiteX20" fmla="*/ 540196 w 563615"/>
                <a:gd name="connsiteY20" fmla="*/ 281808 h 563615"/>
                <a:gd name="connsiteX21" fmla="*/ 281885 w 563615"/>
                <a:gd name="connsiteY21" fmla="*/ 540119 h 56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3615" h="563615">
                  <a:moveTo>
                    <a:pt x="281808" y="0"/>
                  </a:moveTo>
                  <a:cubicBezTo>
                    <a:pt x="126421" y="0"/>
                    <a:pt x="0" y="126421"/>
                    <a:pt x="0" y="281808"/>
                  </a:cubicBezTo>
                  <a:cubicBezTo>
                    <a:pt x="0" y="333732"/>
                    <a:pt x="14098" y="384038"/>
                    <a:pt x="40908" y="427565"/>
                  </a:cubicBezTo>
                  <a:lnTo>
                    <a:pt x="616" y="548131"/>
                  </a:lnTo>
                  <a:cubicBezTo>
                    <a:pt x="-770" y="552291"/>
                    <a:pt x="231" y="556836"/>
                    <a:pt x="3236" y="559995"/>
                  </a:cubicBezTo>
                  <a:cubicBezTo>
                    <a:pt x="5470" y="562306"/>
                    <a:pt x="8551" y="563616"/>
                    <a:pt x="11710" y="563616"/>
                  </a:cubicBezTo>
                  <a:cubicBezTo>
                    <a:pt x="12788" y="563616"/>
                    <a:pt x="13867" y="563462"/>
                    <a:pt x="14946" y="563153"/>
                  </a:cubicBezTo>
                  <a:lnTo>
                    <a:pt x="142599" y="526714"/>
                  </a:lnTo>
                  <a:cubicBezTo>
                    <a:pt x="184816" y="550827"/>
                    <a:pt x="232811" y="563616"/>
                    <a:pt x="281808" y="563616"/>
                  </a:cubicBezTo>
                  <a:cubicBezTo>
                    <a:pt x="437195" y="563616"/>
                    <a:pt x="563616" y="437195"/>
                    <a:pt x="563616" y="281808"/>
                  </a:cubicBezTo>
                  <a:cubicBezTo>
                    <a:pt x="563616" y="126421"/>
                    <a:pt x="437195" y="0"/>
                    <a:pt x="281808" y="0"/>
                  </a:cubicBezTo>
                  <a:close/>
                  <a:moveTo>
                    <a:pt x="281808" y="540119"/>
                  </a:moveTo>
                  <a:cubicBezTo>
                    <a:pt x="235353" y="540119"/>
                    <a:pt x="189900" y="527639"/>
                    <a:pt x="150226" y="503988"/>
                  </a:cubicBezTo>
                  <a:cubicBezTo>
                    <a:pt x="148377" y="502909"/>
                    <a:pt x="146297" y="502370"/>
                    <a:pt x="144217" y="502370"/>
                  </a:cubicBezTo>
                  <a:cubicBezTo>
                    <a:pt x="143138" y="502370"/>
                    <a:pt x="142059" y="502524"/>
                    <a:pt x="140981" y="502832"/>
                  </a:cubicBezTo>
                  <a:lnTo>
                    <a:pt x="29968" y="534495"/>
                  </a:lnTo>
                  <a:lnTo>
                    <a:pt x="64944" y="429722"/>
                  </a:lnTo>
                  <a:cubicBezTo>
                    <a:pt x="66099" y="426333"/>
                    <a:pt x="65637" y="422635"/>
                    <a:pt x="63711" y="419630"/>
                  </a:cubicBezTo>
                  <a:cubicBezTo>
                    <a:pt x="37441" y="378800"/>
                    <a:pt x="23574" y="331190"/>
                    <a:pt x="23574" y="281808"/>
                  </a:cubicBezTo>
                  <a:cubicBezTo>
                    <a:pt x="23574" y="139363"/>
                    <a:pt x="139440" y="23497"/>
                    <a:pt x="281885" y="23497"/>
                  </a:cubicBezTo>
                  <a:cubicBezTo>
                    <a:pt x="424329" y="23497"/>
                    <a:pt x="540196" y="139363"/>
                    <a:pt x="540196" y="281808"/>
                  </a:cubicBezTo>
                  <a:cubicBezTo>
                    <a:pt x="540196" y="424252"/>
                    <a:pt x="424329" y="540119"/>
                    <a:pt x="281885" y="540119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EDFAB1DC-EF39-42B6-B1EE-02FDB34B9C49}"/>
                </a:ext>
              </a:extLst>
            </p:cNvPr>
            <p:cNvSpPr/>
            <p:nvPr/>
          </p:nvSpPr>
          <p:spPr>
            <a:xfrm>
              <a:off x="9025562" y="4870752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EA1DF341-F522-4AAC-9D0C-3FF4CAAF434A}"/>
                </a:ext>
              </a:extLst>
            </p:cNvPr>
            <p:cNvSpPr/>
            <p:nvPr/>
          </p:nvSpPr>
          <p:spPr>
            <a:xfrm>
              <a:off x="9025562" y="4941242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1B8953CE-86BE-4333-9D5E-812A09FD10CA}"/>
                </a:ext>
              </a:extLst>
            </p:cNvPr>
            <p:cNvSpPr/>
            <p:nvPr/>
          </p:nvSpPr>
          <p:spPr>
            <a:xfrm>
              <a:off x="9025562" y="5011656"/>
              <a:ext cx="281730" cy="23419"/>
            </a:xfrm>
            <a:custGeom>
              <a:avLst/>
              <a:gdLst>
                <a:gd name="connsiteX0" fmla="*/ 270021 w 281730"/>
                <a:gd name="connsiteY0" fmla="*/ 0 h 23419"/>
                <a:gd name="connsiteX1" fmla="*/ 11710 w 281730"/>
                <a:gd name="connsiteY1" fmla="*/ 0 h 23419"/>
                <a:gd name="connsiteX2" fmla="*/ 0 w 281730"/>
                <a:gd name="connsiteY2" fmla="*/ 11710 h 23419"/>
                <a:gd name="connsiteX3" fmla="*/ 11710 w 281730"/>
                <a:gd name="connsiteY3" fmla="*/ 23420 h 23419"/>
                <a:gd name="connsiteX4" fmla="*/ 270021 w 281730"/>
                <a:gd name="connsiteY4" fmla="*/ 23420 h 23419"/>
                <a:gd name="connsiteX5" fmla="*/ 281731 w 281730"/>
                <a:gd name="connsiteY5" fmla="*/ 11710 h 23419"/>
                <a:gd name="connsiteX6" fmla="*/ 270021 w 281730"/>
                <a:gd name="connsiteY6" fmla="*/ 0 h 2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30" h="23419">
                  <a:moveTo>
                    <a:pt x="270021" y="0"/>
                  </a:moveTo>
                  <a:lnTo>
                    <a:pt x="11710" y="0"/>
                  </a:lnTo>
                  <a:cubicBezTo>
                    <a:pt x="5239" y="0"/>
                    <a:pt x="0" y="5239"/>
                    <a:pt x="0" y="11710"/>
                  </a:cubicBezTo>
                  <a:cubicBezTo>
                    <a:pt x="0" y="18181"/>
                    <a:pt x="5239" y="23420"/>
                    <a:pt x="11710" y="23420"/>
                  </a:cubicBezTo>
                  <a:lnTo>
                    <a:pt x="270021" y="23420"/>
                  </a:lnTo>
                  <a:cubicBezTo>
                    <a:pt x="276492" y="23420"/>
                    <a:pt x="281731" y="18181"/>
                    <a:pt x="281731" y="11710"/>
                  </a:cubicBezTo>
                  <a:cubicBezTo>
                    <a:pt x="281731" y="5239"/>
                    <a:pt x="276492" y="0"/>
                    <a:pt x="270021" y="0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5" name="Freeform: Shape 194">
            <a:extLst>
              <a:ext uri="{FF2B5EF4-FFF2-40B4-BE49-F238E27FC236}">
                <a16:creationId xmlns:a16="http://schemas.microsoft.com/office/drawing/2014/main" id="{D8EEE16D-1652-4C08-BE05-C37CF56B0BD5}"/>
              </a:ext>
            </a:extLst>
          </p:cNvPr>
          <p:cNvSpPr/>
          <p:nvPr/>
        </p:nvSpPr>
        <p:spPr>
          <a:xfrm>
            <a:off x="9995866" y="4659550"/>
            <a:ext cx="446208" cy="563654"/>
          </a:xfrm>
          <a:custGeom>
            <a:avLst/>
            <a:gdLst>
              <a:gd name="connsiteX0" fmla="*/ 441278 w 446208"/>
              <a:gd name="connsiteY0" fmla="*/ 49189 h 563654"/>
              <a:gd name="connsiteX1" fmla="*/ 430724 w 446208"/>
              <a:gd name="connsiteY1" fmla="*/ 47571 h 563654"/>
              <a:gd name="connsiteX2" fmla="*/ 229575 w 446208"/>
              <a:gd name="connsiteY2" fmla="*/ 1964 h 563654"/>
              <a:gd name="connsiteX3" fmla="*/ 216556 w 446208"/>
              <a:gd name="connsiteY3" fmla="*/ 1964 h 563654"/>
              <a:gd name="connsiteX4" fmla="*/ 15408 w 446208"/>
              <a:gd name="connsiteY4" fmla="*/ 47571 h 563654"/>
              <a:gd name="connsiteX5" fmla="*/ 4853 w 446208"/>
              <a:gd name="connsiteY5" fmla="*/ 49189 h 563654"/>
              <a:gd name="connsiteX6" fmla="*/ 0 w 446208"/>
              <a:gd name="connsiteY6" fmla="*/ 58742 h 563654"/>
              <a:gd name="connsiteX7" fmla="*/ 0 w 446208"/>
              <a:gd name="connsiteY7" fmla="*/ 317053 h 563654"/>
              <a:gd name="connsiteX8" fmla="*/ 141597 w 446208"/>
              <a:gd name="connsiteY8" fmla="*/ 498942 h 563654"/>
              <a:gd name="connsiteX9" fmla="*/ 214784 w 446208"/>
              <a:gd name="connsiteY9" fmla="*/ 560187 h 563654"/>
              <a:gd name="connsiteX10" fmla="*/ 223104 w 446208"/>
              <a:gd name="connsiteY10" fmla="*/ 563654 h 563654"/>
              <a:gd name="connsiteX11" fmla="*/ 231424 w 446208"/>
              <a:gd name="connsiteY11" fmla="*/ 560187 h 563654"/>
              <a:gd name="connsiteX12" fmla="*/ 304611 w 446208"/>
              <a:gd name="connsiteY12" fmla="*/ 499019 h 563654"/>
              <a:gd name="connsiteX13" fmla="*/ 446209 w 446208"/>
              <a:gd name="connsiteY13" fmla="*/ 317130 h 563654"/>
              <a:gd name="connsiteX14" fmla="*/ 446209 w 446208"/>
              <a:gd name="connsiteY14" fmla="*/ 58665 h 563654"/>
              <a:gd name="connsiteX15" fmla="*/ 441355 w 446208"/>
              <a:gd name="connsiteY15" fmla="*/ 49112 h 563654"/>
              <a:gd name="connsiteX16" fmla="*/ 422635 w 446208"/>
              <a:gd name="connsiteY16" fmla="*/ 317053 h 563654"/>
              <a:gd name="connsiteX17" fmla="*/ 290205 w 446208"/>
              <a:gd name="connsiteY17" fmla="*/ 480375 h 563654"/>
              <a:gd name="connsiteX18" fmla="*/ 223027 w 446208"/>
              <a:gd name="connsiteY18" fmla="*/ 535535 h 563654"/>
              <a:gd name="connsiteX19" fmla="*/ 155849 w 446208"/>
              <a:gd name="connsiteY19" fmla="*/ 480375 h 563654"/>
              <a:gd name="connsiteX20" fmla="*/ 23420 w 446208"/>
              <a:gd name="connsiteY20" fmla="*/ 317053 h 563654"/>
              <a:gd name="connsiteX21" fmla="*/ 23420 w 446208"/>
              <a:gd name="connsiteY21" fmla="*/ 74304 h 563654"/>
              <a:gd name="connsiteX22" fmla="*/ 223027 w 446208"/>
              <a:gd name="connsiteY22" fmla="*/ 25769 h 563654"/>
              <a:gd name="connsiteX23" fmla="*/ 422635 w 446208"/>
              <a:gd name="connsiteY23" fmla="*/ 74304 h 563654"/>
              <a:gd name="connsiteX24" fmla="*/ 422635 w 446208"/>
              <a:gd name="connsiteY24" fmla="*/ 317053 h 563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46208" h="563654">
                <a:moveTo>
                  <a:pt x="441278" y="49189"/>
                </a:moveTo>
                <a:cubicBezTo>
                  <a:pt x="438196" y="46955"/>
                  <a:pt x="434267" y="46416"/>
                  <a:pt x="430724" y="47571"/>
                </a:cubicBezTo>
                <a:cubicBezTo>
                  <a:pt x="370325" y="67679"/>
                  <a:pt x="306460" y="53195"/>
                  <a:pt x="229575" y="1964"/>
                </a:cubicBezTo>
                <a:cubicBezTo>
                  <a:pt x="225647" y="-655"/>
                  <a:pt x="220485" y="-655"/>
                  <a:pt x="216556" y="1964"/>
                </a:cubicBezTo>
                <a:cubicBezTo>
                  <a:pt x="139671" y="53195"/>
                  <a:pt x="75806" y="67679"/>
                  <a:pt x="15408" y="47571"/>
                </a:cubicBezTo>
                <a:cubicBezTo>
                  <a:pt x="11864" y="46339"/>
                  <a:pt x="7858" y="46955"/>
                  <a:pt x="4853" y="49189"/>
                </a:cubicBezTo>
                <a:cubicBezTo>
                  <a:pt x="1772" y="51423"/>
                  <a:pt x="0" y="54967"/>
                  <a:pt x="0" y="58742"/>
                </a:cubicBezTo>
                <a:lnTo>
                  <a:pt x="0" y="317053"/>
                </a:lnTo>
                <a:cubicBezTo>
                  <a:pt x="0" y="389392"/>
                  <a:pt x="71954" y="445091"/>
                  <a:pt x="141597" y="498942"/>
                </a:cubicBezTo>
                <a:cubicBezTo>
                  <a:pt x="168946" y="520127"/>
                  <a:pt x="194831" y="540157"/>
                  <a:pt x="214784" y="560187"/>
                </a:cubicBezTo>
                <a:cubicBezTo>
                  <a:pt x="217095" y="562499"/>
                  <a:pt x="220100" y="563654"/>
                  <a:pt x="223104" y="563654"/>
                </a:cubicBezTo>
                <a:cubicBezTo>
                  <a:pt x="226109" y="563654"/>
                  <a:pt x="229113" y="562499"/>
                  <a:pt x="231424" y="560187"/>
                </a:cubicBezTo>
                <a:cubicBezTo>
                  <a:pt x="251455" y="540157"/>
                  <a:pt x="277262" y="520204"/>
                  <a:pt x="304611" y="499019"/>
                </a:cubicBezTo>
                <a:cubicBezTo>
                  <a:pt x="374177" y="445091"/>
                  <a:pt x="446209" y="389392"/>
                  <a:pt x="446209" y="317130"/>
                </a:cubicBezTo>
                <a:lnTo>
                  <a:pt x="446209" y="58665"/>
                </a:lnTo>
                <a:cubicBezTo>
                  <a:pt x="446209" y="54890"/>
                  <a:pt x="444359" y="51346"/>
                  <a:pt x="441355" y="49112"/>
                </a:cubicBezTo>
                <a:close/>
                <a:moveTo>
                  <a:pt x="422635" y="317053"/>
                </a:moveTo>
                <a:cubicBezTo>
                  <a:pt x="422635" y="377837"/>
                  <a:pt x="355303" y="429992"/>
                  <a:pt x="290205" y="480375"/>
                </a:cubicBezTo>
                <a:cubicBezTo>
                  <a:pt x="265784" y="499250"/>
                  <a:pt x="242595" y="517277"/>
                  <a:pt x="223027" y="535535"/>
                </a:cubicBezTo>
                <a:cubicBezTo>
                  <a:pt x="203537" y="517277"/>
                  <a:pt x="180271" y="499250"/>
                  <a:pt x="155849" y="480375"/>
                </a:cubicBezTo>
                <a:cubicBezTo>
                  <a:pt x="90752" y="429915"/>
                  <a:pt x="23420" y="377837"/>
                  <a:pt x="23420" y="317053"/>
                </a:cubicBezTo>
                <a:lnTo>
                  <a:pt x="23420" y="74304"/>
                </a:lnTo>
                <a:cubicBezTo>
                  <a:pt x="84203" y="89095"/>
                  <a:pt x="149763" y="73071"/>
                  <a:pt x="223027" y="25769"/>
                </a:cubicBezTo>
                <a:cubicBezTo>
                  <a:pt x="296291" y="73071"/>
                  <a:pt x="361851" y="89018"/>
                  <a:pt x="422635" y="74304"/>
                </a:cubicBezTo>
                <a:lnTo>
                  <a:pt x="422635" y="317053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6" name="Graphic 116">
            <a:extLst>
              <a:ext uri="{FF2B5EF4-FFF2-40B4-BE49-F238E27FC236}">
                <a16:creationId xmlns:a16="http://schemas.microsoft.com/office/drawing/2014/main" id="{B7B00F2A-3305-489F-A0B6-27E9546271B6}"/>
              </a:ext>
            </a:extLst>
          </p:cNvPr>
          <p:cNvGrpSpPr/>
          <p:nvPr/>
        </p:nvGrpSpPr>
        <p:grpSpPr>
          <a:xfrm>
            <a:off x="7821812" y="5510636"/>
            <a:ext cx="584127" cy="584107"/>
            <a:chOff x="7821812" y="5510636"/>
            <a:chExt cx="584127" cy="584107"/>
          </a:xfrm>
          <a:solidFill>
            <a:schemeClr val="bg1"/>
          </a:solidFill>
        </p:grpSpPr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8B8B91A6-1A2A-4F00-8B72-CCB9D600ED92}"/>
                </a:ext>
              </a:extLst>
            </p:cNvPr>
            <p:cNvSpPr/>
            <p:nvPr/>
          </p:nvSpPr>
          <p:spPr>
            <a:xfrm>
              <a:off x="7821812" y="5583746"/>
              <a:ext cx="510940" cy="510998"/>
            </a:xfrm>
            <a:custGeom>
              <a:avLst/>
              <a:gdLst>
                <a:gd name="connsiteX0" fmla="*/ 267190 w 510940"/>
                <a:gd name="connsiteY0" fmla="*/ 0 h 510998"/>
                <a:gd name="connsiteX1" fmla="*/ 255480 w 510940"/>
                <a:gd name="connsiteY1" fmla="*/ 0 h 510998"/>
                <a:gd name="connsiteX2" fmla="*/ 65117 w 510940"/>
                <a:gd name="connsiteY2" fmla="*/ 85128 h 510998"/>
                <a:gd name="connsiteX3" fmla="*/ 1637 w 510940"/>
                <a:gd name="connsiteY3" fmla="*/ 284581 h 510998"/>
                <a:gd name="connsiteX4" fmla="*/ 226436 w 510940"/>
                <a:gd name="connsiteY4" fmla="*/ 509380 h 510998"/>
                <a:gd name="connsiteX5" fmla="*/ 255865 w 510940"/>
                <a:gd name="connsiteY5" fmla="*/ 510998 h 510998"/>
                <a:gd name="connsiteX6" fmla="*/ 425813 w 510940"/>
                <a:gd name="connsiteY6" fmla="*/ 445823 h 510998"/>
                <a:gd name="connsiteX7" fmla="*/ 510940 w 510940"/>
                <a:gd name="connsiteY7" fmla="*/ 255461 h 510998"/>
                <a:gd name="connsiteX8" fmla="*/ 510940 w 510940"/>
                <a:gd name="connsiteY8" fmla="*/ 243751 h 510998"/>
                <a:gd name="connsiteX9" fmla="*/ 267190 w 510940"/>
                <a:gd name="connsiteY9" fmla="*/ 243751 h 510998"/>
                <a:gd name="connsiteX10" fmla="*/ 267190 w 510940"/>
                <a:gd name="connsiteY10" fmla="*/ 0 h 510998"/>
                <a:gd name="connsiteX11" fmla="*/ 487135 w 510940"/>
                <a:gd name="connsiteY11" fmla="*/ 267247 h 510998"/>
                <a:gd name="connsiteX12" fmla="*/ 410174 w 510940"/>
                <a:gd name="connsiteY12" fmla="*/ 428413 h 510998"/>
                <a:gd name="connsiteX13" fmla="*/ 228979 w 510940"/>
                <a:gd name="connsiteY13" fmla="*/ 486038 h 510998"/>
                <a:gd name="connsiteX14" fmla="*/ 24903 w 510940"/>
                <a:gd name="connsiteY14" fmla="*/ 281962 h 510998"/>
                <a:gd name="connsiteX15" fmla="*/ 82528 w 510940"/>
                <a:gd name="connsiteY15" fmla="*/ 100767 h 510998"/>
                <a:gd name="connsiteX16" fmla="*/ 243693 w 510940"/>
                <a:gd name="connsiteY16" fmla="*/ 23805 h 510998"/>
                <a:gd name="connsiteX17" fmla="*/ 243693 w 510940"/>
                <a:gd name="connsiteY17" fmla="*/ 267247 h 510998"/>
                <a:gd name="connsiteX18" fmla="*/ 487135 w 510940"/>
                <a:gd name="connsiteY18" fmla="*/ 267247 h 510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0940" h="510998">
                  <a:moveTo>
                    <a:pt x="267190" y="0"/>
                  </a:moveTo>
                  <a:lnTo>
                    <a:pt x="255480" y="0"/>
                  </a:lnTo>
                  <a:cubicBezTo>
                    <a:pt x="182909" y="0"/>
                    <a:pt x="113574" y="31047"/>
                    <a:pt x="65117" y="85128"/>
                  </a:cubicBezTo>
                  <a:cubicBezTo>
                    <a:pt x="16043" y="139979"/>
                    <a:pt x="-6529" y="210778"/>
                    <a:pt x="1637" y="284581"/>
                  </a:cubicBezTo>
                  <a:cubicBezTo>
                    <a:pt x="14580" y="401911"/>
                    <a:pt x="109183" y="496438"/>
                    <a:pt x="226436" y="509380"/>
                  </a:cubicBezTo>
                  <a:cubicBezTo>
                    <a:pt x="236297" y="510459"/>
                    <a:pt x="246158" y="510998"/>
                    <a:pt x="255865" y="510998"/>
                  </a:cubicBezTo>
                  <a:cubicBezTo>
                    <a:pt x="318883" y="510998"/>
                    <a:pt x="378357" y="488349"/>
                    <a:pt x="425813" y="445823"/>
                  </a:cubicBezTo>
                  <a:cubicBezTo>
                    <a:pt x="479894" y="397366"/>
                    <a:pt x="510940" y="327954"/>
                    <a:pt x="510940" y="255461"/>
                  </a:cubicBezTo>
                  <a:lnTo>
                    <a:pt x="510940" y="243751"/>
                  </a:lnTo>
                  <a:lnTo>
                    <a:pt x="267190" y="243751"/>
                  </a:lnTo>
                  <a:lnTo>
                    <a:pt x="267190" y="0"/>
                  </a:lnTo>
                  <a:close/>
                  <a:moveTo>
                    <a:pt x="487135" y="267247"/>
                  </a:moveTo>
                  <a:cubicBezTo>
                    <a:pt x="483977" y="328801"/>
                    <a:pt x="456320" y="387043"/>
                    <a:pt x="410174" y="428413"/>
                  </a:cubicBezTo>
                  <a:cubicBezTo>
                    <a:pt x="360407" y="473018"/>
                    <a:pt x="296002" y="493510"/>
                    <a:pt x="228979" y="486038"/>
                  </a:cubicBezTo>
                  <a:cubicBezTo>
                    <a:pt x="122511" y="474251"/>
                    <a:pt x="36690" y="388429"/>
                    <a:pt x="24903" y="281962"/>
                  </a:cubicBezTo>
                  <a:cubicBezTo>
                    <a:pt x="17507" y="214938"/>
                    <a:pt x="37999" y="150534"/>
                    <a:pt x="82528" y="100767"/>
                  </a:cubicBezTo>
                  <a:cubicBezTo>
                    <a:pt x="123898" y="54543"/>
                    <a:pt x="182062" y="26887"/>
                    <a:pt x="243693" y="23805"/>
                  </a:cubicBezTo>
                  <a:lnTo>
                    <a:pt x="243693" y="267247"/>
                  </a:lnTo>
                  <a:lnTo>
                    <a:pt x="487135" y="267247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ABD38D61-553B-4151-A88D-5B6692E58000}"/>
                </a:ext>
              </a:extLst>
            </p:cNvPr>
            <p:cNvSpPr/>
            <p:nvPr/>
          </p:nvSpPr>
          <p:spPr>
            <a:xfrm>
              <a:off x="8138692" y="5510636"/>
              <a:ext cx="267247" cy="267247"/>
            </a:xfrm>
            <a:custGeom>
              <a:avLst/>
              <a:gdLst>
                <a:gd name="connsiteX0" fmla="*/ 11710 w 267247"/>
                <a:gd name="connsiteY0" fmla="*/ 0 h 267247"/>
                <a:gd name="connsiteX1" fmla="*/ 0 w 267247"/>
                <a:gd name="connsiteY1" fmla="*/ 0 h 267247"/>
                <a:gd name="connsiteX2" fmla="*/ 0 w 267247"/>
                <a:gd name="connsiteY2" fmla="*/ 267247 h 267247"/>
                <a:gd name="connsiteX3" fmla="*/ 267247 w 267247"/>
                <a:gd name="connsiteY3" fmla="*/ 267247 h 267247"/>
                <a:gd name="connsiteX4" fmla="*/ 267247 w 267247"/>
                <a:gd name="connsiteY4" fmla="*/ 255538 h 267247"/>
                <a:gd name="connsiteX5" fmla="*/ 11787 w 267247"/>
                <a:gd name="connsiteY5" fmla="*/ 77 h 267247"/>
                <a:gd name="connsiteX6" fmla="*/ 23420 w 267247"/>
                <a:gd name="connsiteY6" fmla="*/ 243751 h 267247"/>
                <a:gd name="connsiteX7" fmla="*/ 23420 w 267247"/>
                <a:gd name="connsiteY7" fmla="*/ 23805 h 267247"/>
                <a:gd name="connsiteX8" fmla="*/ 243366 w 267247"/>
                <a:gd name="connsiteY8" fmla="*/ 243751 h 267247"/>
                <a:gd name="connsiteX9" fmla="*/ 23420 w 267247"/>
                <a:gd name="connsiteY9" fmla="*/ 243751 h 26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7247" h="267247">
                  <a:moveTo>
                    <a:pt x="11710" y="0"/>
                  </a:moveTo>
                  <a:lnTo>
                    <a:pt x="0" y="0"/>
                  </a:lnTo>
                  <a:lnTo>
                    <a:pt x="0" y="267247"/>
                  </a:lnTo>
                  <a:lnTo>
                    <a:pt x="267247" y="267247"/>
                  </a:lnTo>
                  <a:lnTo>
                    <a:pt x="267247" y="255538"/>
                  </a:lnTo>
                  <a:cubicBezTo>
                    <a:pt x="267247" y="114634"/>
                    <a:pt x="152614" y="77"/>
                    <a:pt x="11787" y="77"/>
                  </a:cubicBezTo>
                  <a:close/>
                  <a:moveTo>
                    <a:pt x="23420" y="243751"/>
                  </a:moveTo>
                  <a:lnTo>
                    <a:pt x="23420" y="23805"/>
                  </a:lnTo>
                  <a:cubicBezTo>
                    <a:pt x="142059" y="29737"/>
                    <a:pt x="237434" y="125188"/>
                    <a:pt x="243366" y="243751"/>
                  </a:cubicBezTo>
                  <a:lnTo>
                    <a:pt x="23420" y="243751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6B8F699-045E-4F0B-8ECA-861A9D819B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NCR Atleos 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F1A2F86-603C-437D-84FD-6729FF15E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>
                <a:solidFill>
                  <a:schemeClr val="tx2"/>
                </a:solidFill>
              </a:rPr>
              <a:pPr/>
              <a:t>42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8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5C5A63-4119-E715-77B9-9B5F35C6CB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B15072F0-D673-4952-EB2D-1D8B8E84A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172FFCD-FC69-16F2-3B43-FC014C8584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1F75B7-869B-87EE-BA47-E476A423BC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7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46105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02AC1B-5F8C-897C-14A2-3C65AB0358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9D382-4106-171C-BDD3-10B9AFA3544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6000" dirty="0"/>
              <a:t>THANK YOU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0D5C0E2-06BC-D447-D868-D47847AB51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DF18833-3428-3D49-ECF9-7AD5CF3D3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0745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7FD9F8-F85C-ACA0-E306-9ACBF6FDF0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1DC43E-2CAC-B9D0-0524-AB805090B3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6F6BFA01-D227-DCEC-61BD-A6C2EBACDDBE}"/>
              </a:ext>
            </a:extLst>
          </p:cNvPr>
          <p:cNvSpPr txBox="1"/>
          <p:nvPr/>
        </p:nvSpPr>
        <p:spPr>
          <a:xfrm>
            <a:off x="9627510" y="568190"/>
            <a:ext cx="1954890" cy="5709255"/>
          </a:xfrm>
          <a:prstGeom prst="rect">
            <a:avLst/>
          </a:prstGeom>
          <a:noFill/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91440" tIns="45720" rIns="0" bIns="45720" anchor="ctr">
            <a:spAutoFit/>
          </a:bodyPr>
          <a:lstStyle/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Atlanta</a:t>
            </a: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Belgrade</a:t>
            </a: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Cebu City</a:t>
            </a: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Cyprus</a:t>
            </a:r>
            <a:endParaRPr lang="en-US" sz="2000" b="1" dirty="0">
              <a:solidFill>
                <a:schemeClr val="bg1">
                  <a:alpha val="90000"/>
                </a:schemeClr>
              </a:solidFill>
              <a:effectLst>
                <a:outerShdw blurRad="76200" dist="50800" dir="5400000" algn="t" rotWithShape="0">
                  <a:prstClr val="black">
                    <a:alpha val="72000"/>
                  </a:prstClr>
                </a:outerShdw>
              </a:effectLst>
              <a:latin typeface="Sora" pitchFamily="2" charset="0"/>
              <a:cs typeface="Sora" pitchFamily="2" charset="0"/>
            </a:endParaRP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Dundee</a:t>
            </a: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Frisco</a:t>
            </a: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Gurgaon</a:t>
            </a: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Hyderabad</a:t>
            </a: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Mangalore</a:t>
            </a:r>
          </a:p>
          <a:p>
            <a:pPr algn="r">
              <a:spcBef>
                <a:spcPts val="1200"/>
              </a:spcBef>
              <a:spcAft>
                <a:spcPts val="1000"/>
              </a:spcAft>
            </a:pPr>
            <a:r>
              <a:rPr lang="en-US" sz="2000" b="1" dirty="0">
                <a:solidFill>
                  <a:schemeClr val="bg1">
                    <a:alpha val="90000"/>
                  </a:schemeClr>
                </a:solidFill>
                <a:effectLst>
                  <a:outerShdw blurRad="76200" dist="50800" dir="5400000" algn="t" rotWithShape="0">
                    <a:prstClr val="black">
                      <a:alpha val="72000"/>
                    </a:prstClr>
                  </a:outerShdw>
                </a:effectLst>
                <a:latin typeface="Sora"/>
                <a:cs typeface="Sora" pitchFamily="2" charset="0"/>
              </a:rPr>
              <a:t>Mumbai</a:t>
            </a: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55E81181-AE6A-4D04-5E63-374C41CD350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26362" y="1854605"/>
            <a:ext cx="4436437" cy="2527301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52400" dist="1524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442EAE5E-7575-2ACF-9BD9-B78447A21E81}"/>
              </a:ext>
            </a:extLst>
          </p:cNvPr>
          <p:cNvSpPr txBox="1"/>
          <p:nvPr/>
        </p:nvSpPr>
        <p:spPr>
          <a:xfrm>
            <a:off x="609097" y="2149728"/>
            <a:ext cx="3576967" cy="1528624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Sora"/>
                <a:cs typeface="Sora" pitchFamily="2" charset="0"/>
              </a:rPr>
              <a:t>Join us July 17 &amp; 18 </a:t>
            </a:r>
            <a:br>
              <a:rPr lang="en-US" sz="2400" dirty="0">
                <a:solidFill>
                  <a:schemeClr val="bg1"/>
                </a:solidFill>
                <a:latin typeface="Sora"/>
                <a:cs typeface="Sora" pitchFamily="2" charset="0"/>
              </a:rPr>
            </a:br>
            <a:r>
              <a:rPr lang="en-US" sz="2400" dirty="0">
                <a:solidFill>
                  <a:schemeClr val="bg1"/>
                </a:solidFill>
                <a:latin typeface="Sora"/>
                <a:cs typeface="Sora" pitchFamily="2" charset="0"/>
              </a:rPr>
              <a:t>as we build the future </a:t>
            </a:r>
            <a:br>
              <a:rPr lang="en-US" sz="2400" dirty="0">
                <a:solidFill>
                  <a:schemeClr val="bg1"/>
                </a:solidFill>
                <a:latin typeface="Sora"/>
                <a:cs typeface="Sora" pitchFamily="2" charset="0"/>
              </a:rPr>
            </a:br>
            <a:r>
              <a:rPr lang="en-US" sz="2400" dirty="0">
                <a:solidFill>
                  <a:schemeClr val="bg1"/>
                </a:solidFill>
                <a:latin typeface="Sora"/>
                <a:cs typeface="Sora" pitchFamily="2" charset="0"/>
              </a:rPr>
              <a:t>of NCR </a:t>
            </a:r>
            <a:r>
              <a:rPr lang="en-US" sz="2400" dirty="0" err="1">
                <a:solidFill>
                  <a:schemeClr val="bg1"/>
                </a:solidFill>
                <a:latin typeface="Sora"/>
                <a:cs typeface="Sora" pitchFamily="2" charset="0"/>
              </a:rPr>
              <a:t>Atleos</a:t>
            </a:r>
            <a:r>
              <a:rPr lang="en-US" sz="2400" dirty="0">
                <a:solidFill>
                  <a:schemeClr val="bg1"/>
                </a:solidFill>
                <a:latin typeface="Sora"/>
                <a:cs typeface="Sora" pitchFamily="2" charset="0"/>
              </a:rPr>
              <a:t>!</a:t>
            </a:r>
            <a:r>
              <a:rPr lang="en-US" sz="2400" baseline="30000" dirty="0">
                <a:solidFill>
                  <a:schemeClr val="bg1"/>
                </a:solidFill>
                <a:latin typeface="Sora"/>
                <a:cs typeface="Sora" pitchFamily="2" charset="0"/>
              </a:rPr>
              <a:t> </a:t>
            </a:r>
          </a:p>
          <a:p>
            <a:endParaRPr lang="en-US" sz="3200" baseline="30000" dirty="0">
              <a:solidFill>
                <a:schemeClr val="tx2"/>
              </a:solidFill>
              <a:latin typeface="Sora" pitchFamily="2" charset="0"/>
              <a:cs typeface="Sora" pitchFamily="2" charset="0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97922D4-4CAD-5A4C-1EA2-62C99188D63F}"/>
              </a:ext>
            </a:extLst>
          </p:cNvPr>
          <p:cNvSpPr txBox="1"/>
          <p:nvPr/>
        </p:nvSpPr>
        <p:spPr>
          <a:xfrm>
            <a:off x="514176" y="3521726"/>
            <a:ext cx="379112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Sign up today </a:t>
            </a:r>
            <a:r>
              <a:rPr lang="en-US" sz="1400" dirty="0">
                <a:solidFill>
                  <a:schemeClr val="bg1"/>
                </a:solidFill>
              </a:rPr>
              <a:t>at the link below</a:t>
            </a:r>
          </a:p>
          <a:p>
            <a:r>
              <a:rPr lang="en-US" sz="1400" dirty="0">
                <a:solidFill>
                  <a:schemeClr val="bg1"/>
                </a:solidFill>
              </a:rPr>
              <a:t>bridge.ncratleos.com/hackathon2025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30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CF4CA4-08B4-9180-2EC4-83609324A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body copy slide goes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DDF3A8-F448-1606-47CE-90DE6C07C3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C30A9C-F351-20DD-F561-87A8798B7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C87FE1-EF12-648B-E6FF-0FFBE7ECDE6C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CA" dirty="0"/>
              <a:t>Ignis </a:t>
            </a:r>
            <a:r>
              <a:rPr lang="en-CA" dirty="0" err="1"/>
              <a:t>eium</a:t>
            </a:r>
            <a:r>
              <a:rPr lang="en-CA" dirty="0"/>
              <a:t> </a:t>
            </a:r>
            <a:r>
              <a:rPr lang="en-CA" dirty="0" err="1"/>
              <a:t>conse</a:t>
            </a:r>
            <a:r>
              <a:rPr lang="en-CA" dirty="0"/>
              <a:t> </a:t>
            </a:r>
            <a:r>
              <a:rPr lang="en-CA" dirty="0" err="1"/>
              <a:t>endandi</a:t>
            </a:r>
            <a:r>
              <a:rPr lang="en-CA" dirty="0"/>
              <a:t> ne </a:t>
            </a:r>
            <a:r>
              <a:rPr lang="en-CA" dirty="0" err="1"/>
              <a:t>quodis</a:t>
            </a:r>
            <a:r>
              <a:rPr lang="en-CA" dirty="0"/>
              <a:t> nobis et </a:t>
            </a:r>
            <a:r>
              <a:rPr lang="en-CA" dirty="0" err="1"/>
              <a:t>ventoria</a:t>
            </a:r>
            <a:r>
              <a:rPr lang="en-CA" dirty="0"/>
              <a:t> cum et </a:t>
            </a:r>
            <a:r>
              <a:rPr lang="en-CA" dirty="0" err="1"/>
              <a:t>etust</a:t>
            </a:r>
            <a:r>
              <a:rPr lang="en-CA" dirty="0"/>
              <a:t>, </a:t>
            </a:r>
            <a:r>
              <a:rPr lang="en-CA" dirty="0" err="1"/>
              <a:t>sam</a:t>
            </a:r>
            <a:r>
              <a:rPr lang="en-CA" dirty="0"/>
              <a:t> </a:t>
            </a:r>
            <a:r>
              <a:rPr lang="en-CA" dirty="0" err="1"/>
              <a:t>esto</a:t>
            </a:r>
            <a:r>
              <a:rPr lang="en-CA" dirty="0"/>
              <a:t> </a:t>
            </a:r>
            <a:r>
              <a:rPr lang="en-CA" dirty="0" err="1"/>
              <a:t>voluptatia</a:t>
            </a:r>
            <a:r>
              <a:rPr lang="en-CA" dirty="0"/>
              <a:t> </a:t>
            </a:r>
            <a:r>
              <a:rPr lang="en-CA" dirty="0" err="1"/>
              <a:t>videbis</a:t>
            </a:r>
            <a:r>
              <a:rPr lang="en-CA" dirty="0"/>
              <a:t> </a:t>
            </a:r>
            <a:r>
              <a:rPr lang="en-CA" dirty="0" err="1"/>
              <a:t>cimaximet</a:t>
            </a:r>
            <a:r>
              <a:rPr lang="en-CA" dirty="0"/>
              <a:t> </a:t>
            </a:r>
            <a:r>
              <a:rPr lang="en-CA" dirty="0" err="1"/>
              <a:t>ipicili</a:t>
            </a:r>
            <a:r>
              <a:rPr lang="en-CA" dirty="0"/>
              <a:t> </a:t>
            </a:r>
            <a:r>
              <a:rPr lang="en-CA" dirty="0" err="1"/>
              <a:t>quaspe</a:t>
            </a:r>
            <a:r>
              <a:rPr lang="en-CA" dirty="0"/>
              <a:t> </a:t>
            </a:r>
            <a:r>
              <a:rPr lang="en-CA" dirty="0" err="1"/>
              <a:t>nemporeped</a:t>
            </a:r>
            <a:r>
              <a:rPr lang="en-CA" dirty="0"/>
              <a:t> </a:t>
            </a:r>
            <a:r>
              <a:rPr lang="en-CA" dirty="0" err="1"/>
              <a:t>millorpor</a:t>
            </a:r>
            <a:r>
              <a:rPr lang="en-CA" dirty="0"/>
              <a:t> </a:t>
            </a:r>
            <a:r>
              <a:rPr lang="en-CA" dirty="0" err="1"/>
              <a:t>assum</a:t>
            </a:r>
            <a:r>
              <a:rPr lang="en-CA" dirty="0"/>
              <a:t> </a:t>
            </a:r>
            <a:r>
              <a:rPr lang="en-CA" dirty="0" err="1"/>
              <a:t>soloratenis</a:t>
            </a:r>
            <a:r>
              <a:rPr lang="en-CA" dirty="0"/>
              <a:t> </a:t>
            </a:r>
            <a:r>
              <a:rPr lang="en-CA" dirty="0" err="1"/>
              <a:t>nulparum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Ore </a:t>
            </a:r>
            <a:r>
              <a:rPr lang="en-CA" dirty="0" err="1"/>
              <a:t>vendebis</a:t>
            </a:r>
            <a:r>
              <a:rPr lang="en-CA" dirty="0"/>
              <a:t> qui </a:t>
            </a:r>
            <a:r>
              <a:rPr lang="en-CA" dirty="0" err="1"/>
              <a:t>cusaectis</a:t>
            </a:r>
            <a:r>
              <a:rPr lang="en-CA" dirty="0"/>
              <a:t> </a:t>
            </a:r>
            <a:r>
              <a:rPr lang="en-CA" dirty="0" err="1"/>
              <a:t>ducipsa</a:t>
            </a:r>
            <a:r>
              <a:rPr lang="en-CA" dirty="0"/>
              <a:t> </a:t>
            </a:r>
            <a:r>
              <a:rPr lang="en-CA" dirty="0" err="1"/>
              <a:t>dellenim</a:t>
            </a:r>
            <a:r>
              <a:rPr lang="en-CA" dirty="0"/>
              <a:t> volent </a:t>
            </a:r>
            <a:r>
              <a:rPr lang="en-CA" dirty="0" err="1"/>
              <a:t>doluptate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te</a:t>
            </a:r>
            <a:r>
              <a:rPr lang="en-CA" dirty="0"/>
              <a:t> et </a:t>
            </a:r>
            <a:r>
              <a:rPr lang="en-CA" dirty="0" err="1"/>
              <a:t>hicitem</a:t>
            </a:r>
            <a:r>
              <a:rPr lang="en-CA" dirty="0"/>
              <a:t>. </a:t>
            </a:r>
          </a:p>
          <a:p>
            <a:r>
              <a:rPr lang="en-CA" dirty="0"/>
              <a:t>Et la dis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ullis</a:t>
            </a:r>
            <a:r>
              <a:rPr lang="en-CA" dirty="0"/>
              <a:t> di </a:t>
            </a:r>
            <a:r>
              <a:rPr lang="en-CA" dirty="0" err="1"/>
              <a:t>vidiciam</a:t>
            </a:r>
            <a:r>
              <a:rPr lang="en-CA" dirty="0"/>
              <a:t> </a:t>
            </a:r>
            <a:r>
              <a:rPr lang="en-CA" dirty="0" err="1"/>
              <a:t>consenis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estione</a:t>
            </a:r>
            <a:r>
              <a:rPr lang="en-CA" dirty="0"/>
              <a:t> </a:t>
            </a:r>
            <a:r>
              <a:rPr lang="en-CA" dirty="0" err="1"/>
              <a:t>eaquias</a:t>
            </a:r>
            <a:r>
              <a:rPr lang="en-CA" dirty="0"/>
              <a:t> rem rerum </a:t>
            </a:r>
            <a:r>
              <a:rPr lang="en-CA" dirty="0" err="1"/>
              <a:t>dolupides</a:t>
            </a:r>
            <a:r>
              <a:rPr lang="en-CA" dirty="0"/>
              <a:t> </a:t>
            </a:r>
            <a:r>
              <a:rPr lang="en-CA" dirty="0" err="1"/>
              <a:t>auda</a:t>
            </a:r>
            <a:r>
              <a:rPr lang="en-CA" dirty="0"/>
              <a:t> </a:t>
            </a:r>
            <a:r>
              <a:rPr lang="en-CA" dirty="0" err="1"/>
              <a:t>est</a:t>
            </a:r>
            <a:r>
              <a:rPr lang="en-CA" dirty="0"/>
              <a:t> </a:t>
            </a:r>
            <a:r>
              <a:rPr lang="en-CA" dirty="0" err="1"/>
              <a:t>harum</a:t>
            </a:r>
            <a:r>
              <a:rPr lang="en-CA" dirty="0"/>
              <a:t> </a:t>
            </a:r>
            <a:r>
              <a:rPr lang="en-CA" dirty="0" err="1"/>
              <a:t>ipisimint</a:t>
            </a:r>
            <a:r>
              <a:rPr lang="en-CA" dirty="0"/>
              <a:t> dem </a:t>
            </a:r>
            <a:r>
              <a:rPr lang="en-CA" dirty="0" err="1"/>
              <a:t>dem</a:t>
            </a:r>
            <a:r>
              <a:rPr lang="en-CA" dirty="0"/>
              <a:t> ex et </a:t>
            </a:r>
            <a:r>
              <a:rPr lang="en-CA" dirty="0" err="1"/>
              <a:t>quod</a:t>
            </a:r>
            <a:r>
              <a:rPr lang="en-CA" dirty="0"/>
              <a:t> quasit,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liqui</a:t>
            </a:r>
            <a:r>
              <a:rPr lang="en-CA" dirty="0"/>
              <a:t> </a:t>
            </a:r>
            <a:r>
              <a:rPr lang="en-CA" dirty="0" err="1"/>
              <a:t>beatiam</a:t>
            </a:r>
            <a:r>
              <a:rPr lang="en-CA" dirty="0"/>
              <a:t> </a:t>
            </a:r>
            <a:r>
              <a:rPr lang="en-CA" dirty="0" err="1"/>
              <a:t>everumquia</a:t>
            </a:r>
            <a:r>
              <a:rPr lang="en-CA" dirty="0"/>
              <a:t> </a:t>
            </a:r>
            <a:r>
              <a:rPr lang="en-CA" dirty="0" err="1"/>
              <a:t>simoles</a:t>
            </a:r>
            <a:r>
              <a:rPr lang="en-CA" dirty="0"/>
              <a:t> </a:t>
            </a:r>
            <a:r>
              <a:rPr lang="en-CA" dirty="0" err="1"/>
              <a:t>sequisqui</a:t>
            </a:r>
            <a:r>
              <a:rPr lang="en-CA" dirty="0"/>
              <a:t> </a:t>
            </a:r>
            <a:r>
              <a:rPr lang="en-CA" dirty="0" err="1"/>
              <a:t>doluptin</a:t>
            </a:r>
            <a:r>
              <a:rPr lang="en-CA" dirty="0"/>
              <a:t>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nte</a:t>
            </a:r>
            <a:r>
              <a:rPr lang="en-CA" dirty="0"/>
              <a:t> ped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occat</a:t>
            </a:r>
            <a:r>
              <a:rPr lang="en-CA" dirty="0"/>
              <a:t> </a:t>
            </a:r>
            <a:r>
              <a:rPr lang="en-CA" dirty="0" err="1"/>
              <a:t>aut</a:t>
            </a:r>
            <a:r>
              <a:rPr lang="en-CA" dirty="0"/>
              <a:t> </a:t>
            </a:r>
            <a:r>
              <a:rPr lang="en-CA" dirty="0" err="1"/>
              <a:t>eos</a:t>
            </a:r>
            <a:r>
              <a:rPr lang="en-CA" dirty="0"/>
              <a:t> </a:t>
            </a:r>
            <a:r>
              <a:rPr lang="en-CA" dirty="0" err="1"/>
              <a:t>sandestia</a:t>
            </a:r>
            <a:r>
              <a:rPr lang="en-CA" dirty="0"/>
              <a:t> </a:t>
            </a:r>
            <a:r>
              <a:rPr lang="en-CA" dirty="0" err="1"/>
              <a:t>iusam</a:t>
            </a:r>
            <a:r>
              <a:rPr lang="en-CA" dirty="0"/>
              <a:t> as </a:t>
            </a:r>
            <a:r>
              <a:rPr lang="en-CA" dirty="0" err="1"/>
              <a:t>restis</a:t>
            </a:r>
            <a:r>
              <a:rPr lang="en-CA" dirty="0"/>
              <a:t> </a:t>
            </a:r>
            <a:r>
              <a:rPr lang="en-CA" dirty="0" err="1"/>
              <a:t>erspern</a:t>
            </a:r>
            <a:r>
              <a:rPr lang="en-CA" dirty="0"/>
              <a:t> </a:t>
            </a:r>
            <a:r>
              <a:rPr lang="en-CA" dirty="0" err="1"/>
              <a:t>ut</a:t>
            </a:r>
            <a:r>
              <a:rPr lang="en-CA" dirty="0"/>
              <a:t> labor </a:t>
            </a:r>
            <a:r>
              <a:rPr lang="en-CA" dirty="0" err="1"/>
              <a:t>mostrum</a:t>
            </a:r>
            <a:r>
              <a:rPr lang="en-CA" dirty="0"/>
              <a:t> </a:t>
            </a:r>
            <a:r>
              <a:rPr lang="en-CA" dirty="0" err="1"/>
              <a:t>entore</a:t>
            </a:r>
            <a:r>
              <a:rPr lang="en-CA" dirty="0"/>
              <a:t> </a:t>
            </a:r>
            <a:r>
              <a:rPr lang="en-CA" dirty="0" err="1"/>
              <a:t>ducium</a:t>
            </a:r>
            <a:r>
              <a:rPr lang="en-CA" dirty="0"/>
              <a:t> sit </a:t>
            </a:r>
            <a:r>
              <a:rPr lang="en-CA" dirty="0" err="1"/>
              <a:t>latiunt</a:t>
            </a:r>
            <a:r>
              <a:rPr lang="en-CA" dirty="0"/>
              <a:t>.</a:t>
            </a:r>
          </a:p>
          <a:p>
            <a:r>
              <a:rPr lang="en-CA" dirty="0" err="1"/>
              <a:t>Odi</a:t>
            </a:r>
            <a:r>
              <a:rPr lang="en-CA" dirty="0"/>
              <a:t> con </a:t>
            </a:r>
            <a:r>
              <a:rPr lang="en-CA" dirty="0" err="1"/>
              <a:t>raereris</a:t>
            </a:r>
            <a:r>
              <a:rPr lang="en-CA" dirty="0"/>
              <a:t> </a:t>
            </a:r>
            <a:r>
              <a:rPr lang="en-CA" dirty="0" err="1"/>
              <a:t>ea</a:t>
            </a:r>
            <a:r>
              <a:rPr lang="en-CA" dirty="0"/>
              <a:t> </a:t>
            </a:r>
            <a:r>
              <a:rPr lang="en-CA" dirty="0" err="1"/>
              <a:t>doluptae</a:t>
            </a:r>
            <a:r>
              <a:rPr lang="en-CA" dirty="0"/>
              <a:t> </a:t>
            </a:r>
            <a:r>
              <a:rPr lang="en-CA" dirty="0" err="1"/>
              <a:t>ereste</a:t>
            </a:r>
            <a:r>
              <a:rPr lang="en-CA" dirty="0"/>
              <a:t> dis </a:t>
            </a:r>
            <a:r>
              <a:rPr lang="en-CA" dirty="0" err="1"/>
              <a:t>evenduci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di </a:t>
            </a:r>
            <a:r>
              <a:rPr lang="en-CA" dirty="0" err="1"/>
              <a:t>doluptatem</a:t>
            </a:r>
            <a:r>
              <a:rPr lang="en-CA" dirty="0"/>
              <a:t> in </a:t>
            </a:r>
            <a:r>
              <a:rPr lang="en-CA" dirty="0" err="1"/>
              <a:t>pla</a:t>
            </a:r>
            <a:r>
              <a:rPr lang="en-CA" dirty="0"/>
              <a:t> volent </a:t>
            </a:r>
            <a:r>
              <a:rPr lang="en-CA" dirty="0" err="1"/>
              <a:t>volupitatur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ommolupta</a:t>
            </a:r>
            <a:r>
              <a:rPr lang="en-CA" dirty="0"/>
              <a:t> </a:t>
            </a:r>
            <a:r>
              <a:rPr lang="en-CA" dirty="0" err="1"/>
              <a:t>exeritatium</a:t>
            </a:r>
            <a:r>
              <a:rPr lang="en-CA" dirty="0"/>
              <a:t> quat </a:t>
            </a:r>
            <a:r>
              <a:rPr lang="en-CA" dirty="0" err="1"/>
              <a:t>eatiam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molorum</a:t>
            </a:r>
            <a:r>
              <a:rPr lang="en-CA" dirty="0"/>
              <a:t> </a:t>
            </a:r>
            <a:r>
              <a:rPr lang="en-CA" dirty="0" err="1"/>
              <a:t>ditatemodi</a:t>
            </a:r>
            <a:r>
              <a:rPr lang="en-CA" dirty="0"/>
              <a:t> </a:t>
            </a:r>
            <a:r>
              <a:rPr lang="en-CA" dirty="0" err="1"/>
              <a:t>denestium</a:t>
            </a:r>
            <a:r>
              <a:rPr lang="en-CA" dirty="0"/>
              <a:t> </a:t>
            </a:r>
            <a:r>
              <a:rPr lang="en-CA" dirty="0" err="1"/>
              <a:t>rerit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At </a:t>
            </a:r>
            <a:r>
              <a:rPr lang="en-CA" dirty="0" err="1"/>
              <a:t>quias</a:t>
            </a:r>
            <a:r>
              <a:rPr lang="en-CA" dirty="0"/>
              <a:t> </a:t>
            </a:r>
            <a:r>
              <a:rPr lang="en-CA" dirty="0" err="1"/>
              <a:t>dollenti</a:t>
            </a:r>
            <a:r>
              <a:rPr lang="en-CA" dirty="0"/>
              <a:t> </a:t>
            </a:r>
            <a:r>
              <a:rPr lang="en-CA" dirty="0" err="1"/>
              <a:t>officaturit</a:t>
            </a:r>
            <a:r>
              <a:rPr lang="en-CA" dirty="0"/>
              <a:t> </a:t>
            </a:r>
            <a:r>
              <a:rPr lang="en-CA" dirty="0" err="1"/>
              <a:t>volorem</a:t>
            </a:r>
            <a:r>
              <a:rPr lang="en-CA" dirty="0"/>
              <a:t> </a:t>
            </a:r>
            <a:r>
              <a:rPr lang="en-CA" dirty="0" err="1"/>
              <a:t>eictaspis</a:t>
            </a:r>
            <a:r>
              <a:rPr lang="en-CA" dirty="0"/>
              <a:t> </a:t>
            </a:r>
            <a:r>
              <a:rPr lang="en-CA" dirty="0" err="1"/>
              <a:t>ducimusam</a:t>
            </a:r>
            <a:r>
              <a:rPr lang="en-CA" dirty="0"/>
              <a:t> quos </a:t>
            </a:r>
            <a:r>
              <a:rPr lang="en-CA" dirty="0" err="1"/>
              <a:t>mos</a:t>
            </a:r>
            <a:r>
              <a:rPr lang="en-CA" dirty="0"/>
              <a:t> </a:t>
            </a:r>
            <a:r>
              <a:rPr lang="en-CA" dirty="0" err="1"/>
              <a:t>iunt</a:t>
            </a:r>
            <a:r>
              <a:rPr lang="en-CA" dirty="0"/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52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38126-D978-68A1-E5AE-34A8E4D9485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600" y="1371600"/>
            <a:ext cx="5300545" cy="4572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eader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59287-BD9E-62BE-DCA8-51905B9F501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81928" y="1371600"/>
            <a:ext cx="5303520" cy="4572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eader text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6E8B6E-085B-A5A1-A5A7-D41EC0FA025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 lnSpcReduction="10000"/>
          </a:bodyPr>
          <a:lstStyle/>
          <a:p>
            <a:r>
              <a:rPr lang="en-CA" dirty="0"/>
              <a:t>Ignis </a:t>
            </a:r>
            <a:r>
              <a:rPr lang="en-CA" dirty="0" err="1"/>
              <a:t>eium</a:t>
            </a:r>
            <a:r>
              <a:rPr lang="en-CA" dirty="0"/>
              <a:t> </a:t>
            </a:r>
            <a:r>
              <a:rPr lang="en-CA" dirty="0" err="1"/>
              <a:t>conse</a:t>
            </a:r>
            <a:r>
              <a:rPr lang="en-CA" dirty="0"/>
              <a:t> </a:t>
            </a:r>
            <a:r>
              <a:rPr lang="en-CA" dirty="0" err="1"/>
              <a:t>endandi</a:t>
            </a:r>
            <a:r>
              <a:rPr lang="en-CA" dirty="0"/>
              <a:t> ne </a:t>
            </a:r>
            <a:r>
              <a:rPr lang="en-CA" dirty="0" err="1"/>
              <a:t>quodis</a:t>
            </a:r>
            <a:r>
              <a:rPr lang="en-CA" dirty="0"/>
              <a:t> nobis et </a:t>
            </a:r>
            <a:r>
              <a:rPr lang="en-CA" dirty="0" err="1"/>
              <a:t>ventoria</a:t>
            </a:r>
            <a:r>
              <a:rPr lang="en-CA" dirty="0"/>
              <a:t> cum et </a:t>
            </a:r>
            <a:r>
              <a:rPr lang="en-CA" dirty="0" err="1"/>
              <a:t>etust</a:t>
            </a:r>
            <a:r>
              <a:rPr lang="en-CA" dirty="0"/>
              <a:t>, </a:t>
            </a:r>
            <a:r>
              <a:rPr lang="en-CA" dirty="0" err="1"/>
              <a:t>sam</a:t>
            </a:r>
            <a:r>
              <a:rPr lang="en-CA" dirty="0"/>
              <a:t> </a:t>
            </a:r>
            <a:r>
              <a:rPr lang="en-CA" dirty="0" err="1"/>
              <a:t>esto</a:t>
            </a:r>
            <a:r>
              <a:rPr lang="en-CA" dirty="0"/>
              <a:t> </a:t>
            </a:r>
            <a:r>
              <a:rPr lang="en-CA" dirty="0" err="1"/>
              <a:t>voluptatia</a:t>
            </a:r>
            <a:r>
              <a:rPr lang="en-CA" dirty="0"/>
              <a:t> </a:t>
            </a:r>
            <a:r>
              <a:rPr lang="en-CA" dirty="0" err="1"/>
              <a:t>videbis</a:t>
            </a:r>
            <a:r>
              <a:rPr lang="en-CA" dirty="0"/>
              <a:t> </a:t>
            </a:r>
            <a:r>
              <a:rPr lang="en-CA" dirty="0" err="1"/>
              <a:t>cimaximet</a:t>
            </a:r>
            <a:r>
              <a:rPr lang="en-CA" dirty="0"/>
              <a:t> </a:t>
            </a:r>
            <a:r>
              <a:rPr lang="en-CA" dirty="0" err="1"/>
              <a:t>ipicili</a:t>
            </a:r>
            <a:r>
              <a:rPr lang="en-CA" dirty="0"/>
              <a:t> </a:t>
            </a:r>
            <a:r>
              <a:rPr lang="en-CA" dirty="0" err="1"/>
              <a:t>quaspe</a:t>
            </a:r>
            <a:r>
              <a:rPr lang="en-CA" dirty="0"/>
              <a:t> </a:t>
            </a:r>
            <a:r>
              <a:rPr lang="en-CA" dirty="0" err="1"/>
              <a:t>nemporeped</a:t>
            </a:r>
            <a:r>
              <a:rPr lang="en-CA" dirty="0"/>
              <a:t> </a:t>
            </a:r>
            <a:r>
              <a:rPr lang="en-CA" dirty="0" err="1"/>
              <a:t>millorpor</a:t>
            </a:r>
            <a:r>
              <a:rPr lang="en-CA" dirty="0"/>
              <a:t> </a:t>
            </a:r>
            <a:r>
              <a:rPr lang="en-CA" dirty="0" err="1"/>
              <a:t>assum</a:t>
            </a:r>
            <a:r>
              <a:rPr lang="en-CA" dirty="0"/>
              <a:t> </a:t>
            </a:r>
            <a:r>
              <a:rPr lang="en-CA" dirty="0" err="1"/>
              <a:t>soloratenis</a:t>
            </a:r>
            <a:r>
              <a:rPr lang="en-CA" dirty="0"/>
              <a:t> </a:t>
            </a:r>
            <a:r>
              <a:rPr lang="en-CA" dirty="0" err="1"/>
              <a:t>nulparum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Ore </a:t>
            </a:r>
            <a:r>
              <a:rPr lang="en-CA" dirty="0" err="1"/>
              <a:t>vendebis</a:t>
            </a:r>
            <a:r>
              <a:rPr lang="en-CA" dirty="0"/>
              <a:t> qui </a:t>
            </a:r>
            <a:r>
              <a:rPr lang="en-CA" dirty="0" err="1"/>
              <a:t>cusaectis</a:t>
            </a:r>
            <a:r>
              <a:rPr lang="en-CA" dirty="0"/>
              <a:t> </a:t>
            </a:r>
            <a:r>
              <a:rPr lang="en-CA" dirty="0" err="1"/>
              <a:t>ducipsa</a:t>
            </a:r>
            <a:r>
              <a:rPr lang="en-CA" dirty="0"/>
              <a:t> </a:t>
            </a:r>
            <a:r>
              <a:rPr lang="en-CA" dirty="0" err="1"/>
              <a:t>dellenim</a:t>
            </a:r>
            <a:r>
              <a:rPr lang="en-CA" dirty="0"/>
              <a:t> volent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te</a:t>
            </a:r>
            <a:r>
              <a:rPr lang="en-CA" dirty="0"/>
              <a:t> et </a:t>
            </a:r>
            <a:r>
              <a:rPr lang="en-CA" dirty="0" err="1"/>
              <a:t>hicitem</a:t>
            </a:r>
            <a:r>
              <a:rPr lang="en-CA" dirty="0"/>
              <a:t>. </a:t>
            </a:r>
          </a:p>
          <a:p>
            <a:r>
              <a:rPr lang="en-CA" dirty="0"/>
              <a:t>Et la dis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ullis</a:t>
            </a:r>
            <a:r>
              <a:rPr lang="en-CA" dirty="0"/>
              <a:t> di </a:t>
            </a:r>
            <a:r>
              <a:rPr lang="en-CA" dirty="0" err="1"/>
              <a:t>vidiciam</a:t>
            </a:r>
            <a:r>
              <a:rPr lang="en-CA" dirty="0"/>
              <a:t> </a:t>
            </a:r>
            <a:r>
              <a:rPr lang="en-CA" dirty="0" err="1"/>
              <a:t>consenis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estione</a:t>
            </a:r>
            <a:r>
              <a:rPr lang="en-CA" dirty="0"/>
              <a:t> </a:t>
            </a:r>
            <a:r>
              <a:rPr lang="en-CA" dirty="0" err="1"/>
              <a:t>eaquias</a:t>
            </a:r>
            <a:r>
              <a:rPr lang="en-CA" dirty="0"/>
              <a:t> rem rerum </a:t>
            </a:r>
            <a:r>
              <a:rPr lang="en-CA" dirty="0" err="1"/>
              <a:t>dolupides</a:t>
            </a:r>
            <a:r>
              <a:rPr lang="en-CA" dirty="0"/>
              <a:t> </a:t>
            </a:r>
            <a:r>
              <a:rPr lang="en-CA" dirty="0" err="1"/>
              <a:t>auda</a:t>
            </a:r>
            <a:r>
              <a:rPr lang="en-CA" dirty="0"/>
              <a:t> </a:t>
            </a:r>
            <a:r>
              <a:rPr lang="en-CA" dirty="0" err="1"/>
              <a:t>est</a:t>
            </a:r>
            <a:r>
              <a:rPr lang="en-CA" dirty="0"/>
              <a:t> </a:t>
            </a:r>
            <a:r>
              <a:rPr lang="en-CA" dirty="0" err="1"/>
              <a:t>harum</a:t>
            </a:r>
            <a:r>
              <a:rPr lang="en-CA" dirty="0"/>
              <a:t> </a:t>
            </a:r>
            <a:r>
              <a:rPr lang="en-CA" dirty="0" err="1"/>
              <a:t>ipisimint</a:t>
            </a:r>
            <a:r>
              <a:rPr lang="en-CA" dirty="0"/>
              <a:t> dem </a:t>
            </a:r>
            <a:r>
              <a:rPr lang="en-CA" dirty="0" err="1"/>
              <a:t>dem</a:t>
            </a:r>
            <a:r>
              <a:rPr lang="en-CA" dirty="0"/>
              <a:t> ex et </a:t>
            </a:r>
            <a:r>
              <a:rPr lang="en-CA" dirty="0" err="1"/>
              <a:t>quod</a:t>
            </a:r>
            <a:r>
              <a:rPr lang="en-CA" dirty="0"/>
              <a:t> quasit,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liqui</a:t>
            </a:r>
            <a:r>
              <a:rPr lang="en-CA" dirty="0"/>
              <a:t> </a:t>
            </a:r>
            <a:r>
              <a:rPr lang="en-CA" dirty="0" err="1"/>
              <a:t>beatiam</a:t>
            </a:r>
            <a:r>
              <a:rPr lang="en-CA" dirty="0"/>
              <a:t> </a:t>
            </a:r>
            <a:r>
              <a:rPr lang="en-CA" dirty="0" err="1"/>
              <a:t>everumquia</a:t>
            </a:r>
            <a:r>
              <a:rPr lang="en-CA" dirty="0"/>
              <a:t> </a:t>
            </a:r>
            <a:r>
              <a:rPr lang="en-CA" dirty="0" err="1"/>
              <a:t>simoles</a:t>
            </a:r>
            <a:r>
              <a:rPr lang="en-CA" dirty="0"/>
              <a:t> </a:t>
            </a:r>
            <a:r>
              <a:rPr lang="en-CA" dirty="0" err="1"/>
              <a:t>sequisqui</a:t>
            </a:r>
            <a:r>
              <a:rPr lang="en-CA" dirty="0"/>
              <a:t> </a:t>
            </a:r>
            <a:r>
              <a:rPr lang="en-CA" dirty="0" err="1"/>
              <a:t>doluptin</a:t>
            </a:r>
            <a:r>
              <a:rPr lang="en-CA" dirty="0"/>
              <a:t> </a:t>
            </a:r>
            <a:r>
              <a:rPr lang="en-CA" dirty="0" err="1"/>
              <a:t>cus</a:t>
            </a:r>
            <a:r>
              <a:rPr lang="en-CA" dirty="0"/>
              <a:t> </a:t>
            </a:r>
            <a:r>
              <a:rPr lang="en-CA" dirty="0" err="1"/>
              <a:t>minte</a:t>
            </a:r>
            <a:r>
              <a:rPr lang="en-CA" dirty="0"/>
              <a:t> ped </a:t>
            </a:r>
            <a:r>
              <a:rPr lang="en-CA" dirty="0" err="1"/>
              <a:t>ut</a:t>
            </a:r>
            <a:r>
              <a:rPr lang="en-CA" dirty="0"/>
              <a:t> </a:t>
            </a:r>
            <a:r>
              <a:rPr lang="en-CA" dirty="0" err="1"/>
              <a:t>occat</a:t>
            </a:r>
            <a:r>
              <a:rPr lang="en-CA" dirty="0"/>
              <a:t> </a:t>
            </a:r>
            <a:r>
              <a:rPr lang="en-CA" dirty="0" err="1"/>
              <a:t>aut</a:t>
            </a:r>
            <a:r>
              <a:rPr lang="en-CA" dirty="0"/>
              <a:t> </a:t>
            </a:r>
            <a:r>
              <a:rPr lang="en-CA" dirty="0" err="1"/>
              <a:t>eos</a:t>
            </a:r>
            <a:r>
              <a:rPr lang="en-CA" dirty="0"/>
              <a:t> </a:t>
            </a:r>
            <a:r>
              <a:rPr lang="en-CA" dirty="0" err="1"/>
              <a:t>sandestia</a:t>
            </a:r>
            <a:r>
              <a:rPr lang="en-CA" dirty="0"/>
              <a:t> </a:t>
            </a:r>
            <a:r>
              <a:rPr lang="en-CA" dirty="0" err="1"/>
              <a:t>iusam</a:t>
            </a:r>
            <a:r>
              <a:rPr lang="en-CA" dirty="0"/>
              <a:t> as </a:t>
            </a:r>
            <a:r>
              <a:rPr lang="en-CA" dirty="0" err="1"/>
              <a:t>restis</a:t>
            </a:r>
            <a:r>
              <a:rPr lang="en-CA" dirty="0"/>
              <a:t> </a:t>
            </a:r>
            <a:r>
              <a:rPr lang="en-CA" dirty="0" err="1"/>
              <a:t>erspern</a:t>
            </a:r>
            <a:r>
              <a:rPr lang="en-CA" dirty="0"/>
              <a:t> </a:t>
            </a:r>
            <a:r>
              <a:rPr lang="en-CA" dirty="0" err="1"/>
              <a:t>ut</a:t>
            </a:r>
            <a:r>
              <a:rPr lang="en-CA" dirty="0"/>
              <a:t> labor </a:t>
            </a:r>
            <a:r>
              <a:rPr lang="en-CA" dirty="0" err="1"/>
              <a:t>mostrum</a:t>
            </a:r>
            <a:r>
              <a:rPr lang="en-CA" dirty="0"/>
              <a:t> </a:t>
            </a:r>
            <a:r>
              <a:rPr lang="en-CA" dirty="0" err="1"/>
              <a:t>entore</a:t>
            </a:r>
            <a:r>
              <a:rPr lang="en-CA" dirty="0"/>
              <a:t> </a:t>
            </a:r>
            <a:r>
              <a:rPr lang="en-CA" dirty="0" err="1"/>
              <a:t>ducium</a:t>
            </a:r>
            <a:r>
              <a:rPr lang="en-CA" dirty="0"/>
              <a:t> sit </a:t>
            </a:r>
            <a:r>
              <a:rPr lang="en-CA" dirty="0" err="1"/>
              <a:t>latiunt</a:t>
            </a:r>
            <a:r>
              <a:rPr lang="en-CA" dirty="0"/>
              <a:t>.</a:t>
            </a:r>
          </a:p>
          <a:p>
            <a:r>
              <a:rPr lang="en-CA" dirty="0" err="1"/>
              <a:t>Odi</a:t>
            </a:r>
            <a:r>
              <a:rPr lang="en-CA" dirty="0"/>
              <a:t> con </a:t>
            </a:r>
            <a:r>
              <a:rPr lang="en-CA" dirty="0" err="1"/>
              <a:t>raereris</a:t>
            </a:r>
            <a:r>
              <a:rPr lang="en-CA" dirty="0"/>
              <a:t> </a:t>
            </a:r>
            <a:r>
              <a:rPr lang="en-CA" dirty="0" err="1"/>
              <a:t>ea</a:t>
            </a:r>
            <a:r>
              <a:rPr lang="en-CA" dirty="0"/>
              <a:t> </a:t>
            </a:r>
            <a:r>
              <a:rPr lang="en-CA" dirty="0" err="1"/>
              <a:t>doluptae</a:t>
            </a:r>
            <a:r>
              <a:rPr lang="en-CA" dirty="0"/>
              <a:t> </a:t>
            </a:r>
            <a:r>
              <a:rPr lang="en-CA" dirty="0" err="1"/>
              <a:t>ereste</a:t>
            </a:r>
            <a:r>
              <a:rPr lang="en-CA" dirty="0"/>
              <a:t> dis </a:t>
            </a:r>
            <a:r>
              <a:rPr lang="en-CA" dirty="0" err="1"/>
              <a:t>evenduci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di </a:t>
            </a:r>
            <a:r>
              <a:rPr lang="en-CA" dirty="0" err="1"/>
              <a:t>doluptatem</a:t>
            </a:r>
            <a:r>
              <a:rPr lang="en-CA" dirty="0"/>
              <a:t> in </a:t>
            </a:r>
            <a:r>
              <a:rPr lang="en-CA" dirty="0" err="1"/>
              <a:t>pla</a:t>
            </a:r>
            <a:r>
              <a:rPr lang="en-CA" dirty="0"/>
              <a:t> volent </a:t>
            </a:r>
            <a:r>
              <a:rPr lang="en-CA" dirty="0" err="1"/>
              <a:t>volupitatur</a:t>
            </a:r>
            <a:r>
              <a:rPr lang="en-CA" dirty="0"/>
              <a:t> </a:t>
            </a:r>
            <a:r>
              <a:rPr lang="en-CA" dirty="0" err="1"/>
              <a:t>si</a:t>
            </a:r>
            <a:r>
              <a:rPr lang="en-CA" dirty="0"/>
              <a:t> </a:t>
            </a:r>
            <a:r>
              <a:rPr lang="en-CA" dirty="0" err="1"/>
              <a:t>ommolupta</a:t>
            </a:r>
            <a:r>
              <a:rPr lang="en-CA" dirty="0"/>
              <a:t> </a:t>
            </a:r>
            <a:r>
              <a:rPr lang="en-CA" dirty="0" err="1"/>
              <a:t>exeritatium</a:t>
            </a:r>
            <a:r>
              <a:rPr lang="en-CA" dirty="0"/>
              <a:t> quat </a:t>
            </a:r>
            <a:r>
              <a:rPr lang="en-CA" dirty="0" err="1"/>
              <a:t>eatiam</a:t>
            </a:r>
            <a:r>
              <a:rPr lang="en-CA" dirty="0"/>
              <a:t> </a:t>
            </a:r>
            <a:r>
              <a:rPr lang="en-CA" dirty="0" err="1"/>
              <a:t>sequis</a:t>
            </a:r>
            <a:r>
              <a:rPr lang="en-CA" dirty="0"/>
              <a:t> </a:t>
            </a:r>
            <a:r>
              <a:rPr lang="en-CA" dirty="0" err="1"/>
              <a:t>molorum</a:t>
            </a:r>
            <a:r>
              <a:rPr lang="en-CA" dirty="0"/>
              <a:t> </a:t>
            </a:r>
            <a:r>
              <a:rPr lang="en-CA" dirty="0" err="1"/>
              <a:t>ditatemodi</a:t>
            </a:r>
            <a:r>
              <a:rPr lang="en-CA" dirty="0"/>
              <a:t> </a:t>
            </a:r>
            <a:r>
              <a:rPr lang="en-CA" dirty="0" err="1"/>
              <a:t>denestium</a:t>
            </a:r>
            <a:r>
              <a:rPr lang="en-CA" dirty="0"/>
              <a:t> </a:t>
            </a:r>
            <a:r>
              <a:rPr lang="en-CA" dirty="0" err="1"/>
              <a:t>rerit</a:t>
            </a:r>
            <a:r>
              <a:rPr lang="en-CA" dirty="0"/>
              <a:t> </a:t>
            </a:r>
            <a:r>
              <a:rPr lang="en-CA" dirty="0" err="1"/>
              <a:t>fuga</a:t>
            </a:r>
            <a:r>
              <a:rPr lang="en-CA" dirty="0"/>
              <a:t>. At </a:t>
            </a:r>
            <a:r>
              <a:rPr lang="en-CA" dirty="0" err="1"/>
              <a:t>quias</a:t>
            </a:r>
            <a:r>
              <a:rPr lang="en-CA" dirty="0"/>
              <a:t> </a:t>
            </a:r>
            <a:r>
              <a:rPr lang="en-CA" dirty="0" err="1"/>
              <a:t>dollenti</a:t>
            </a:r>
            <a:r>
              <a:rPr lang="en-CA" dirty="0"/>
              <a:t> </a:t>
            </a:r>
            <a:r>
              <a:rPr lang="en-CA" dirty="0" err="1"/>
              <a:t>officaturit</a:t>
            </a:r>
            <a:r>
              <a:rPr lang="en-CA" dirty="0"/>
              <a:t> </a:t>
            </a:r>
            <a:r>
              <a:rPr lang="en-CA" dirty="0" err="1"/>
              <a:t>volorem</a:t>
            </a:r>
            <a:r>
              <a:rPr lang="en-CA" dirty="0"/>
              <a:t> </a:t>
            </a:r>
            <a:r>
              <a:rPr lang="en-CA" dirty="0" err="1"/>
              <a:t>ducimusam</a:t>
            </a:r>
            <a:r>
              <a:rPr lang="en-CA" dirty="0"/>
              <a:t> quos </a:t>
            </a:r>
            <a:r>
              <a:rPr lang="en-CA" dirty="0" err="1"/>
              <a:t>mos</a:t>
            </a:r>
            <a:r>
              <a:rPr lang="en-CA" dirty="0"/>
              <a:t> </a:t>
            </a:r>
            <a:r>
              <a:rPr lang="en-CA" dirty="0" err="1"/>
              <a:t>iunt</a:t>
            </a:r>
            <a:r>
              <a:rPr lang="en-CA" dirty="0"/>
              <a:t>.</a:t>
            </a:r>
          </a:p>
          <a:p>
            <a:endParaRPr lang="en-US" sz="1400" dirty="0">
              <a:cs typeface="Sora" pitchFamily="2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618865F-D401-74AA-E96E-93325CAF7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slide goes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407E34-3D1A-BCA8-A588-786F106C3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6C3BBE-A286-8A42-8D1F-96885F6DDE0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789986-EE89-B010-261E-FF560000E8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CR Atleos Confidentia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1E02931-B46A-1B9B-162A-4F9136A5E2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228600" indent="-228600"/>
            <a:r>
              <a:rPr lang="en-CA" sz="1400" dirty="0">
                <a:effectLst/>
                <a:cs typeface="Sora" pitchFamily="2" charset="0"/>
              </a:rPr>
              <a:t>Ignis </a:t>
            </a:r>
            <a:r>
              <a:rPr lang="en-CA" sz="1400" dirty="0" err="1">
                <a:effectLst/>
                <a:cs typeface="Sora" pitchFamily="2" charset="0"/>
              </a:rPr>
              <a:t>ei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ndandi</a:t>
            </a:r>
            <a:r>
              <a:rPr lang="en-CA" sz="1400" dirty="0">
                <a:effectLst/>
                <a:cs typeface="Sora" pitchFamily="2" charset="0"/>
              </a:rPr>
              <a:t> ne </a:t>
            </a:r>
            <a:r>
              <a:rPr lang="en-CA" sz="1400" dirty="0" err="1">
                <a:effectLst/>
                <a:cs typeface="Sora" pitchFamily="2" charset="0"/>
              </a:rPr>
              <a:t>quodis</a:t>
            </a:r>
            <a:r>
              <a:rPr lang="en-CA" sz="1400" dirty="0">
                <a:effectLst/>
                <a:cs typeface="Sora" pitchFamily="2" charset="0"/>
              </a:rPr>
              <a:t> nobis et </a:t>
            </a:r>
            <a:r>
              <a:rPr lang="en-CA" sz="1400" dirty="0" err="1">
                <a:effectLst/>
                <a:cs typeface="Sora" pitchFamily="2" charset="0"/>
              </a:rPr>
              <a:t>ventoria</a:t>
            </a:r>
            <a:r>
              <a:rPr lang="en-CA" sz="1400" dirty="0">
                <a:effectLst/>
                <a:cs typeface="Sora" pitchFamily="2" charset="0"/>
              </a:rPr>
              <a:t> cum et </a:t>
            </a:r>
            <a:r>
              <a:rPr lang="en-CA" sz="1400" dirty="0" err="1">
                <a:effectLst/>
                <a:cs typeface="Sora" pitchFamily="2" charset="0"/>
              </a:rPr>
              <a:t>etust</a:t>
            </a:r>
            <a:r>
              <a:rPr lang="en-CA" sz="1400" dirty="0">
                <a:effectLst/>
                <a:cs typeface="Sora" pitchFamily="2" charset="0"/>
              </a:rPr>
              <a:t>, </a:t>
            </a:r>
            <a:r>
              <a:rPr lang="en-CA" sz="1400" dirty="0" err="1">
                <a:effectLst/>
                <a:cs typeface="Sora" pitchFamily="2" charset="0"/>
              </a:rPr>
              <a:t>s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o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voluptat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videb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imaxime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picil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quasp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nemporeped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llorpor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ss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olorat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nulpa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fuga</a:t>
            </a:r>
            <a:r>
              <a:rPr lang="en-CA" sz="1400" dirty="0">
                <a:effectLst/>
                <a:cs typeface="Sora" pitchFamily="2" charset="0"/>
              </a:rPr>
              <a:t>. Ore </a:t>
            </a:r>
            <a:r>
              <a:rPr lang="en-CA" sz="1400" dirty="0" err="1">
                <a:effectLst/>
                <a:cs typeface="Sora" pitchFamily="2" charset="0"/>
              </a:rPr>
              <a:t>vendebis</a:t>
            </a:r>
            <a:r>
              <a:rPr lang="en-CA" sz="1400" dirty="0">
                <a:effectLst/>
                <a:cs typeface="Sora" pitchFamily="2" charset="0"/>
              </a:rPr>
              <a:t> qui </a:t>
            </a:r>
            <a:r>
              <a:rPr lang="en-CA" sz="1400" dirty="0" err="1">
                <a:effectLst/>
                <a:cs typeface="Sora" pitchFamily="2" charset="0"/>
              </a:rPr>
              <a:t>cusaect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ps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ellenim</a:t>
            </a:r>
            <a:r>
              <a:rPr lang="en-CA" sz="1400" dirty="0">
                <a:effectLst/>
                <a:cs typeface="Sora" pitchFamily="2" charset="0"/>
              </a:rPr>
              <a:t> volent </a:t>
            </a:r>
            <a:r>
              <a:rPr lang="en-CA" sz="1400" dirty="0" err="1">
                <a:effectLst/>
                <a:cs typeface="Sora" pitchFamily="2" charset="0"/>
              </a:rPr>
              <a:t>s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te</a:t>
            </a:r>
            <a:r>
              <a:rPr lang="en-CA" sz="1400" dirty="0">
                <a:effectLst/>
                <a:cs typeface="Sora" pitchFamily="2" charset="0"/>
              </a:rPr>
              <a:t> et </a:t>
            </a:r>
            <a:r>
              <a:rPr lang="en-CA" sz="1400" dirty="0" err="1">
                <a:effectLst/>
                <a:cs typeface="Sora" pitchFamily="2" charset="0"/>
              </a:rPr>
              <a:t>hicitem</a:t>
            </a:r>
            <a:r>
              <a:rPr lang="en-CA" sz="1400" dirty="0">
                <a:effectLst/>
                <a:cs typeface="Sora" pitchFamily="2" charset="0"/>
              </a:rPr>
              <a:t>. </a:t>
            </a:r>
          </a:p>
          <a:p>
            <a:pPr marL="228600" indent="-228600"/>
            <a:r>
              <a:rPr lang="en-CA" sz="1400" dirty="0">
                <a:effectLst/>
                <a:cs typeface="Sora" pitchFamily="2" charset="0"/>
              </a:rPr>
              <a:t>Et la dis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llis</a:t>
            </a:r>
            <a:r>
              <a:rPr lang="en-CA" sz="1400" dirty="0">
                <a:effectLst/>
                <a:cs typeface="Sora" pitchFamily="2" charset="0"/>
              </a:rPr>
              <a:t> di </a:t>
            </a:r>
            <a:r>
              <a:rPr lang="en-CA" sz="1400" dirty="0" err="1">
                <a:effectLst/>
                <a:cs typeface="Sora" pitchFamily="2" charset="0"/>
              </a:rPr>
              <a:t>vidic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onsen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ion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aquias</a:t>
            </a:r>
            <a:r>
              <a:rPr lang="en-CA" sz="1400" dirty="0">
                <a:effectLst/>
                <a:cs typeface="Sora" pitchFamily="2" charset="0"/>
              </a:rPr>
              <a:t> rem rerum </a:t>
            </a:r>
            <a:r>
              <a:rPr lang="en-CA" sz="1400" dirty="0" err="1">
                <a:effectLst/>
                <a:cs typeface="Sora" pitchFamily="2" charset="0"/>
              </a:rPr>
              <a:t>dolupide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ud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s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ha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pisimint</a:t>
            </a:r>
            <a:r>
              <a:rPr lang="en-CA" sz="1400" dirty="0">
                <a:effectLst/>
                <a:cs typeface="Sora" pitchFamily="2" charset="0"/>
              </a:rPr>
              <a:t> dem </a:t>
            </a:r>
            <a:r>
              <a:rPr lang="en-CA" sz="1400" dirty="0" err="1">
                <a:effectLst/>
                <a:cs typeface="Sora" pitchFamily="2" charset="0"/>
              </a:rPr>
              <a:t>dem</a:t>
            </a:r>
            <a:r>
              <a:rPr lang="en-CA" sz="1400" dirty="0">
                <a:effectLst/>
                <a:cs typeface="Sora" pitchFamily="2" charset="0"/>
              </a:rPr>
              <a:t> ex et </a:t>
            </a:r>
            <a:r>
              <a:rPr lang="en-CA" sz="1400" dirty="0" err="1">
                <a:effectLst/>
                <a:cs typeface="Sora" pitchFamily="2" charset="0"/>
              </a:rPr>
              <a:t>quod</a:t>
            </a:r>
            <a:r>
              <a:rPr lang="en-CA" sz="1400" dirty="0">
                <a:effectLst/>
                <a:cs typeface="Sora" pitchFamily="2" charset="0"/>
              </a:rPr>
              <a:t> quasit, </a:t>
            </a:r>
            <a:r>
              <a:rPr lang="en-CA" sz="1400" dirty="0" err="1">
                <a:effectLst/>
                <a:cs typeface="Sora" pitchFamily="2" charset="0"/>
              </a:rPr>
              <a:t>cu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liqu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beat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verumqu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imole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qu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oluptin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cu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inte</a:t>
            </a:r>
            <a:r>
              <a:rPr lang="en-CA" sz="1400" dirty="0">
                <a:effectLst/>
                <a:cs typeface="Sora" pitchFamily="2" charset="0"/>
              </a:rPr>
              <a:t> ped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occa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au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o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andesti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usam</a:t>
            </a:r>
            <a:r>
              <a:rPr lang="en-CA" sz="1400" dirty="0">
                <a:effectLst/>
                <a:cs typeface="Sora" pitchFamily="2" charset="0"/>
              </a:rPr>
              <a:t> as </a:t>
            </a:r>
            <a:r>
              <a:rPr lang="en-CA" sz="1400" dirty="0" err="1">
                <a:effectLst/>
                <a:cs typeface="Sora" pitchFamily="2" charset="0"/>
              </a:rPr>
              <a:t>rest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rspern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ut</a:t>
            </a:r>
            <a:r>
              <a:rPr lang="en-CA" sz="1400" dirty="0">
                <a:effectLst/>
                <a:cs typeface="Sora" pitchFamily="2" charset="0"/>
              </a:rPr>
              <a:t> labor </a:t>
            </a:r>
            <a:r>
              <a:rPr lang="en-CA" sz="1400" dirty="0" err="1">
                <a:effectLst/>
                <a:cs typeface="Sora" pitchFamily="2" charset="0"/>
              </a:rPr>
              <a:t>most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ntor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um</a:t>
            </a:r>
            <a:r>
              <a:rPr lang="en-CA" sz="1400" dirty="0">
                <a:effectLst/>
                <a:cs typeface="Sora" pitchFamily="2" charset="0"/>
              </a:rPr>
              <a:t> sit </a:t>
            </a:r>
            <a:r>
              <a:rPr lang="en-CA" sz="1400" dirty="0" err="1">
                <a:effectLst/>
                <a:cs typeface="Sora" pitchFamily="2" charset="0"/>
              </a:rPr>
              <a:t>latiunt</a:t>
            </a:r>
            <a:r>
              <a:rPr lang="en-CA" sz="1400" dirty="0">
                <a:effectLst/>
                <a:cs typeface="Sora" pitchFamily="2" charset="0"/>
              </a:rPr>
              <a:t>.</a:t>
            </a:r>
          </a:p>
          <a:p>
            <a:pPr marL="228600" indent="-228600"/>
            <a:r>
              <a:rPr lang="en-CA" sz="1400" dirty="0" err="1">
                <a:effectLst/>
                <a:cs typeface="Sora" pitchFamily="2" charset="0"/>
              </a:rPr>
              <a:t>Odi</a:t>
            </a:r>
            <a:r>
              <a:rPr lang="en-CA" sz="1400" dirty="0">
                <a:effectLst/>
                <a:cs typeface="Sora" pitchFamily="2" charset="0"/>
              </a:rPr>
              <a:t> con </a:t>
            </a:r>
            <a:r>
              <a:rPr lang="en-CA" sz="1400" dirty="0" err="1">
                <a:effectLst/>
                <a:cs typeface="Sora" pitchFamily="2" charset="0"/>
              </a:rPr>
              <a:t>raerer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oluptae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reste</a:t>
            </a:r>
            <a:r>
              <a:rPr lang="en-CA" sz="1400" dirty="0">
                <a:effectLst/>
                <a:cs typeface="Sora" pitchFamily="2" charset="0"/>
              </a:rPr>
              <a:t> dis </a:t>
            </a:r>
            <a:r>
              <a:rPr lang="en-CA" sz="1400" dirty="0" err="1">
                <a:effectLst/>
                <a:cs typeface="Sora" pitchFamily="2" charset="0"/>
              </a:rPr>
              <a:t>evenduc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i</a:t>
            </a:r>
            <a:r>
              <a:rPr lang="en-CA" sz="1400" dirty="0">
                <a:effectLst/>
                <a:cs typeface="Sora" pitchFamily="2" charset="0"/>
              </a:rPr>
              <a:t> di </a:t>
            </a:r>
            <a:r>
              <a:rPr lang="en-CA" sz="1400" dirty="0" err="1">
                <a:effectLst/>
                <a:cs typeface="Sora" pitchFamily="2" charset="0"/>
              </a:rPr>
              <a:t>doluptatem</a:t>
            </a:r>
            <a:r>
              <a:rPr lang="en-CA" sz="1400" dirty="0">
                <a:effectLst/>
                <a:cs typeface="Sora" pitchFamily="2" charset="0"/>
              </a:rPr>
              <a:t> in </a:t>
            </a:r>
            <a:r>
              <a:rPr lang="en-CA" sz="1400" dirty="0" err="1">
                <a:effectLst/>
                <a:cs typeface="Sora" pitchFamily="2" charset="0"/>
              </a:rPr>
              <a:t>pla</a:t>
            </a:r>
            <a:r>
              <a:rPr lang="en-CA" sz="1400" dirty="0">
                <a:effectLst/>
                <a:cs typeface="Sora" pitchFamily="2" charset="0"/>
              </a:rPr>
              <a:t> volent </a:t>
            </a:r>
            <a:r>
              <a:rPr lang="en-CA" sz="1400" dirty="0" err="1">
                <a:effectLst/>
                <a:cs typeface="Sora" pitchFamily="2" charset="0"/>
              </a:rPr>
              <a:t>volupitatur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ommolupta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exeritatium</a:t>
            </a:r>
            <a:r>
              <a:rPr lang="en-CA" sz="1400" dirty="0">
                <a:effectLst/>
                <a:cs typeface="Sora" pitchFamily="2" charset="0"/>
              </a:rPr>
              <a:t> quat </a:t>
            </a:r>
            <a:r>
              <a:rPr lang="en-CA" sz="1400" dirty="0" err="1">
                <a:effectLst/>
                <a:cs typeface="Sora" pitchFamily="2" charset="0"/>
              </a:rPr>
              <a:t>eatia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sequi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molor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itatemod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enestiu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reri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fuga</a:t>
            </a:r>
            <a:r>
              <a:rPr lang="en-CA" sz="1400" dirty="0">
                <a:effectLst/>
                <a:cs typeface="Sora" pitchFamily="2" charset="0"/>
              </a:rPr>
              <a:t>. At </a:t>
            </a:r>
            <a:r>
              <a:rPr lang="en-CA" sz="1400" dirty="0" err="1">
                <a:effectLst/>
                <a:cs typeface="Sora" pitchFamily="2" charset="0"/>
              </a:rPr>
              <a:t>quia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ollenti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officaturit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volorem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ducimusam</a:t>
            </a:r>
            <a:r>
              <a:rPr lang="en-CA" sz="1400" dirty="0">
                <a:effectLst/>
                <a:cs typeface="Sora" pitchFamily="2" charset="0"/>
              </a:rPr>
              <a:t> quos </a:t>
            </a:r>
            <a:r>
              <a:rPr lang="en-CA" sz="1400" dirty="0" err="1">
                <a:effectLst/>
                <a:cs typeface="Sora" pitchFamily="2" charset="0"/>
              </a:rPr>
              <a:t>mos</a:t>
            </a:r>
            <a:r>
              <a:rPr lang="en-CA" sz="1400" dirty="0">
                <a:effectLst/>
                <a:cs typeface="Sora" pitchFamily="2" charset="0"/>
              </a:rPr>
              <a:t> </a:t>
            </a:r>
            <a:r>
              <a:rPr lang="en-CA" sz="1400" dirty="0" err="1">
                <a:effectLst/>
                <a:cs typeface="Sora" pitchFamily="2" charset="0"/>
              </a:rPr>
              <a:t>iunt</a:t>
            </a:r>
            <a:r>
              <a:rPr lang="en-CA" sz="1400" dirty="0">
                <a:effectLst/>
                <a:cs typeface="Sora" pitchFamily="2" charset="0"/>
              </a:rPr>
              <a:t>.</a:t>
            </a:r>
          </a:p>
          <a:p>
            <a:endParaRPr lang="en-US" sz="1400" dirty="0">
              <a:cs typeface="So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8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CR Atleos Slide Layout Template">
  <a:themeElements>
    <a:clrScheme name="NCR Atleos Colors">
      <a:dk1>
        <a:srgbClr val="000000"/>
      </a:dk1>
      <a:lt1>
        <a:srgbClr val="FFFFFF"/>
      </a:lt1>
      <a:dk2>
        <a:srgbClr val="004E42"/>
      </a:dk2>
      <a:lt2>
        <a:srgbClr val="D1E0D7"/>
      </a:lt2>
      <a:accent1>
        <a:srgbClr val="285C4D"/>
      </a:accent1>
      <a:accent2>
        <a:srgbClr val="789F90"/>
      </a:accent2>
      <a:accent3>
        <a:srgbClr val="2189E8"/>
      </a:accent3>
      <a:accent4>
        <a:srgbClr val="91CFEA"/>
      </a:accent4>
      <a:accent5>
        <a:srgbClr val="FBAB69"/>
      </a:accent5>
      <a:accent6>
        <a:srgbClr val="D33910"/>
      </a:accent6>
      <a:hlink>
        <a:srgbClr val="789F90"/>
      </a:hlink>
      <a:folHlink>
        <a:srgbClr val="9AB9AD"/>
      </a:folHlink>
    </a:clrScheme>
    <a:fontScheme name="Sora">
      <a:majorFont>
        <a:latin typeface="Sora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Sora"/>
        <a:font script="Hebr" typeface="Sor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ora"/>
        <a:font script="Uigh" typeface="Microsoft Uighur"/>
        <a:font script="Geor" typeface="Sylfaen"/>
      </a:majorFont>
      <a:minorFont>
        <a:latin typeface="Sora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Sora"/>
        <a:font script="Hebr" typeface="Sor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or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R_Atleos_PPT_interim 230822.potx" id="{0AF89FC0-F055-4ECB-B586-A61403F7FE72}" vid="{205D55BA-6BA2-4617-9AAF-9F7E556A4037}"/>
    </a:ext>
  </a:extLst>
</a:theme>
</file>

<file path=ppt/theme/theme2.xml><?xml version="1.0" encoding="utf-8"?>
<a:theme xmlns:a="http://schemas.openxmlformats.org/drawingml/2006/main" name="NCR Atleos Hackathon Title Slide Layout Template">
  <a:themeElements>
    <a:clrScheme name="Custom 2">
      <a:dk1>
        <a:srgbClr val="000000"/>
      </a:dk1>
      <a:lt1>
        <a:srgbClr val="FFFFFF"/>
      </a:lt1>
      <a:dk2>
        <a:srgbClr val="004E42"/>
      </a:dk2>
      <a:lt2>
        <a:srgbClr val="D1E0D7"/>
      </a:lt2>
      <a:accent1>
        <a:srgbClr val="285C4D"/>
      </a:accent1>
      <a:accent2>
        <a:srgbClr val="789F90"/>
      </a:accent2>
      <a:accent3>
        <a:srgbClr val="2189E8"/>
      </a:accent3>
      <a:accent4>
        <a:srgbClr val="91CFEA"/>
      </a:accent4>
      <a:accent5>
        <a:srgbClr val="FBAB69"/>
      </a:accent5>
      <a:accent6>
        <a:srgbClr val="D33910"/>
      </a:accent6>
      <a:hlink>
        <a:srgbClr val="789F90"/>
      </a:hlink>
      <a:folHlink>
        <a:srgbClr val="9AB9AD"/>
      </a:folHlink>
    </a:clrScheme>
    <a:fontScheme name="Sora">
      <a:majorFont>
        <a:latin typeface="Sora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Sora"/>
        <a:font script="Hebr" typeface="Sor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ora"/>
        <a:font script="Uigh" typeface="Microsoft Uighur"/>
        <a:font script="Geor" typeface="Sylfaen"/>
      </a:majorFont>
      <a:minorFont>
        <a:latin typeface="Sora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Sora"/>
        <a:font script="Hebr" typeface="Sor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or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R_Atleos_PPT_interim 230822.potx" id="{0AF89FC0-F055-4ECB-B586-A61403F7FE72}" vid="{205D55BA-6BA2-4617-9AAF-9F7E556A4037}"/>
    </a:ext>
  </a:extLst>
</a:theme>
</file>

<file path=ppt/theme/theme3.xml><?xml version="1.0" encoding="utf-8"?>
<a:theme xmlns:a="http://schemas.openxmlformats.org/drawingml/2006/main" name="1_NCR Atleos Section Break Layout Template">
  <a:themeElements>
    <a:clrScheme name="Custom 2">
      <a:dk1>
        <a:srgbClr val="000000"/>
      </a:dk1>
      <a:lt1>
        <a:srgbClr val="FFFFFF"/>
      </a:lt1>
      <a:dk2>
        <a:srgbClr val="004E42"/>
      </a:dk2>
      <a:lt2>
        <a:srgbClr val="D1E0D7"/>
      </a:lt2>
      <a:accent1>
        <a:srgbClr val="285C4D"/>
      </a:accent1>
      <a:accent2>
        <a:srgbClr val="789F90"/>
      </a:accent2>
      <a:accent3>
        <a:srgbClr val="2189E8"/>
      </a:accent3>
      <a:accent4>
        <a:srgbClr val="91CFEA"/>
      </a:accent4>
      <a:accent5>
        <a:srgbClr val="FBAB69"/>
      </a:accent5>
      <a:accent6>
        <a:srgbClr val="D33910"/>
      </a:accent6>
      <a:hlink>
        <a:srgbClr val="789F90"/>
      </a:hlink>
      <a:folHlink>
        <a:srgbClr val="9AB9AD"/>
      </a:folHlink>
    </a:clrScheme>
    <a:fontScheme name="Sora">
      <a:majorFont>
        <a:latin typeface="Sora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Sora"/>
        <a:font script="Hebr" typeface="Sor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ora"/>
        <a:font script="Uigh" typeface="Microsoft Uighur"/>
        <a:font script="Geor" typeface="Sylfaen"/>
      </a:majorFont>
      <a:minorFont>
        <a:latin typeface="Sora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Sora"/>
        <a:font script="Hebr" typeface="Sor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or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R_Atleos_PPT_interim 230822.potx" id="{0AF89FC0-F055-4ECB-B586-A61403F7FE72}" vid="{205D55BA-6BA2-4617-9AAF-9F7E556A403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CR 2014 Brand Color Palette">
    <a:dk1>
      <a:srgbClr val="191919"/>
    </a:dk1>
    <a:lt1>
      <a:sysClr val="window" lastClr="FFFFFF"/>
    </a:lt1>
    <a:dk2>
      <a:srgbClr val="54B948"/>
    </a:dk2>
    <a:lt2>
      <a:srgbClr val="EEECE1"/>
    </a:lt2>
    <a:accent1>
      <a:srgbClr val="54B948"/>
    </a:accent1>
    <a:accent2>
      <a:srgbClr val="333333"/>
    </a:accent2>
    <a:accent3>
      <a:srgbClr val="F99B0C"/>
    </a:accent3>
    <a:accent4>
      <a:srgbClr val="808080"/>
    </a:accent4>
    <a:accent5>
      <a:srgbClr val="B3B3B3"/>
    </a:accent5>
    <a:accent6>
      <a:srgbClr val="EAE400"/>
    </a:accent6>
    <a:hlink>
      <a:srgbClr val="E14F3C"/>
    </a:hlink>
    <a:folHlink>
      <a:srgbClr val="6ED3E4"/>
    </a:folHlink>
  </a:clrScheme>
  <a:fontScheme name="NCR content slide tex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34ece8b-5af5-4472-a390-f793309f8720" xsi:nil="true"/>
    <lcf76f155ced4ddcb4097134ff3c332f xmlns="addd3c03-80b1-4abd-b684-2d86dd2aeef8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050ECB9408EE45B92D0AB4CDD84087" ma:contentTypeVersion="16" ma:contentTypeDescription="Create a new document." ma:contentTypeScope="" ma:versionID="c337c1d119abbf56f6fb26966885428f">
  <xsd:schema xmlns:xsd="http://www.w3.org/2001/XMLSchema" xmlns:xs="http://www.w3.org/2001/XMLSchema" xmlns:p="http://schemas.microsoft.com/office/2006/metadata/properties" xmlns:ns2="addd3c03-80b1-4abd-b684-2d86dd2aeef8" xmlns:ns3="d34ece8b-5af5-4472-a390-f793309f8720" targetNamespace="http://schemas.microsoft.com/office/2006/metadata/properties" ma:root="true" ma:fieldsID="9ec9fae5eee8825f97a8f5052ba18030" ns2:_="" ns3:_="">
    <xsd:import namespace="addd3c03-80b1-4abd-b684-2d86dd2aeef8"/>
    <xsd:import namespace="d34ece8b-5af5-4472-a390-f793309f87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dd3c03-80b1-4abd-b684-2d86dd2aee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bd622610-706e-4b9f-a8aa-4186617d0b2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4ece8b-5af5-4472-a390-f793309f872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14ef0909-1005-45f9-b316-024c5970a3bb}" ma:internalName="TaxCatchAll" ma:showField="CatchAllData" ma:web="d34ece8b-5af5-4472-a390-f793309f87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45B929-4B72-48D3-9D17-E7268F53829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8A0F988-70F4-47AD-AEAC-26A596A42A10}">
  <ds:schemaRefs>
    <ds:schemaRef ds:uri="http://schemas.microsoft.com/office/2006/metadata/properties"/>
    <ds:schemaRef ds:uri="http://schemas.microsoft.com/office/infopath/2007/PartnerControls"/>
    <ds:schemaRef ds:uri="d34ece8b-5af5-4472-a390-f793309f8720"/>
    <ds:schemaRef ds:uri="addd3c03-80b1-4abd-b684-2d86dd2aeef8"/>
  </ds:schemaRefs>
</ds:datastoreItem>
</file>

<file path=customXml/itemProps3.xml><?xml version="1.0" encoding="utf-8"?>
<ds:datastoreItem xmlns:ds="http://schemas.openxmlformats.org/officeDocument/2006/customXml" ds:itemID="{5A8C77C9-8CDC-4B35-A6D3-3925531EA1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dd3c03-80b1-4abd-b684-2d86dd2aeef8"/>
    <ds:schemaRef ds:uri="d34ece8b-5af5-4472-a390-f793309f87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42</TotalTime>
  <Words>3514</Words>
  <Application>Microsoft Office PowerPoint</Application>
  <PresentationFormat>Widescreen</PresentationFormat>
  <Paragraphs>527</Paragraphs>
  <Slides>4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6" baseType="lpstr">
      <vt:lpstr>Arial</vt:lpstr>
      <vt:lpstr>Calibri</vt:lpstr>
      <vt:lpstr>Open Sans</vt:lpstr>
      <vt:lpstr>Open Sans Bold</vt:lpstr>
      <vt:lpstr>Open Sans Extrabold</vt:lpstr>
      <vt:lpstr>Open Sans Light</vt:lpstr>
      <vt:lpstr>Raleway Black</vt:lpstr>
      <vt:lpstr>Sora</vt:lpstr>
      <vt:lpstr>Sora Medium</vt:lpstr>
      <vt:lpstr>Times New Roman</vt:lpstr>
      <vt:lpstr>NCR Atleos Slide Layout Template</vt:lpstr>
      <vt:lpstr>NCR Atleos Hackathon Title Slide Layout Template</vt:lpstr>
      <vt:lpstr>1_NCR Atleos Section Break Layout Template</vt:lpstr>
      <vt:lpstr>think-cell Slide</vt:lpstr>
      <vt:lpstr>Title of presentation goes here</vt:lpstr>
      <vt:lpstr>Title of presentation goes here</vt:lpstr>
      <vt:lpstr>Title of presentation goes here</vt:lpstr>
      <vt:lpstr>Thank you</vt:lpstr>
      <vt:lpstr>Thank you</vt:lpstr>
      <vt:lpstr>THANK YOU</vt:lpstr>
      <vt:lpstr>PowerPoint Presentation</vt:lpstr>
      <vt:lpstr>Title of body copy slide goes here</vt:lpstr>
      <vt:lpstr>Title of slide goes here</vt:lpstr>
      <vt:lpstr>Title of slide goes here</vt:lpstr>
      <vt:lpstr>Title of slide goes here</vt:lpstr>
      <vt:lpstr>Title of slide goes here</vt:lpstr>
      <vt:lpstr>Title of slide here</vt:lpstr>
      <vt:lpstr>Title of slide here</vt:lpstr>
      <vt:lpstr>Title of slide here</vt:lpstr>
      <vt:lpstr>Title of slide here</vt:lpstr>
      <vt:lpstr>Title of slide goes here</vt:lpstr>
      <vt:lpstr>Title of table slide</vt:lpstr>
      <vt:lpstr>Format/styling for tables primary colors</vt:lpstr>
      <vt:lpstr>Format/styling for tables tertiary colors</vt:lpstr>
      <vt:lpstr>Title of slide goes here</vt:lpstr>
      <vt:lpstr>Title of slide goes here</vt:lpstr>
      <vt:lpstr>Title of slide goes here</vt:lpstr>
      <vt:lpstr>Title of slide goes here</vt:lpstr>
      <vt:lpstr>Title of slide goes here</vt:lpstr>
      <vt:lpstr>Title of slide goes here</vt:lpstr>
      <vt:lpstr>Title of slide goes here</vt:lpstr>
      <vt:lpstr>Title of slide goes here</vt:lpstr>
      <vt:lpstr>Title of slide goes here</vt:lpstr>
      <vt:lpstr>Title of slide goes here</vt:lpstr>
      <vt:lpstr>Title of slide goes here</vt:lpstr>
      <vt:lpstr>Our Expert People</vt:lpstr>
      <vt:lpstr>Title of slide goes here</vt:lpstr>
      <vt:lpstr>Title of slide goes here </vt:lpstr>
      <vt:lpstr>PowerPoint Presentation</vt:lpstr>
      <vt:lpstr>Thank you</vt:lpstr>
      <vt:lpstr>Graphs and charts</vt:lpstr>
      <vt:lpstr>Graphs and charts</vt:lpstr>
      <vt:lpstr>Examples</vt:lpstr>
      <vt:lpstr>Examples</vt:lpstr>
      <vt:lpstr>Examples</vt:lpstr>
      <vt:lpstr>Iconograph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guel Rivera (Interbrand)</dc:creator>
  <cp:lastModifiedBy>Nayyar, Rahul</cp:lastModifiedBy>
  <cp:revision>58</cp:revision>
  <dcterms:created xsi:type="dcterms:W3CDTF">2023-08-14T18:29:07Z</dcterms:created>
  <dcterms:modified xsi:type="dcterms:W3CDTF">2025-07-17T19:4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19d5fe6-6ff0-4580-ac71-4bb0bf2203da_Enabled">
    <vt:lpwstr>true</vt:lpwstr>
  </property>
  <property fmtid="{D5CDD505-2E9C-101B-9397-08002B2CF9AE}" pid="3" name="MSIP_Label_d19d5fe6-6ff0-4580-ac71-4bb0bf2203da_SetDate">
    <vt:lpwstr>2023-08-25T18:21:24Z</vt:lpwstr>
  </property>
  <property fmtid="{D5CDD505-2E9C-101B-9397-08002B2CF9AE}" pid="4" name="MSIP_Label_d19d5fe6-6ff0-4580-ac71-4bb0bf2203da_Method">
    <vt:lpwstr>Privileged</vt:lpwstr>
  </property>
  <property fmtid="{D5CDD505-2E9C-101B-9397-08002B2CF9AE}" pid="5" name="MSIP_Label_d19d5fe6-6ff0-4580-ac71-4bb0bf2203da_Name">
    <vt:lpwstr>d19d5fe6-6ff0-4580-ac71-4bb0bf2203da</vt:lpwstr>
  </property>
  <property fmtid="{D5CDD505-2E9C-101B-9397-08002B2CF9AE}" pid="6" name="MSIP_Label_d19d5fe6-6ff0-4580-ac71-4bb0bf2203da_SiteId">
    <vt:lpwstr>ae4df1f7-611e-444f-897e-f964e1205171</vt:lpwstr>
  </property>
  <property fmtid="{D5CDD505-2E9C-101B-9397-08002B2CF9AE}" pid="7" name="MSIP_Label_d19d5fe6-6ff0-4580-ac71-4bb0bf2203da_ActionId">
    <vt:lpwstr>6bcbca70-7961-4cfc-ae11-825f95d4c611</vt:lpwstr>
  </property>
  <property fmtid="{D5CDD505-2E9C-101B-9397-08002B2CF9AE}" pid="8" name="MSIP_Label_d19d5fe6-6ff0-4580-ac71-4bb0bf2203da_ContentBits">
    <vt:lpwstr>0</vt:lpwstr>
  </property>
  <property fmtid="{D5CDD505-2E9C-101B-9397-08002B2CF9AE}" pid="9" name="MSIP_Label_defa4170-0d19-0005-0001-bc88714345d2_Enabled">
    <vt:lpwstr>true</vt:lpwstr>
  </property>
  <property fmtid="{D5CDD505-2E9C-101B-9397-08002B2CF9AE}" pid="10" name="MSIP_Label_defa4170-0d19-0005-0001-bc88714345d2_SetDate">
    <vt:lpwstr>2024-03-07T17:45:30Z</vt:lpwstr>
  </property>
  <property fmtid="{D5CDD505-2E9C-101B-9397-08002B2CF9AE}" pid="11" name="MSIP_Label_defa4170-0d19-0005-0001-bc88714345d2_Method">
    <vt:lpwstr>Privileged</vt:lpwstr>
  </property>
  <property fmtid="{D5CDD505-2E9C-101B-9397-08002B2CF9AE}" pid="12" name="MSIP_Label_defa4170-0d19-0005-0001-bc88714345d2_Name">
    <vt:lpwstr>defa4170-0d19-0005-0001-bc88714345d2</vt:lpwstr>
  </property>
  <property fmtid="{D5CDD505-2E9C-101B-9397-08002B2CF9AE}" pid="13" name="MSIP_Label_defa4170-0d19-0005-0001-bc88714345d2_SiteId">
    <vt:lpwstr>6539da08-b835-422b-bc32-76ca20bec464</vt:lpwstr>
  </property>
  <property fmtid="{D5CDD505-2E9C-101B-9397-08002B2CF9AE}" pid="14" name="MSIP_Label_defa4170-0d19-0005-0001-bc88714345d2_ActionId">
    <vt:lpwstr>c2dbacf2-e844-45a6-b3b4-8c7fc41882a2</vt:lpwstr>
  </property>
  <property fmtid="{D5CDD505-2E9C-101B-9397-08002B2CF9AE}" pid="15" name="MSIP_Label_defa4170-0d19-0005-0001-bc88714345d2_ContentBits">
    <vt:lpwstr>0</vt:lpwstr>
  </property>
  <property fmtid="{D5CDD505-2E9C-101B-9397-08002B2CF9AE}" pid="16" name="ContentTypeId">
    <vt:lpwstr>0x01010076050ECB9408EE45B92D0AB4CDD84087</vt:lpwstr>
  </property>
  <property fmtid="{D5CDD505-2E9C-101B-9397-08002B2CF9AE}" pid="17" name="Order">
    <vt:lpwstr>7400.00000000000</vt:lpwstr>
  </property>
  <property fmtid="{D5CDD505-2E9C-101B-9397-08002B2CF9AE}" pid="18" name="xd_ProgID">
    <vt:lpwstr/>
  </property>
  <property fmtid="{D5CDD505-2E9C-101B-9397-08002B2CF9AE}" pid="19" name="MediaServiceImageTags">
    <vt:lpwstr/>
  </property>
  <property fmtid="{D5CDD505-2E9C-101B-9397-08002B2CF9AE}" pid="20" name="_SourceUrl">
    <vt:lpwstr/>
  </property>
  <property fmtid="{D5CDD505-2E9C-101B-9397-08002B2CF9AE}" pid="21" name="_SharedFileIndex">
    <vt:lpwstr/>
  </property>
  <property fmtid="{D5CDD505-2E9C-101B-9397-08002B2CF9AE}" pid="22" name="ComplianceAssetId">
    <vt:lpwstr/>
  </property>
  <property fmtid="{D5CDD505-2E9C-101B-9397-08002B2CF9AE}" pid="23" name="TemplateUrl">
    <vt:lpwstr/>
  </property>
  <property fmtid="{D5CDD505-2E9C-101B-9397-08002B2CF9AE}" pid="24" name="_ExtendedDescription">
    <vt:lpwstr/>
  </property>
  <property fmtid="{D5CDD505-2E9C-101B-9397-08002B2CF9AE}" pid="25" name="TriggerFlowInfo">
    <vt:lpwstr/>
  </property>
  <property fmtid="{D5CDD505-2E9C-101B-9397-08002B2CF9AE}" pid="26" name="xd_Signature">
    <vt:lpwstr/>
  </property>
</Properties>
</file>